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3" r:id="rId3"/>
    <p:sldMasterId id="2147483686" r:id="rId4"/>
    <p:sldMasterId id="2147483698" r:id="rId5"/>
  </p:sldMasterIdLst>
  <p:notesMasterIdLst>
    <p:notesMasterId r:id="rId28"/>
  </p:notesMasterIdLst>
  <p:sldIdLst>
    <p:sldId id="278" r:id="rId6"/>
    <p:sldId id="258" r:id="rId7"/>
    <p:sldId id="281" r:id="rId8"/>
    <p:sldId id="284" r:id="rId9"/>
    <p:sldId id="286" r:id="rId10"/>
    <p:sldId id="257" r:id="rId11"/>
    <p:sldId id="287" r:id="rId12"/>
    <p:sldId id="293" r:id="rId13"/>
    <p:sldId id="289" r:id="rId14"/>
    <p:sldId id="282" r:id="rId15"/>
    <p:sldId id="290" r:id="rId16"/>
    <p:sldId id="291" r:id="rId17"/>
    <p:sldId id="292" r:id="rId18"/>
    <p:sldId id="275" r:id="rId19"/>
    <p:sldId id="295" r:id="rId20"/>
    <p:sldId id="296" r:id="rId21"/>
    <p:sldId id="297" r:id="rId22"/>
    <p:sldId id="298" r:id="rId23"/>
    <p:sldId id="299" r:id="rId24"/>
    <p:sldId id="300" r:id="rId25"/>
    <p:sldId id="273" r:id="rId26"/>
    <p:sldId id="280" r:id="rId2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948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4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69C253-CDB6-49EB-8C66-A97C35DD638A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9214DF-7142-413C-AD45-06C6067CD6B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8097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C24445-7E45-46E8-BA4B-348BBD2E363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3757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9214DF-7142-413C-AD45-06C6067CD6BF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19006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C24445-7E45-46E8-BA4B-348BBD2E363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1492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C24445-7E45-46E8-BA4B-348BBD2E363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4789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CE837E-594B-4F0F-92F5-F20D4296AC5C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96697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C24445-7E45-46E8-BA4B-348BBD2E363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1829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C24445-7E45-46E8-BA4B-348BBD2E363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0777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CE837E-594B-4F0F-92F5-F20D4296AC5C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6013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C24445-7E45-46E8-BA4B-348BBD2E363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4748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C24445-7E45-46E8-BA4B-348BBD2E363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993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97CF76-E7AD-489B-B1C5-3E6CCAF64C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4FA7D336-BCDC-4E84-A428-9F977454DA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B5F8328-46BD-4B53-8B9C-E934CCEE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D352319-2C56-43BB-8456-2716A764F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182FC81-B2D8-4FC7-9049-7FFCB1A6A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93879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8695F0-DA75-4243-9DC4-9841594E5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3858EBE-2F6E-49C5-AB83-076D02D6C7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1AAFA2F-5833-4CC8-A9FD-103935F41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8923A57-3934-4FFF-B211-6DC670DAAC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57E6B7-4178-4EEF-B90A-41B573DE6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2286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4AFC48A5-7326-462F-9191-5ED3B945639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53A5C33-00F6-4A47-8B23-46E64FE3FF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9D3298F-F6F6-4F23-9458-990E2DBA57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BFA0813-5B0F-4E16-889C-36DBD2147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A965EED-0F2F-418A-8974-8821E4F66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4431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40441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7DE962B6-36A9-D441-B022-40CCC8379C85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911A7C-798D-A349-BE1E-08E7E52FFB57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DF70D0A-AB5F-444C-BF1D-65B5142DE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9426351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6100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CCACF7ED-089A-514C-AA4A-5D38D9023F82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E9CB17-51E2-2447-A6C4-9A4DB63A92A1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6F01A71-F66D-694C-B907-43A71B0F2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335326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3AA7737-56A6-E840-A221-B5E5B478F5F4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07B601-66DA-BB4C-8A8F-A2C127CD22C3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E1D7A41-994A-154D-8EDD-F11D3DA0D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6294656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81B3419-F562-4556-ADD7-D768E4EA415A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0617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FB8C297B-89E2-CD41-B124-B1EB4BE3691A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5C0FFE-8E89-CE4B-ADB0-50D2F2C55790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08CC2BF2-EB35-E64C-B84E-27A3DA4A5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5417973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3692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0A35FF3-350D-43A8-947E-AAF35FDB2E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3CDE81B-91CC-4DFF-8817-6E7A448481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8F569D9-BDE2-409F-8C5E-F848B40C1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F159F84-BCAE-4EB8-8E9E-75439BE43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B12145E-299F-45D5-9485-7D33F1734D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8465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9CA59872-93C6-1D41-95D7-4756AE89045B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55000">
                <a:srgbClr val="B32C9C"/>
              </a:gs>
              <a:gs pos="0">
                <a:schemeClr val="accent4"/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D1C299-E433-7343-92A0-D76FF51EA59C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EC51978-4FA5-094C-896B-C0CC8A550C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8281942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E896CB40-DE4C-FB4E-89C7-F2558F52213C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F6389B-1954-8A44-AB9E-0042A7573895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A68E03FE-845E-5F4D-9331-2A5BB58EB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9442707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244FD9F3-00FF-0743-8955-F5AB687913FD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6D486D-A97D-DD4C-8323-279610FE8C9E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5058BB2-16B2-1545-A429-B445E3FD2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2545633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029900CC-6CC3-0649-B944-EDBD534F9B94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934860-BA49-C848-A350-83D86CA25DEB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CD733E3-5C88-094D-AD58-1EE68BC4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6231248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693607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7DE962B6-36A9-D441-B022-40CCC8379C85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911A7C-798D-A349-BE1E-08E7E52FFB57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DF70D0A-AB5F-444C-BF1D-65B5142DE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3994587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89899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CCACF7ED-089A-514C-AA4A-5D38D9023F82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E9CB17-51E2-2447-A6C4-9A4DB63A92A1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6F01A71-F66D-694C-B907-43A71B0F2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2779941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id="{C3AA7737-56A6-E840-A221-B5E5B478F5F4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807B601-66DA-BB4C-8A8F-A2C127CD22C3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E1D7A41-994A-154D-8EDD-F11D3DA0D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2115305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8379128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16CBCB0-3969-49C8-B413-668F2CB20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B6F3959-21F2-4305-8222-C70167D589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1C2FD40-8148-4C8F-A8FE-0934A02D53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AE7631C-D26A-4121-90FC-767945B5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337181A-631E-4CCC-B660-8D3245A2C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07881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FB8C297B-89E2-CD41-B124-B1EB4BE3691A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5C0FFE-8E89-CE4B-ADB0-50D2F2C55790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08CC2BF2-EB35-E64C-B84E-27A3DA4A5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2599142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03354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9CA59872-93C6-1D41-95D7-4756AE89045B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55000">
                <a:srgbClr val="B32C9C"/>
              </a:gs>
              <a:gs pos="0">
                <a:schemeClr val="accent4"/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D1C299-E433-7343-92A0-D76FF51EA59C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EC51978-4FA5-094C-896B-C0CC8A550C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8191953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 Same Side Corner Rectangle 8">
            <a:extLst>
              <a:ext uri="{FF2B5EF4-FFF2-40B4-BE49-F238E27FC236}">
                <a16:creationId xmlns:a16="http://schemas.microsoft.com/office/drawing/2014/main" id="{E896CB40-DE4C-FB4E-89C7-F2558F52213C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F6389B-1954-8A44-AB9E-0042A7573895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A68E03FE-845E-5F4D-9331-2A5BB58EB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1221010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244FD9F3-00FF-0743-8955-F5AB687913FD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6D486D-A97D-DD4C-8323-279610FE8C9E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5058BB2-16B2-1545-A429-B445E3FD2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4914476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029900CC-6CC3-0649-B944-EDBD534F9B94}"/>
              </a:ext>
            </a:extLst>
          </p:cNvPr>
          <p:cNvSpPr/>
          <p:nvPr userDrawn="1"/>
        </p:nvSpPr>
        <p:spPr>
          <a:xfrm>
            <a:off x="11279278" y="6451600"/>
            <a:ext cx="379322" cy="406400"/>
          </a:xfrm>
          <a:prstGeom prst="round2SameRect">
            <a:avLst>
              <a:gd name="adj1" fmla="val 25936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934860-BA49-C848-A350-83D86CA25DEB}"/>
              </a:ext>
            </a:extLst>
          </p:cNvPr>
          <p:cNvSpPr txBox="1"/>
          <p:nvPr userDrawn="1"/>
        </p:nvSpPr>
        <p:spPr>
          <a:xfrm>
            <a:off x="11303045" y="657785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CD733E3-5C88-094D-AD58-1EE68BC4D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77856"/>
            <a:ext cx="19118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id-ID" sz="1000" b="0" i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/>
              <a:t>Your Footer here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151671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3B53E3-93E3-4EB9-8CE0-B8CABEA6B2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F517E13-40CB-4889-8D1F-F468ABBC14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18584E-EA12-4672-893D-D82B5630C1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F50B94-C132-4C3E-A3B6-3C4886614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794339-C5AA-4BA8-92FF-566CA0E5E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09F94-D0DA-4FE9-B158-B846944F9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5473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01D50E-2D5C-493F-8409-D6BF0CD47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D13690-73BC-4E68-88B3-02C56C4A85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4B2F54-CB03-4364-AF6D-F33A05521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1FC81E-5C1D-4231-BF45-86DF2D0FF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DAB0DE-F146-4949-9C86-83B1E8AAF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09F94-D0DA-4FE9-B158-B846944F9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454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A8237-CFD8-4ADC-876F-5B2CC7A6F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27EFF0-9A20-430D-B5D5-610F5330F2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2E7184-2EDF-4700-871C-17E435C7B3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456E79-0F64-4707-B95F-DE4B42776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B9887F-71EE-4417-8CD2-0892715AE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09F94-D0DA-4FE9-B158-B846944F9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0708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4670B2-B077-47E3-AFCF-7909CDEAE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82F462-F6F6-4766-96A2-C39098E5B2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AEFCDD-C0C0-415C-9199-1FF1E3E9A4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238B98-4D72-4A58-AB39-D3A8E4375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7F4A9DA-CBB7-42E7-BF6C-E1B13E23C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2D953B-589C-46AF-A6D7-985FADC0EB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09F94-D0DA-4FE9-B158-B846944F9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904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0DD99C-CEF5-4113-A964-D1D2A7173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66F9D68-9CD5-4E7B-9424-9EE3230331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88D9465-C322-4D6E-8014-8B084577C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7E11060-F364-4286-9AC7-802EEFA50A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4B58C9E-94E6-4FD2-85EA-0751B997E0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1E92EE2-8F47-4E0D-B58D-7A8C0B00D7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90155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6AB73-691B-4F06-99D4-0BF55F9FB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BA49CC-295E-4F68-A5F5-62340BB7E7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89D35D-9680-47AD-97BF-1BFC6C15F8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C0FA60-AC0D-4B0C-B3D4-37403EC6E5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683EB4-944E-46B7-ADD7-0B95510B39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6E51CCC-5D85-4C78-BEB9-82FA40AD20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ACFE17-4B7C-447E-B22C-6A78E4199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13594A-A7D5-4288-9745-1222DB064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09F94-D0DA-4FE9-B158-B846944F9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5329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7F8CBF-24A2-4640-A311-A191451DD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122F6F-B934-412B-9074-03E73E5FFA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798BDD-ABF4-47D1-854B-BF7F2A4B3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88ADDF-7415-4159-A1E0-15FF420AD0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09F94-D0DA-4FE9-B158-B846944F9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4014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275125-7282-4F9E-8262-8877A63CD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9587" y="6308725"/>
            <a:ext cx="485776" cy="262418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2">
                  <a:lumMod val="75000"/>
                </a:schemeClr>
              </a:gs>
            </a:gsLst>
            <a:lin ang="2700000" scaled="0"/>
          </a:gradFill>
          <a:ln>
            <a:noFill/>
          </a:ln>
          <a:effectLst>
            <a:outerShdw blurRad="177800" dist="38100" dir="5400000" algn="t" rotWithShape="0">
              <a:schemeClr val="accent3">
                <a:alpha val="40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000" smtClean="0">
                <a:solidFill>
                  <a:schemeClr val="lt1"/>
                </a:solidFill>
              </a:defRPr>
            </a:lvl1pPr>
          </a:lstStyle>
          <a:p>
            <a:pPr algn="ctr"/>
            <a:fld id="{1F409F94-D0DA-4FE9-B158-B846944F9E53}" type="slidenum">
              <a:rPr lang="en-US" smtClean="0"/>
              <a:pPr algn="ct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8413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E3BA3C-CD7A-417B-8977-ED1A88A1B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615B07-4552-4A3C-86DD-D3C81A9604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316187-7D9A-4338-88ED-DA4F4E6B18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A50527-A23E-4893-B38D-BF9062E23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5862C9-1799-44A0-AAE0-257F5429F1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0B565-7833-4CD6-AE79-5C7CD75B7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09F94-D0DA-4FE9-B158-B846944F9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6859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1FC96A-DD37-428B-AAD7-FFD3973DE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60AED9-58F9-4A3E-BF75-795A5CA92F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0F4674-F938-4181-924E-FC5B6E9BE3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171A2B-2052-4C21-81BE-2CF5EB950F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57DBF4-B286-4DD7-88B2-F02514E17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F8A731-5151-4B44-AF74-D6817DDC2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09F94-D0DA-4FE9-B158-B846944F9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7336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AFCB8-8830-409F-905A-DC5E4CEE9C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6C7A42-93E9-421B-AAE3-6BA3681436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4874B3-44E8-4FF9-96C7-1F3BE70DB8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1D0E31-D099-417E-9018-1F492531F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42A44-4ECB-45D8-92E7-EFEC08851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09F94-D0DA-4FE9-B158-B846944F9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6458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4FD91B5-7882-46D2-BECC-EEA659B4380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28FB017-E0E4-4891-8679-7A90CDAC20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BB38A1-14ED-4C14-B387-0F9401A61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EF6C30-D105-4484-89F9-D13BD7E46D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0D6568-6871-4B3A-A9AE-C08633D13B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409F94-D0DA-4FE9-B158-B846944F9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7872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9515C-98EC-264C-BCE2-838FB99B2A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C4A911-BC77-5647-8048-3BD6175DE0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164A7C-8D11-E743-811F-A34311AD5A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E517D-C717-8346-85B1-4579E93DE2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AAC8A7-1A4A-CE48-8DD4-6490B1BB3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9435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CCACAAA-D530-034B-B480-CD5E6C3849D8}"/>
              </a:ext>
            </a:extLst>
          </p:cNvPr>
          <p:cNvSpPr/>
          <p:nvPr userDrawn="1"/>
        </p:nvSpPr>
        <p:spPr>
          <a:xfrm>
            <a:off x="0" y="-17737"/>
            <a:ext cx="12192000" cy="6987365"/>
          </a:xfrm>
          <a:prstGeom prst="rect">
            <a:avLst/>
          </a:prstGeom>
          <a:gradFill flip="none" rotWithShape="1">
            <a:gsLst>
              <a:gs pos="41000">
                <a:schemeClr val="accent1">
                  <a:lumMod val="45000"/>
                  <a:lumOff val="55000"/>
                </a:schemeClr>
              </a:gs>
              <a:gs pos="0">
                <a:schemeClr val="accent1"/>
              </a:gs>
              <a:gs pos="100000">
                <a:schemeClr val="accent4">
                  <a:lumMod val="40000"/>
                  <a:lumOff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579">
            <a:extLst>
              <a:ext uri="{FF2B5EF4-FFF2-40B4-BE49-F238E27FC236}">
                <a16:creationId xmlns:a16="http://schemas.microsoft.com/office/drawing/2014/main" id="{7B71EE8C-7523-384B-87CC-9FA7E1CA766E}"/>
              </a:ext>
            </a:extLst>
          </p:cNvPr>
          <p:cNvSpPr>
            <a:spLocks/>
          </p:cNvSpPr>
          <p:nvPr userDrawn="1"/>
        </p:nvSpPr>
        <p:spPr bwMode="auto">
          <a:xfrm>
            <a:off x="6438763" y="1660590"/>
            <a:ext cx="5753237" cy="5274782"/>
          </a:xfrm>
          <a:custGeom>
            <a:avLst/>
            <a:gdLst>
              <a:gd name="T0" fmla="*/ 3290 w 3332"/>
              <a:gd name="T1" fmla="*/ 2991 h 2992"/>
              <a:gd name="T2" fmla="*/ 3316 w 3332"/>
              <a:gd name="T3" fmla="*/ 2976 h 2992"/>
              <a:gd name="T4" fmla="*/ 3331 w 3332"/>
              <a:gd name="T5" fmla="*/ 2950 h 2992"/>
              <a:gd name="T6" fmla="*/ 3332 w 3332"/>
              <a:gd name="T7" fmla="*/ 0 h 2992"/>
              <a:gd name="T8" fmla="*/ 3313 w 3332"/>
              <a:gd name="T9" fmla="*/ 97 h 2992"/>
              <a:gd name="T10" fmla="*/ 3288 w 3332"/>
              <a:gd name="T11" fmla="*/ 183 h 2992"/>
              <a:gd name="T12" fmla="*/ 3259 w 3332"/>
              <a:gd name="T13" fmla="*/ 258 h 2992"/>
              <a:gd name="T14" fmla="*/ 3226 w 3332"/>
              <a:gd name="T15" fmla="*/ 323 h 2992"/>
              <a:gd name="T16" fmla="*/ 3188 w 3332"/>
              <a:gd name="T17" fmla="*/ 379 h 2992"/>
              <a:gd name="T18" fmla="*/ 3148 w 3332"/>
              <a:gd name="T19" fmla="*/ 427 h 2992"/>
              <a:gd name="T20" fmla="*/ 3103 w 3332"/>
              <a:gd name="T21" fmla="*/ 468 h 2992"/>
              <a:gd name="T22" fmla="*/ 3056 w 3332"/>
              <a:gd name="T23" fmla="*/ 504 h 2992"/>
              <a:gd name="T24" fmla="*/ 2953 w 3332"/>
              <a:gd name="T25" fmla="*/ 556 h 2992"/>
              <a:gd name="T26" fmla="*/ 2843 w 3332"/>
              <a:gd name="T27" fmla="*/ 591 h 2992"/>
              <a:gd name="T28" fmla="*/ 2686 w 3332"/>
              <a:gd name="T29" fmla="*/ 623 h 2992"/>
              <a:gd name="T30" fmla="*/ 2485 w 3332"/>
              <a:gd name="T31" fmla="*/ 661 h 2992"/>
              <a:gd name="T32" fmla="*/ 2367 w 3332"/>
              <a:gd name="T33" fmla="*/ 693 h 2992"/>
              <a:gd name="T34" fmla="*/ 2290 w 3332"/>
              <a:gd name="T35" fmla="*/ 722 h 2992"/>
              <a:gd name="T36" fmla="*/ 2182 w 3332"/>
              <a:gd name="T37" fmla="*/ 776 h 2992"/>
              <a:gd name="T38" fmla="*/ 2081 w 3332"/>
              <a:gd name="T39" fmla="*/ 836 h 2992"/>
              <a:gd name="T40" fmla="*/ 1990 w 3332"/>
              <a:gd name="T41" fmla="*/ 907 h 2992"/>
              <a:gd name="T42" fmla="*/ 1904 w 3332"/>
              <a:gd name="T43" fmla="*/ 988 h 2992"/>
              <a:gd name="T44" fmla="*/ 1821 w 3332"/>
              <a:gd name="T45" fmla="*/ 1083 h 2992"/>
              <a:gd name="T46" fmla="*/ 1743 w 3332"/>
              <a:gd name="T47" fmla="*/ 1192 h 2992"/>
              <a:gd name="T48" fmla="*/ 1667 w 3332"/>
              <a:gd name="T49" fmla="*/ 1316 h 2992"/>
              <a:gd name="T50" fmla="*/ 1589 w 3332"/>
              <a:gd name="T51" fmla="*/ 1459 h 2992"/>
              <a:gd name="T52" fmla="*/ 1483 w 3332"/>
              <a:gd name="T53" fmla="*/ 1679 h 2992"/>
              <a:gd name="T54" fmla="*/ 1370 w 3332"/>
              <a:gd name="T55" fmla="*/ 1936 h 2992"/>
              <a:gd name="T56" fmla="*/ 1327 w 3332"/>
              <a:gd name="T57" fmla="*/ 2024 h 2992"/>
              <a:gd name="T58" fmla="*/ 1293 w 3332"/>
              <a:gd name="T59" fmla="*/ 2076 h 2992"/>
              <a:gd name="T60" fmla="*/ 1258 w 3332"/>
              <a:gd name="T61" fmla="*/ 2119 h 2992"/>
              <a:gd name="T62" fmla="*/ 1220 w 3332"/>
              <a:gd name="T63" fmla="*/ 2154 h 2992"/>
              <a:gd name="T64" fmla="*/ 1183 w 3332"/>
              <a:gd name="T65" fmla="*/ 2181 h 2992"/>
              <a:gd name="T66" fmla="*/ 1130 w 3332"/>
              <a:gd name="T67" fmla="*/ 2205 h 2992"/>
              <a:gd name="T68" fmla="*/ 1046 w 3332"/>
              <a:gd name="T69" fmla="*/ 2224 h 2992"/>
              <a:gd name="T70" fmla="*/ 959 w 3332"/>
              <a:gd name="T71" fmla="*/ 2225 h 2992"/>
              <a:gd name="T72" fmla="*/ 839 w 3332"/>
              <a:gd name="T73" fmla="*/ 2213 h 2992"/>
              <a:gd name="T74" fmla="*/ 716 w 3332"/>
              <a:gd name="T75" fmla="*/ 2201 h 2992"/>
              <a:gd name="T76" fmla="*/ 624 w 3332"/>
              <a:gd name="T77" fmla="*/ 2201 h 2992"/>
              <a:gd name="T78" fmla="*/ 531 w 3332"/>
              <a:gd name="T79" fmla="*/ 2218 h 2992"/>
              <a:gd name="T80" fmla="*/ 471 w 3332"/>
              <a:gd name="T81" fmla="*/ 2240 h 2992"/>
              <a:gd name="T82" fmla="*/ 373 w 3332"/>
              <a:gd name="T83" fmla="*/ 2294 h 2992"/>
              <a:gd name="T84" fmla="*/ 289 w 3332"/>
              <a:gd name="T85" fmla="*/ 2355 h 2992"/>
              <a:gd name="T86" fmla="*/ 218 w 3332"/>
              <a:gd name="T87" fmla="*/ 2421 h 2992"/>
              <a:gd name="T88" fmla="*/ 160 w 3332"/>
              <a:gd name="T89" fmla="*/ 2491 h 2992"/>
              <a:gd name="T90" fmla="*/ 111 w 3332"/>
              <a:gd name="T91" fmla="*/ 2566 h 2992"/>
              <a:gd name="T92" fmla="*/ 74 w 3332"/>
              <a:gd name="T93" fmla="*/ 2643 h 2992"/>
              <a:gd name="T94" fmla="*/ 46 w 3332"/>
              <a:gd name="T95" fmla="*/ 2720 h 2992"/>
              <a:gd name="T96" fmla="*/ 24 w 3332"/>
              <a:gd name="T97" fmla="*/ 2797 h 2992"/>
              <a:gd name="T98" fmla="*/ 4 w 3332"/>
              <a:gd name="T99" fmla="*/ 2945 h 2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332" h="2992">
                <a:moveTo>
                  <a:pt x="3279" y="2992"/>
                </a:moveTo>
                <a:lnTo>
                  <a:pt x="3279" y="2992"/>
                </a:lnTo>
                <a:lnTo>
                  <a:pt x="3290" y="2991"/>
                </a:lnTo>
                <a:lnTo>
                  <a:pt x="3299" y="2987"/>
                </a:lnTo>
                <a:lnTo>
                  <a:pt x="3309" y="2982"/>
                </a:lnTo>
                <a:lnTo>
                  <a:pt x="3316" y="2976"/>
                </a:lnTo>
                <a:lnTo>
                  <a:pt x="3324" y="2969"/>
                </a:lnTo>
                <a:lnTo>
                  <a:pt x="3328" y="2959"/>
                </a:lnTo>
                <a:lnTo>
                  <a:pt x="3331" y="2950"/>
                </a:lnTo>
                <a:lnTo>
                  <a:pt x="3332" y="2939"/>
                </a:lnTo>
                <a:lnTo>
                  <a:pt x="3332" y="0"/>
                </a:lnTo>
                <a:lnTo>
                  <a:pt x="3332" y="0"/>
                </a:lnTo>
                <a:lnTo>
                  <a:pt x="3326" y="34"/>
                </a:lnTo>
                <a:lnTo>
                  <a:pt x="3320" y="66"/>
                </a:lnTo>
                <a:lnTo>
                  <a:pt x="3313" y="97"/>
                </a:lnTo>
                <a:lnTo>
                  <a:pt x="3305" y="126"/>
                </a:lnTo>
                <a:lnTo>
                  <a:pt x="3297" y="155"/>
                </a:lnTo>
                <a:lnTo>
                  <a:pt x="3288" y="183"/>
                </a:lnTo>
                <a:lnTo>
                  <a:pt x="3279" y="208"/>
                </a:lnTo>
                <a:lnTo>
                  <a:pt x="3269" y="234"/>
                </a:lnTo>
                <a:lnTo>
                  <a:pt x="3259" y="258"/>
                </a:lnTo>
                <a:lnTo>
                  <a:pt x="3249" y="281"/>
                </a:lnTo>
                <a:lnTo>
                  <a:pt x="3238" y="303"/>
                </a:lnTo>
                <a:lnTo>
                  <a:pt x="3226" y="323"/>
                </a:lnTo>
                <a:lnTo>
                  <a:pt x="3213" y="343"/>
                </a:lnTo>
                <a:lnTo>
                  <a:pt x="3201" y="362"/>
                </a:lnTo>
                <a:lnTo>
                  <a:pt x="3188" y="379"/>
                </a:lnTo>
                <a:lnTo>
                  <a:pt x="3176" y="396"/>
                </a:lnTo>
                <a:lnTo>
                  <a:pt x="3161" y="413"/>
                </a:lnTo>
                <a:lnTo>
                  <a:pt x="3148" y="427"/>
                </a:lnTo>
                <a:lnTo>
                  <a:pt x="3134" y="442"/>
                </a:lnTo>
                <a:lnTo>
                  <a:pt x="3118" y="456"/>
                </a:lnTo>
                <a:lnTo>
                  <a:pt x="3103" y="468"/>
                </a:lnTo>
                <a:lnTo>
                  <a:pt x="3088" y="481"/>
                </a:lnTo>
                <a:lnTo>
                  <a:pt x="3072" y="493"/>
                </a:lnTo>
                <a:lnTo>
                  <a:pt x="3056" y="504"/>
                </a:lnTo>
                <a:lnTo>
                  <a:pt x="3024" y="523"/>
                </a:lnTo>
                <a:lnTo>
                  <a:pt x="2989" y="540"/>
                </a:lnTo>
                <a:lnTo>
                  <a:pt x="2953" y="556"/>
                </a:lnTo>
                <a:lnTo>
                  <a:pt x="2917" y="569"/>
                </a:lnTo>
                <a:lnTo>
                  <a:pt x="2881" y="581"/>
                </a:lnTo>
                <a:lnTo>
                  <a:pt x="2843" y="591"/>
                </a:lnTo>
                <a:lnTo>
                  <a:pt x="2805" y="600"/>
                </a:lnTo>
                <a:lnTo>
                  <a:pt x="2766" y="609"/>
                </a:lnTo>
                <a:lnTo>
                  <a:pt x="2686" y="623"/>
                </a:lnTo>
                <a:lnTo>
                  <a:pt x="2606" y="638"/>
                </a:lnTo>
                <a:lnTo>
                  <a:pt x="2525" y="652"/>
                </a:lnTo>
                <a:lnTo>
                  <a:pt x="2485" y="661"/>
                </a:lnTo>
                <a:lnTo>
                  <a:pt x="2446" y="670"/>
                </a:lnTo>
                <a:lnTo>
                  <a:pt x="2406" y="681"/>
                </a:lnTo>
                <a:lnTo>
                  <a:pt x="2367" y="693"/>
                </a:lnTo>
                <a:lnTo>
                  <a:pt x="2328" y="707"/>
                </a:lnTo>
                <a:lnTo>
                  <a:pt x="2290" y="722"/>
                </a:lnTo>
                <a:lnTo>
                  <a:pt x="2290" y="722"/>
                </a:lnTo>
                <a:lnTo>
                  <a:pt x="2253" y="739"/>
                </a:lnTo>
                <a:lnTo>
                  <a:pt x="2217" y="756"/>
                </a:lnTo>
                <a:lnTo>
                  <a:pt x="2182" y="776"/>
                </a:lnTo>
                <a:lnTo>
                  <a:pt x="2147" y="795"/>
                </a:lnTo>
                <a:lnTo>
                  <a:pt x="2114" y="815"/>
                </a:lnTo>
                <a:lnTo>
                  <a:pt x="2081" y="836"/>
                </a:lnTo>
                <a:lnTo>
                  <a:pt x="2050" y="859"/>
                </a:lnTo>
                <a:lnTo>
                  <a:pt x="2020" y="882"/>
                </a:lnTo>
                <a:lnTo>
                  <a:pt x="1990" y="907"/>
                </a:lnTo>
                <a:lnTo>
                  <a:pt x="1961" y="933"/>
                </a:lnTo>
                <a:lnTo>
                  <a:pt x="1932" y="961"/>
                </a:lnTo>
                <a:lnTo>
                  <a:pt x="1904" y="988"/>
                </a:lnTo>
                <a:lnTo>
                  <a:pt x="1876" y="1019"/>
                </a:lnTo>
                <a:lnTo>
                  <a:pt x="1849" y="1050"/>
                </a:lnTo>
                <a:lnTo>
                  <a:pt x="1821" y="1083"/>
                </a:lnTo>
                <a:lnTo>
                  <a:pt x="1796" y="1118"/>
                </a:lnTo>
                <a:lnTo>
                  <a:pt x="1769" y="1154"/>
                </a:lnTo>
                <a:lnTo>
                  <a:pt x="1743" y="1192"/>
                </a:lnTo>
                <a:lnTo>
                  <a:pt x="1717" y="1231"/>
                </a:lnTo>
                <a:lnTo>
                  <a:pt x="1692" y="1273"/>
                </a:lnTo>
                <a:lnTo>
                  <a:pt x="1667" y="1316"/>
                </a:lnTo>
                <a:lnTo>
                  <a:pt x="1640" y="1362"/>
                </a:lnTo>
                <a:lnTo>
                  <a:pt x="1615" y="1409"/>
                </a:lnTo>
                <a:lnTo>
                  <a:pt x="1589" y="1459"/>
                </a:lnTo>
                <a:lnTo>
                  <a:pt x="1563" y="1511"/>
                </a:lnTo>
                <a:lnTo>
                  <a:pt x="1536" y="1564"/>
                </a:lnTo>
                <a:lnTo>
                  <a:pt x="1483" y="1679"/>
                </a:lnTo>
                <a:lnTo>
                  <a:pt x="1427" y="1802"/>
                </a:lnTo>
                <a:lnTo>
                  <a:pt x="1370" y="1936"/>
                </a:lnTo>
                <a:lnTo>
                  <a:pt x="1370" y="1936"/>
                </a:lnTo>
                <a:lnTo>
                  <a:pt x="1349" y="1982"/>
                </a:lnTo>
                <a:lnTo>
                  <a:pt x="1338" y="2003"/>
                </a:lnTo>
                <a:lnTo>
                  <a:pt x="1327" y="2024"/>
                </a:lnTo>
                <a:lnTo>
                  <a:pt x="1316" y="2042"/>
                </a:lnTo>
                <a:lnTo>
                  <a:pt x="1305" y="2060"/>
                </a:lnTo>
                <a:lnTo>
                  <a:pt x="1293" y="2076"/>
                </a:lnTo>
                <a:lnTo>
                  <a:pt x="1282" y="2091"/>
                </a:lnTo>
                <a:lnTo>
                  <a:pt x="1270" y="2106"/>
                </a:lnTo>
                <a:lnTo>
                  <a:pt x="1258" y="2119"/>
                </a:lnTo>
                <a:lnTo>
                  <a:pt x="1246" y="2132"/>
                </a:lnTo>
                <a:lnTo>
                  <a:pt x="1234" y="2143"/>
                </a:lnTo>
                <a:lnTo>
                  <a:pt x="1220" y="2154"/>
                </a:lnTo>
                <a:lnTo>
                  <a:pt x="1208" y="2164"/>
                </a:lnTo>
                <a:lnTo>
                  <a:pt x="1195" y="2172"/>
                </a:lnTo>
                <a:lnTo>
                  <a:pt x="1183" y="2181"/>
                </a:lnTo>
                <a:lnTo>
                  <a:pt x="1170" y="2188"/>
                </a:lnTo>
                <a:lnTo>
                  <a:pt x="1156" y="2194"/>
                </a:lnTo>
                <a:lnTo>
                  <a:pt x="1130" y="2205"/>
                </a:lnTo>
                <a:lnTo>
                  <a:pt x="1102" y="2213"/>
                </a:lnTo>
                <a:lnTo>
                  <a:pt x="1074" y="2219"/>
                </a:lnTo>
                <a:lnTo>
                  <a:pt x="1046" y="2224"/>
                </a:lnTo>
                <a:lnTo>
                  <a:pt x="1017" y="2225"/>
                </a:lnTo>
                <a:lnTo>
                  <a:pt x="988" y="2227"/>
                </a:lnTo>
                <a:lnTo>
                  <a:pt x="959" y="2225"/>
                </a:lnTo>
                <a:lnTo>
                  <a:pt x="930" y="2223"/>
                </a:lnTo>
                <a:lnTo>
                  <a:pt x="900" y="2221"/>
                </a:lnTo>
                <a:lnTo>
                  <a:pt x="839" y="2213"/>
                </a:lnTo>
                <a:lnTo>
                  <a:pt x="778" y="2207"/>
                </a:lnTo>
                <a:lnTo>
                  <a:pt x="748" y="2204"/>
                </a:lnTo>
                <a:lnTo>
                  <a:pt x="716" y="2201"/>
                </a:lnTo>
                <a:lnTo>
                  <a:pt x="686" y="2200"/>
                </a:lnTo>
                <a:lnTo>
                  <a:pt x="654" y="2200"/>
                </a:lnTo>
                <a:lnTo>
                  <a:pt x="624" y="2201"/>
                </a:lnTo>
                <a:lnTo>
                  <a:pt x="593" y="2205"/>
                </a:lnTo>
                <a:lnTo>
                  <a:pt x="563" y="2210"/>
                </a:lnTo>
                <a:lnTo>
                  <a:pt x="531" y="2218"/>
                </a:lnTo>
                <a:lnTo>
                  <a:pt x="501" y="2228"/>
                </a:lnTo>
                <a:lnTo>
                  <a:pt x="471" y="2240"/>
                </a:lnTo>
                <a:lnTo>
                  <a:pt x="471" y="2240"/>
                </a:lnTo>
                <a:lnTo>
                  <a:pt x="437" y="2257"/>
                </a:lnTo>
                <a:lnTo>
                  <a:pt x="404" y="2275"/>
                </a:lnTo>
                <a:lnTo>
                  <a:pt x="373" y="2294"/>
                </a:lnTo>
                <a:lnTo>
                  <a:pt x="344" y="2314"/>
                </a:lnTo>
                <a:lnTo>
                  <a:pt x="316" y="2333"/>
                </a:lnTo>
                <a:lnTo>
                  <a:pt x="289" y="2355"/>
                </a:lnTo>
                <a:lnTo>
                  <a:pt x="264" y="2377"/>
                </a:lnTo>
                <a:lnTo>
                  <a:pt x="241" y="2398"/>
                </a:lnTo>
                <a:lnTo>
                  <a:pt x="218" y="2421"/>
                </a:lnTo>
                <a:lnTo>
                  <a:pt x="197" y="2444"/>
                </a:lnTo>
                <a:lnTo>
                  <a:pt x="178" y="2467"/>
                </a:lnTo>
                <a:lnTo>
                  <a:pt x="160" y="2491"/>
                </a:lnTo>
                <a:lnTo>
                  <a:pt x="143" y="2517"/>
                </a:lnTo>
                <a:lnTo>
                  <a:pt x="126" y="2541"/>
                </a:lnTo>
                <a:lnTo>
                  <a:pt x="111" y="2566"/>
                </a:lnTo>
                <a:lnTo>
                  <a:pt x="98" y="2592"/>
                </a:lnTo>
                <a:lnTo>
                  <a:pt x="86" y="2617"/>
                </a:lnTo>
                <a:lnTo>
                  <a:pt x="74" y="2643"/>
                </a:lnTo>
                <a:lnTo>
                  <a:pt x="64" y="2668"/>
                </a:lnTo>
                <a:lnTo>
                  <a:pt x="55" y="2695"/>
                </a:lnTo>
                <a:lnTo>
                  <a:pt x="46" y="2720"/>
                </a:lnTo>
                <a:lnTo>
                  <a:pt x="38" y="2745"/>
                </a:lnTo>
                <a:lnTo>
                  <a:pt x="32" y="2772"/>
                </a:lnTo>
                <a:lnTo>
                  <a:pt x="24" y="2797"/>
                </a:lnTo>
                <a:lnTo>
                  <a:pt x="15" y="2848"/>
                </a:lnTo>
                <a:lnTo>
                  <a:pt x="7" y="2898"/>
                </a:lnTo>
                <a:lnTo>
                  <a:pt x="4" y="2945"/>
                </a:lnTo>
                <a:lnTo>
                  <a:pt x="0" y="2992"/>
                </a:lnTo>
                <a:lnTo>
                  <a:pt x="3279" y="2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19515C-98EC-264C-BCE2-838FB99B2A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C4A911-BC77-5647-8048-3BD6175DE0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164A7C-8D11-E743-811F-A34311AD5A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E517D-C717-8346-85B1-4579E93DE2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AAC8A7-1A4A-CE48-8DD4-6490B1BB3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reeform 579">
            <a:extLst>
              <a:ext uri="{FF2B5EF4-FFF2-40B4-BE49-F238E27FC236}">
                <a16:creationId xmlns:a16="http://schemas.microsoft.com/office/drawing/2014/main" id="{E2A1AEBA-BC97-624D-9ADB-AAB346FF55C0}"/>
              </a:ext>
            </a:extLst>
          </p:cNvPr>
          <p:cNvSpPr>
            <a:spLocks/>
          </p:cNvSpPr>
          <p:nvPr userDrawn="1"/>
        </p:nvSpPr>
        <p:spPr bwMode="auto">
          <a:xfrm flipH="1" flipV="1">
            <a:off x="-28136" y="-28136"/>
            <a:ext cx="4224548" cy="3873223"/>
          </a:xfrm>
          <a:custGeom>
            <a:avLst/>
            <a:gdLst>
              <a:gd name="T0" fmla="*/ 3290 w 3332"/>
              <a:gd name="T1" fmla="*/ 2991 h 2992"/>
              <a:gd name="T2" fmla="*/ 3316 w 3332"/>
              <a:gd name="T3" fmla="*/ 2976 h 2992"/>
              <a:gd name="T4" fmla="*/ 3331 w 3332"/>
              <a:gd name="T5" fmla="*/ 2950 h 2992"/>
              <a:gd name="T6" fmla="*/ 3332 w 3332"/>
              <a:gd name="T7" fmla="*/ 0 h 2992"/>
              <a:gd name="T8" fmla="*/ 3313 w 3332"/>
              <a:gd name="T9" fmla="*/ 97 h 2992"/>
              <a:gd name="T10" fmla="*/ 3288 w 3332"/>
              <a:gd name="T11" fmla="*/ 183 h 2992"/>
              <a:gd name="T12" fmla="*/ 3259 w 3332"/>
              <a:gd name="T13" fmla="*/ 258 h 2992"/>
              <a:gd name="T14" fmla="*/ 3226 w 3332"/>
              <a:gd name="T15" fmla="*/ 323 h 2992"/>
              <a:gd name="T16" fmla="*/ 3188 w 3332"/>
              <a:gd name="T17" fmla="*/ 379 h 2992"/>
              <a:gd name="T18" fmla="*/ 3148 w 3332"/>
              <a:gd name="T19" fmla="*/ 427 h 2992"/>
              <a:gd name="T20" fmla="*/ 3103 w 3332"/>
              <a:gd name="T21" fmla="*/ 468 h 2992"/>
              <a:gd name="T22" fmla="*/ 3056 w 3332"/>
              <a:gd name="T23" fmla="*/ 504 h 2992"/>
              <a:gd name="T24" fmla="*/ 2953 w 3332"/>
              <a:gd name="T25" fmla="*/ 556 h 2992"/>
              <a:gd name="T26" fmla="*/ 2843 w 3332"/>
              <a:gd name="T27" fmla="*/ 591 h 2992"/>
              <a:gd name="T28" fmla="*/ 2686 w 3332"/>
              <a:gd name="T29" fmla="*/ 623 h 2992"/>
              <a:gd name="T30" fmla="*/ 2485 w 3332"/>
              <a:gd name="T31" fmla="*/ 661 h 2992"/>
              <a:gd name="T32" fmla="*/ 2367 w 3332"/>
              <a:gd name="T33" fmla="*/ 693 h 2992"/>
              <a:gd name="T34" fmla="*/ 2290 w 3332"/>
              <a:gd name="T35" fmla="*/ 722 h 2992"/>
              <a:gd name="T36" fmla="*/ 2182 w 3332"/>
              <a:gd name="T37" fmla="*/ 776 h 2992"/>
              <a:gd name="T38" fmla="*/ 2081 w 3332"/>
              <a:gd name="T39" fmla="*/ 836 h 2992"/>
              <a:gd name="T40" fmla="*/ 1990 w 3332"/>
              <a:gd name="T41" fmla="*/ 907 h 2992"/>
              <a:gd name="T42" fmla="*/ 1904 w 3332"/>
              <a:gd name="T43" fmla="*/ 988 h 2992"/>
              <a:gd name="T44" fmla="*/ 1821 w 3332"/>
              <a:gd name="T45" fmla="*/ 1083 h 2992"/>
              <a:gd name="T46" fmla="*/ 1743 w 3332"/>
              <a:gd name="T47" fmla="*/ 1192 h 2992"/>
              <a:gd name="T48" fmla="*/ 1667 w 3332"/>
              <a:gd name="T49" fmla="*/ 1316 h 2992"/>
              <a:gd name="T50" fmla="*/ 1589 w 3332"/>
              <a:gd name="T51" fmla="*/ 1459 h 2992"/>
              <a:gd name="T52" fmla="*/ 1483 w 3332"/>
              <a:gd name="T53" fmla="*/ 1679 h 2992"/>
              <a:gd name="T54" fmla="*/ 1370 w 3332"/>
              <a:gd name="T55" fmla="*/ 1936 h 2992"/>
              <a:gd name="T56" fmla="*/ 1327 w 3332"/>
              <a:gd name="T57" fmla="*/ 2024 h 2992"/>
              <a:gd name="T58" fmla="*/ 1293 w 3332"/>
              <a:gd name="T59" fmla="*/ 2076 h 2992"/>
              <a:gd name="T60" fmla="*/ 1258 w 3332"/>
              <a:gd name="T61" fmla="*/ 2119 h 2992"/>
              <a:gd name="T62" fmla="*/ 1220 w 3332"/>
              <a:gd name="T63" fmla="*/ 2154 h 2992"/>
              <a:gd name="T64" fmla="*/ 1183 w 3332"/>
              <a:gd name="T65" fmla="*/ 2181 h 2992"/>
              <a:gd name="T66" fmla="*/ 1130 w 3332"/>
              <a:gd name="T67" fmla="*/ 2205 h 2992"/>
              <a:gd name="T68" fmla="*/ 1046 w 3332"/>
              <a:gd name="T69" fmla="*/ 2224 h 2992"/>
              <a:gd name="T70" fmla="*/ 959 w 3332"/>
              <a:gd name="T71" fmla="*/ 2225 h 2992"/>
              <a:gd name="T72" fmla="*/ 839 w 3332"/>
              <a:gd name="T73" fmla="*/ 2213 h 2992"/>
              <a:gd name="T74" fmla="*/ 716 w 3332"/>
              <a:gd name="T75" fmla="*/ 2201 h 2992"/>
              <a:gd name="T76" fmla="*/ 624 w 3332"/>
              <a:gd name="T77" fmla="*/ 2201 h 2992"/>
              <a:gd name="T78" fmla="*/ 531 w 3332"/>
              <a:gd name="T79" fmla="*/ 2218 h 2992"/>
              <a:gd name="T80" fmla="*/ 471 w 3332"/>
              <a:gd name="T81" fmla="*/ 2240 h 2992"/>
              <a:gd name="T82" fmla="*/ 373 w 3332"/>
              <a:gd name="T83" fmla="*/ 2294 h 2992"/>
              <a:gd name="T84" fmla="*/ 289 w 3332"/>
              <a:gd name="T85" fmla="*/ 2355 h 2992"/>
              <a:gd name="T86" fmla="*/ 218 w 3332"/>
              <a:gd name="T87" fmla="*/ 2421 h 2992"/>
              <a:gd name="T88" fmla="*/ 160 w 3332"/>
              <a:gd name="T89" fmla="*/ 2491 h 2992"/>
              <a:gd name="T90" fmla="*/ 111 w 3332"/>
              <a:gd name="T91" fmla="*/ 2566 h 2992"/>
              <a:gd name="T92" fmla="*/ 74 w 3332"/>
              <a:gd name="T93" fmla="*/ 2643 h 2992"/>
              <a:gd name="T94" fmla="*/ 46 w 3332"/>
              <a:gd name="T95" fmla="*/ 2720 h 2992"/>
              <a:gd name="T96" fmla="*/ 24 w 3332"/>
              <a:gd name="T97" fmla="*/ 2797 h 2992"/>
              <a:gd name="T98" fmla="*/ 4 w 3332"/>
              <a:gd name="T99" fmla="*/ 2945 h 2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332" h="2992">
                <a:moveTo>
                  <a:pt x="3279" y="2992"/>
                </a:moveTo>
                <a:lnTo>
                  <a:pt x="3279" y="2992"/>
                </a:lnTo>
                <a:lnTo>
                  <a:pt x="3290" y="2991"/>
                </a:lnTo>
                <a:lnTo>
                  <a:pt x="3299" y="2987"/>
                </a:lnTo>
                <a:lnTo>
                  <a:pt x="3309" y="2982"/>
                </a:lnTo>
                <a:lnTo>
                  <a:pt x="3316" y="2976"/>
                </a:lnTo>
                <a:lnTo>
                  <a:pt x="3324" y="2969"/>
                </a:lnTo>
                <a:lnTo>
                  <a:pt x="3328" y="2959"/>
                </a:lnTo>
                <a:lnTo>
                  <a:pt x="3331" y="2950"/>
                </a:lnTo>
                <a:lnTo>
                  <a:pt x="3332" y="2939"/>
                </a:lnTo>
                <a:lnTo>
                  <a:pt x="3332" y="0"/>
                </a:lnTo>
                <a:lnTo>
                  <a:pt x="3332" y="0"/>
                </a:lnTo>
                <a:lnTo>
                  <a:pt x="3326" y="34"/>
                </a:lnTo>
                <a:lnTo>
                  <a:pt x="3320" y="66"/>
                </a:lnTo>
                <a:lnTo>
                  <a:pt x="3313" y="97"/>
                </a:lnTo>
                <a:lnTo>
                  <a:pt x="3305" y="126"/>
                </a:lnTo>
                <a:lnTo>
                  <a:pt x="3297" y="155"/>
                </a:lnTo>
                <a:lnTo>
                  <a:pt x="3288" y="183"/>
                </a:lnTo>
                <a:lnTo>
                  <a:pt x="3279" y="208"/>
                </a:lnTo>
                <a:lnTo>
                  <a:pt x="3269" y="234"/>
                </a:lnTo>
                <a:lnTo>
                  <a:pt x="3259" y="258"/>
                </a:lnTo>
                <a:lnTo>
                  <a:pt x="3249" y="281"/>
                </a:lnTo>
                <a:lnTo>
                  <a:pt x="3238" y="303"/>
                </a:lnTo>
                <a:lnTo>
                  <a:pt x="3226" y="323"/>
                </a:lnTo>
                <a:lnTo>
                  <a:pt x="3213" y="343"/>
                </a:lnTo>
                <a:lnTo>
                  <a:pt x="3201" y="362"/>
                </a:lnTo>
                <a:lnTo>
                  <a:pt x="3188" y="379"/>
                </a:lnTo>
                <a:lnTo>
                  <a:pt x="3176" y="396"/>
                </a:lnTo>
                <a:lnTo>
                  <a:pt x="3161" y="413"/>
                </a:lnTo>
                <a:lnTo>
                  <a:pt x="3148" y="427"/>
                </a:lnTo>
                <a:lnTo>
                  <a:pt x="3134" y="442"/>
                </a:lnTo>
                <a:lnTo>
                  <a:pt x="3118" y="456"/>
                </a:lnTo>
                <a:lnTo>
                  <a:pt x="3103" y="468"/>
                </a:lnTo>
                <a:lnTo>
                  <a:pt x="3088" y="481"/>
                </a:lnTo>
                <a:lnTo>
                  <a:pt x="3072" y="493"/>
                </a:lnTo>
                <a:lnTo>
                  <a:pt x="3056" y="504"/>
                </a:lnTo>
                <a:lnTo>
                  <a:pt x="3024" y="523"/>
                </a:lnTo>
                <a:lnTo>
                  <a:pt x="2989" y="540"/>
                </a:lnTo>
                <a:lnTo>
                  <a:pt x="2953" y="556"/>
                </a:lnTo>
                <a:lnTo>
                  <a:pt x="2917" y="569"/>
                </a:lnTo>
                <a:lnTo>
                  <a:pt x="2881" y="581"/>
                </a:lnTo>
                <a:lnTo>
                  <a:pt x="2843" y="591"/>
                </a:lnTo>
                <a:lnTo>
                  <a:pt x="2805" y="600"/>
                </a:lnTo>
                <a:lnTo>
                  <a:pt x="2766" y="609"/>
                </a:lnTo>
                <a:lnTo>
                  <a:pt x="2686" y="623"/>
                </a:lnTo>
                <a:lnTo>
                  <a:pt x="2606" y="638"/>
                </a:lnTo>
                <a:lnTo>
                  <a:pt x="2525" y="652"/>
                </a:lnTo>
                <a:lnTo>
                  <a:pt x="2485" y="661"/>
                </a:lnTo>
                <a:lnTo>
                  <a:pt x="2446" y="670"/>
                </a:lnTo>
                <a:lnTo>
                  <a:pt x="2406" y="681"/>
                </a:lnTo>
                <a:lnTo>
                  <a:pt x="2367" y="693"/>
                </a:lnTo>
                <a:lnTo>
                  <a:pt x="2328" y="707"/>
                </a:lnTo>
                <a:lnTo>
                  <a:pt x="2290" y="722"/>
                </a:lnTo>
                <a:lnTo>
                  <a:pt x="2290" y="722"/>
                </a:lnTo>
                <a:lnTo>
                  <a:pt x="2253" y="739"/>
                </a:lnTo>
                <a:lnTo>
                  <a:pt x="2217" y="756"/>
                </a:lnTo>
                <a:lnTo>
                  <a:pt x="2182" y="776"/>
                </a:lnTo>
                <a:lnTo>
                  <a:pt x="2147" y="795"/>
                </a:lnTo>
                <a:lnTo>
                  <a:pt x="2114" y="815"/>
                </a:lnTo>
                <a:lnTo>
                  <a:pt x="2081" y="836"/>
                </a:lnTo>
                <a:lnTo>
                  <a:pt x="2050" y="859"/>
                </a:lnTo>
                <a:lnTo>
                  <a:pt x="2020" y="882"/>
                </a:lnTo>
                <a:lnTo>
                  <a:pt x="1990" y="907"/>
                </a:lnTo>
                <a:lnTo>
                  <a:pt x="1961" y="933"/>
                </a:lnTo>
                <a:lnTo>
                  <a:pt x="1932" y="961"/>
                </a:lnTo>
                <a:lnTo>
                  <a:pt x="1904" y="988"/>
                </a:lnTo>
                <a:lnTo>
                  <a:pt x="1876" y="1019"/>
                </a:lnTo>
                <a:lnTo>
                  <a:pt x="1849" y="1050"/>
                </a:lnTo>
                <a:lnTo>
                  <a:pt x="1821" y="1083"/>
                </a:lnTo>
                <a:lnTo>
                  <a:pt x="1796" y="1118"/>
                </a:lnTo>
                <a:lnTo>
                  <a:pt x="1769" y="1154"/>
                </a:lnTo>
                <a:lnTo>
                  <a:pt x="1743" y="1192"/>
                </a:lnTo>
                <a:lnTo>
                  <a:pt x="1717" y="1231"/>
                </a:lnTo>
                <a:lnTo>
                  <a:pt x="1692" y="1273"/>
                </a:lnTo>
                <a:lnTo>
                  <a:pt x="1667" y="1316"/>
                </a:lnTo>
                <a:lnTo>
                  <a:pt x="1640" y="1362"/>
                </a:lnTo>
                <a:lnTo>
                  <a:pt x="1615" y="1409"/>
                </a:lnTo>
                <a:lnTo>
                  <a:pt x="1589" y="1459"/>
                </a:lnTo>
                <a:lnTo>
                  <a:pt x="1563" y="1511"/>
                </a:lnTo>
                <a:lnTo>
                  <a:pt x="1536" y="1564"/>
                </a:lnTo>
                <a:lnTo>
                  <a:pt x="1483" y="1679"/>
                </a:lnTo>
                <a:lnTo>
                  <a:pt x="1427" y="1802"/>
                </a:lnTo>
                <a:lnTo>
                  <a:pt x="1370" y="1936"/>
                </a:lnTo>
                <a:lnTo>
                  <a:pt x="1370" y="1936"/>
                </a:lnTo>
                <a:lnTo>
                  <a:pt x="1349" y="1982"/>
                </a:lnTo>
                <a:lnTo>
                  <a:pt x="1338" y="2003"/>
                </a:lnTo>
                <a:lnTo>
                  <a:pt x="1327" y="2024"/>
                </a:lnTo>
                <a:lnTo>
                  <a:pt x="1316" y="2042"/>
                </a:lnTo>
                <a:lnTo>
                  <a:pt x="1305" y="2060"/>
                </a:lnTo>
                <a:lnTo>
                  <a:pt x="1293" y="2076"/>
                </a:lnTo>
                <a:lnTo>
                  <a:pt x="1282" y="2091"/>
                </a:lnTo>
                <a:lnTo>
                  <a:pt x="1270" y="2106"/>
                </a:lnTo>
                <a:lnTo>
                  <a:pt x="1258" y="2119"/>
                </a:lnTo>
                <a:lnTo>
                  <a:pt x="1246" y="2132"/>
                </a:lnTo>
                <a:lnTo>
                  <a:pt x="1234" y="2143"/>
                </a:lnTo>
                <a:lnTo>
                  <a:pt x="1220" y="2154"/>
                </a:lnTo>
                <a:lnTo>
                  <a:pt x="1208" y="2164"/>
                </a:lnTo>
                <a:lnTo>
                  <a:pt x="1195" y="2172"/>
                </a:lnTo>
                <a:lnTo>
                  <a:pt x="1183" y="2181"/>
                </a:lnTo>
                <a:lnTo>
                  <a:pt x="1170" y="2188"/>
                </a:lnTo>
                <a:lnTo>
                  <a:pt x="1156" y="2194"/>
                </a:lnTo>
                <a:lnTo>
                  <a:pt x="1130" y="2205"/>
                </a:lnTo>
                <a:lnTo>
                  <a:pt x="1102" y="2213"/>
                </a:lnTo>
                <a:lnTo>
                  <a:pt x="1074" y="2219"/>
                </a:lnTo>
                <a:lnTo>
                  <a:pt x="1046" y="2224"/>
                </a:lnTo>
                <a:lnTo>
                  <a:pt x="1017" y="2225"/>
                </a:lnTo>
                <a:lnTo>
                  <a:pt x="988" y="2227"/>
                </a:lnTo>
                <a:lnTo>
                  <a:pt x="959" y="2225"/>
                </a:lnTo>
                <a:lnTo>
                  <a:pt x="930" y="2223"/>
                </a:lnTo>
                <a:lnTo>
                  <a:pt x="900" y="2221"/>
                </a:lnTo>
                <a:lnTo>
                  <a:pt x="839" y="2213"/>
                </a:lnTo>
                <a:lnTo>
                  <a:pt x="778" y="2207"/>
                </a:lnTo>
                <a:lnTo>
                  <a:pt x="748" y="2204"/>
                </a:lnTo>
                <a:lnTo>
                  <a:pt x="716" y="2201"/>
                </a:lnTo>
                <a:lnTo>
                  <a:pt x="686" y="2200"/>
                </a:lnTo>
                <a:lnTo>
                  <a:pt x="654" y="2200"/>
                </a:lnTo>
                <a:lnTo>
                  <a:pt x="624" y="2201"/>
                </a:lnTo>
                <a:lnTo>
                  <a:pt x="593" y="2205"/>
                </a:lnTo>
                <a:lnTo>
                  <a:pt x="563" y="2210"/>
                </a:lnTo>
                <a:lnTo>
                  <a:pt x="531" y="2218"/>
                </a:lnTo>
                <a:lnTo>
                  <a:pt x="501" y="2228"/>
                </a:lnTo>
                <a:lnTo>
                  <a:pt x="471" y="2240"/>
                </a:lnTo>
                <a:lnTo>
                  <a:pt x="471" y="2240"/>
                </a:lnTo>
                <a:lnTo>
                  <a:pt x="437" y="2257"/>
                </a:lnTo>
                <a:lnTo>
                  <a:pt x="404" y="2275"/>
                </a:lnTo>
                <a:lnTo>
                  <a:pt x="373" y="2294"/>
                </a:lnTo>
                <a:lnTo>
                  <a:pt x="344" y="2314"/>
                </a:lnTo>
                <a:lnTo>
                  <a:pt x="316" y="2333"/>
                </a:lnTo>
                <a:lnTo>
                  <a:pt x="289" y="2355"/>
                </a:lnTo>
                <a:lnTo>
                  <a:pt x="264" y="2377"/>
                </a:lnTo>
                <a:lnTo>
                  <a:pt x="241" y="2398"/>
                </a:lnTo>
                <a:lnTo>
                  <a:pt x="218" y="2421"/>
                </a:lnTo>
                <a:lnTo>
                  <a:pt x="197" y="2444"/>
                </a:lnTo>
                <a:lnTo>
                  <a:pt x="178" y="2467"/>
                </a:lnTo>
                <a:lnTo>
                  <a:pt x="160" y="2491"/>
                </a:lnTo>
                <a:lnTo>
                  <a:pt x="143" y="2517"/>
                </a:lnTo>
                <a:lnTo>
                  <a:pt x="126" y="2541"/>
                </a:lnTo>
                <a:lnTo>
                  <a:pt x="111" y="2566"/>
                </a:lnTo>
                <a:lnTo>
                  <a:pt x="98" y="2592"/>
                </a:lnTo>
                <a:lnTo>
                  <a:pt x="86" y="2617"/>
                </a:lnTo>
                <a:lnTo>
                  <a:pt x="74" y="2643"/>
                </a:lnTo>
                <a:lnTo>
                  <a:pt x="64" y="2668"/>
                </a:lnTo>
                <a:lnTo>
                  <a:pt x="55" y="2695"/>
                </a:lnTo>
                <a:lnTo>
                  <a:pt x="46" y="2720"/>
                </a:lnTo>
                <a:lnTo>
                  <a:pt x="38" y="2745"/>
                </a:lnTo>
                <a:lnTo>
                  <a:pt x="32" y="2772"/>
                </a:lnTo>
                <a:lnTo>
                  <a:pt x="24" y="2797"/>
                </a:lnTo>
                <a:lnTo>
                  <a:pt x="15" y="2848"/>
                </a:lnTo>
                <a:lnTo>
                  <a:pt x="7" y="2898"/>
                </a:lnTo>
                <a:lnTo>
                  <a:pt x="4" y="2945"/>
                </a:lnTo>
                <a:lnTo>
                  <a:pt x="0" y="2992"/>
                </a:lnTo>
                <a:lnTo>
                  <a:pt x="3279" y="2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345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7FD199-2DD5-A34E-86A9-A3BFC95CC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D3D69B-7E57-9344-970F-1F7BF7CA20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9539A7-1712-1746-B0C3-07CE2F7421F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76B80-6A7B-5C47-AD67-8A266CB07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7B495A-F12C-D343-BC64-7781EA811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5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483FB17-A8FD-4716-A5C0-6D9468796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D4860B5-D968-49D7-B5CE-EB869E8055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52F0A64-D599-47C3-B531-95505EFED1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34A20D5-402A-474E-839B-7C30BA38D3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E68F0331-C8F5-47F4-B895-4F5FB90DC5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B4DE969A-C731-48E9-8FF7-E52E936376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659AC9F8-D6C8-42B9-A0B0-ACFC62A564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6445D29-8981-4735-A524-9DE7D39C3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196919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7FD199-2DD5-A34E-86A9-A3BFC95CC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C76B80-6A7B-5C47-AD67-8A266CB07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7B495A-F12C-D343-BC64-7781EA811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62B1C9-79A0-E740-BBC3-75CE2D357687}"/>
              </a:ext>
            </a:extLst>
          </p:cNvPr>
          <p:cNvSpPr/>
          <p:nvPr userDrawn="1"/>
        </p:nvSpPr>
        <p:spPr>
          <a:xfrm>
            <a:off x="0" y="10399"/>
            <a:ext cx="12191999" cy="68476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7562A6F7-9061-4E4C-88C1-52D6BF458036}"/>
              </a:ext>
            </a:extLst>
          </p:cNvPr>
          <p:cNvSpPr/>
          <p:nvPr userDrawn="1"/>
        </p:nvSpPr>
        <p:spPr>
          <a:xfrm>
            <a:off x="449179" y="593366"/>
            <a:ext cx="11377078" cy="5829219"/>
          </a:xfrm>
          <a:prstGeom prst="roundRect">
            <a:avLst>
              <a:gd name="adj" fmla="val 649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48DA41C6-255E-5944-99E5-0DF340F4543B}"/>
              </a:ext>
            </a:extLst>
          </p:cNvPr>
          <p:cNvSpPr/>
          <p:nvPr userDrawn="1"/>
        </p:nvSpPr>
        <p:spPr>
          <a:xfrm rot="10800000">
            <a:off x="4989323" y="593365"/>
            <a:ext cx="2213355" cy="401960"/>
          </a:xfrm>
          <a:custGeom>
            <a:avLst/>
            <a:gdLst>
              <a:gd name="connsiteX0" fmla="*/ 984819 w 2213355"/>
              <a:gd name="connsiteY0" fmla="*/ 744 h 564389"/>
              <a:gd name="connsiteX1" fmla="*/ 2188184 w 2213355"/>
              <a:gd name="connsiteY1" fmla="*/ 553689 h 564389"/>
              <a:gd name="connsiteX2" fmla="*/ 2213355 w 2213355"/>
              <a:gd name="connsiteY2" fmla="*/ 564389 h 564389"/>
              <a:gd name="connsiteX3" fmla="*/ 0 w 2213355"/>
              <a:gd name="connsiteY3" fmla="*/ 564389 h 564389"/>
              <a:gd name="connsiteX4" fmla="*/ 46383 w 2213355"/>
              <a:gd name="connsiteY4" fmla="*/ 532667 h 564389"/>
              <a:gd name="connsiteX5" fmla="*/ 984819 w 2213355"/>
              <a:gd name="connsiteY5" fmla="*/ 744 h 564389"/>
              <a:gd name="connsiteX0" fmla="*/ 1121979 w 2213355"/>
              <a:gd name="connsiteY0" fmla="*/ 787 h 549192"/>
              <a:gd name="connsiteX1" fmla="*/ 2188184 w 2213355"/>
              <a:gd name="connsiteY1" fmla="*/ 538492 h 549192"/>
              <a:gd name="connsiteX2" fmla="*/ 2213355 w 2213355"/>
              <a:gd name="connsiteY2" fmla="*/ 549192 h 549192"/>
              <a:gd name="connsiteX3" fmla="*/ 0 w 2213355"/>
              <a:gd name="connsiteY3" fmla="*/ 549192 h 549192"/>
              <a:gd name="connsiteX4" fmla="*/ 46383 w 2213355"/>
              <a:gd name="connsiteY4" fmla="*/ 517470 h 549192"/>
              <a:gd name="connsiteX5" fmla="*/ 1121979 w 2213355"/>
              <a:gd name="connsiteY5" fmla="*/ 787 h 549192"/>
              <a:gd name="connsiteX0" fmla="*/ 1121979 w 2213355"/>
              <a:gd name="connsiteY0" fmla="*/ 787 h 549192"/>
              <a:gd name="connsiteX1" fmla="*/ 2188184 w 2213355"/>
              <a:gd name="connsiteY1" fmla="*/ 538492 h 549192"/>
              <a:gd name="connsiteX2" fmla="*/ 2213355 w 2213355"/>
              <a:gd name="connsiteY2" fmla="*/ 549192 h 549192"/>
              <a:gd name="connsiteX3" fmla="*/ 0 w 2213355"/>
              <a:gd name="connsiteY3" fmla="*/ 549192 h 549192"/>
              <a:gd name="connsiteX4" fmla="*/ 46383 w 2213355"/>
              <a:gd name="connsiteY4" fmla="*/ 517470 h 549192"/>
              <a:gd name="connsiteX5" fmla="*/ 1121979 w 2213355"/>
              <a:gd name="connsiteY5" fmla="*/ 787 h 549192"/>
              <a:gd name="connsiteX0" fmla="*/ 1121979 w 2213355"/>
              <a:gd name="connsiteY0" fmla="*/ 787 h 549192"/>
              <a:gd name="connsiteX1" fmla="*/ 2188184 w 2213355"/>
              <a:gd name="connsiteY1" fmla="*/ 538492 h 549192"/>
              <a:gd name="connsiteX2" fmla="*/ 2213355 w 2213355"/>
              <a:gd name="connsiteY2" fmla="*/ 549192 h 549192"/>
              <a:gd name="connsiteX3" fmla="*/ 0 w 2213355"/>
              <a:gd name="connsiteY3" fmla="*/ 549192 h 549192"/>
              <a:gd name="connsiteX4" fmla="*/ 318231 w 2213355"/>
              <a:gd name="connsiteY4" fmla="*/ 435092 h 549192"/>
              <a:gd name="connsiteX5" fmla="*/ 1121979 w 2213355"/>
              <a:gd name="connsiteY5" fmla="*/ 787 h 549192"/>
              <a:gd name="connsiteX0" fmla="*/ 1121979 w 2213355"/>
              <a:gd name="connsiteY0" fmla="*/ 787 h 549192"/>
              <a:gd name="connsiteX1" fmla="*/ 2188184 w 2213355"/>
              <a:gd name="connsiteY1" fmla="*/ 538492 h 549192"/>
              <a:gd name="connsiteX2" fmla="*/ 2213355 w 2213355"/>
              <a:gd name="connsiteY2" fmla="*/ 549192 h 549192"/>
              <a:gd name="connsiteX3" fmla="*/ 0 w 2213355"/>
              <a:gd name="connsiteY3" fmla="*/ 549192 h 549192"/>
              <a:gd name="connsiteX4" fmla="*/ 1121979 w 2213355"/>
              <a:gd name="connsiteY4" fmla="*/ 787 h 549192"/>
              <a:gd name="connsiteX0" fmla="*/ 1121979 w 2213355"/>
              <a:gd name="connsiteY0" fmla="*/ 787 h 549192"/>
              <a:gd name="connsiteX1" fmla="*/ 2188184 w 2213355"/>
              <a:gd name="connsiteY1" fmla="*/ 538492 h 549192"/>
              <a:gd name="connsiteX2" fmla="*/ 2213355 w 2213355"/>
              <a:gd name="connsiteY2" fmla="*/ 549192 h 549192"/>
              <a:gd name="connsiteX3" fmla="*/ 0 w 2213355"/>
              <a:gd name="connsiteY3" fmla="*/ 549192 h 549192"/>
              <a:gd name="connsiteX4" fmla="*/ 1121979 w 2213355"/>
              <a:gd name="connsiteY4" fmla="*/ 787 h 549192"/>
              <a:gd name="connsiteX0" fmla="*/ 1121979 w 2213355"/>
              <a:gd name="connsiteY0" fmla="*/ 89 h 548494"/>
              <a:gd name="connsiteX1" fmla="*/ 2188184 w 2213355"/>
              <a:gd name="connsiteY1" fmla="*/ 537794 h 548494"/>
              <a:gd name="connsiteX2" fmla="*/ 2213355 w 2213355"/>
              <a:gd name="connsiteY2" fmla="*/ 548494 h 548494"/>
              <a:gd name="connsiteX3" fmla="*/ 0 w 2213355"/>
              <a:gd name="connsiteY3" fmla="*/ 548494 h 548494"/>
              <a:gd name="connsiteX4" fmla="*/ 1121979 w 2213355"/>
              <a:gd name="connsiteY4" fmla="*/ 89 h 548494"/>
              <a:gd name="connsiteX0" fmla="*/ 1121979 w 2213355"/>
              <a:gd name="connsiteY0" fmla="*/ 0 h 548405"/>
              <a:gd name="connsiteX1" fmla="*/ 2188184 w 2213355"/>
              <a:gd name="connsiteY1" fmla="*/ 537705 h 548405"/>
              <a:gd name="connsiteX2" fmla="*/ 2213355 w 2213355"/>
              <a:gd name="connsiteY2" fmla="*/ 548405 h 548405"/>
              <a:gd name="connsiteX3" fmla="*/ 0 w 2213355"/>
              <a:gd name="connsiteY3" fmla="*/ 548405 h 548405"/>
              <a:gd name="connsiteX4" fmla="*/ 1121979 w 2213355"/>
              <a:gd name="connsiteY4" fmla="*/ 0 h 548405"/>
              <a:gd name="connsiteX0" fmla="*/ 1121979 w 2213355"/>
              <a:gd name="connsiteY0" fmla="*/ 0 h 548405"/>
              <a:gd name="connsiteX1" fmla="*/ 2188184 w 2213355"/>
              <a:gd name="connsiteY1" fmla="*/ 537705 h 548405"/>
              <a:gd name="connsiteX2" fmla="*/ 2213355 w 2213355"/>
              <a:gd name="connsiteY2" fmla="*/ 548405 h 548405"/>
              <a:gd name="connsiteX3" fmla="*/ 0 w 2213355"/>
              <a:gd name="connsiteY3" fmla="*/ 548405 h 548405"/>
              <a:gd name="connsiteX4" fmla="*/ 1121979 w 2213355"/>
              <a:gd name="connsiteY4" fmla="*/ 0 h 548405"/>
              <a:gd name="connsiteX0" fmla="*/ 1121979 w 2295276"/>
              <a:gd name="connsiteY0" fmla="*/ 0 h 548405"/>
              <a:gd name="connsiteX1" fmla="*/ 2295276 w 2295276"/>
              <a:gd name="connsiteY1" fmla="*/ 422375 h 548405"/>
              <a:gd name="connsiteX2" fmla="*/ 2213355 w 2295276"/>
              <a:gd name="connsiteY2" fmla="*/ 548405 h 548405"/>
              <a:gd name="connsiteX3" fmla="*/ 0 w 2295276"/>
              <a:gd name="connsiteY3" fmla="*/ 548405 h 548405"/>
              <a:gd name="connsiteX4" fmla="*/ 1121979 w 2295276"/>
              <a:gd name="connsiteY4" fmla="*/ 0 h 548405"/>
              <a:gd name="connsiteX0" fmla="*/ 1121979 w 2238399"/>
              <a:gd name="connsiteY0" fmla="*/ 0 h 548405"/>
              <a:gd name="connsiteX1" fmla="*/ 2213355 w 2238399"/>
              <a:gd name="connsiteY1" fmla="*/ 548405 h 548405"/>
              <a:gd name="connsiteX2" fmla="*/ 0 w 2238399"/>
              <a:gd name="connsiteY2" fmla="*/ 548405 h 548405"/>
              <a:gd name="connsiteX3" fmla="*/ 1121979 w 2238399"/>
              <a:gd name="connsiteY3" fmla="*/ 0 h 548405"/>
              <a:gd name="connsiteX0" fmla="*/ 1121979 w 2213355"/>
              <a:gd name="connsiteY0" fmla="*/ 0 h 548405"/>
              <a:gd name="connsiteX1" fmla="*/ 2213355 w 2213355"/>
              <a:gd name="connsiteY1" fmla="*/ 548405 h 548405"/>
              <a:gd name="connsiteX2" fmla="*/ 0 w 2213355"/>
              <a:gd name="connsiteY2" fmla="*/ 548405 h 548405"/>
              <a:gd name="connsiteX3" fmla="*/ 1121979 w 2213355"/>
              <a:gd name="connsiteY3" fmla="*/ 0 h 548405"/>
              <a:gd name="connsiteX0" fmla="*/ 1121979 w 2213355"/>
              <a:gd name="connsiteY0" fmla="*/ 0 h 548405"/>
              <a:gd name="connsiteX1" fmla="*/ 2213355 w 2213355"/>
              <a:gd name="connsiteY1" fmla="*/ 548405 h 548405"/>
              <a:gd name="connsiteX2" fmla="*/ 0 w 2213355"/>
              <a:gd name="connsiteY2" fmla="*/ 548405 h 548405"/>
              <a:gd name="connsiteX3" fmla="*/ 1121979 w 2213355"/>
              <a:gd name="connsiteY3" fmla="*/ 0 h 548405"/>
              <a:gd name="connsiteX0" fmla="*/ 1097265 w 2213355"/>
              <a:gd name="connsiteY0" fmla="*/ 0 h 540167"/>
              <a:gd name="connsiteX1" fmla="*/ 2213355 w 2213355"/>
              <a:gd name="connsiteY1" fmla="*/ 540167 h 540167"/>
              <a:gd name="connsiteX2" fmla="*/ 0 w 2213355"/>
              <a:gd name="connsiteY2" fmla="*/ 540167 h 540167"/>
              <a:gd name="connsiteX3" fmla="*/ 1097265 w 2213355"/>
              <a:gd name="connsiteY3" fmla="*/ 0 h 540167"/>
              <a:gd name="connsiteX0" fmla="*/ 1097265 w 2213355"/>
              <a:gd name="connsiteY0" fmla="*/ 0 h 540167"/>
              <a:gd name="connsiteX1" fmla="*/ 2213355 w 2213355"/>
              <a:gd name="connsiteY1" fmla="*/ 540167 h 540167"/>
              <a:gd name="connsiteX2" fmla="*/ 0 w 2213355"/>
              <a:gd name="connsiteY2" fmla="*/ 540167 h 540167"/>
              <a:gd name="connsiteX3" fmla="*/ 1097265 w 2213355"/>
              <a:gd name="connsiteY3" fmla="*/ 0 h 540167"/>
              <a:gd name="connsiteX0" fmla="*/ 1097265 w 2213355"/>
              <a:gd name="connsiteY0" fmla="*/ 0 h 540167"/>
              <a:gd name="connsiteX1" fmla="*/ 2213355 w 2213355"/>
              <a:gd name="connsiteY1" fmla="*/ 540167 h 540167"/>
              <a:gd name="connsiteX2" fmla="*/ 0 w 2213355"/>
              <a:gd name="connsiteY2" fmla="*/ 540167 h 540167"/>
              <a:gd name="connsiteX3" fmla="*/ 1097265 w 2213355"/>
              <a:gd name="connsiteY3" fmla="*/ 0 h 540167"/>
              <a:gd name="connsiteX0" fmla="*/ 1097265 w 2213355"/>
              <a:gd name="connsiteY0" fmla="*/ 0 h 540167"/>
              <a:gd name="connsiteX1" fmla="*/ 2213355 w 2213355"/>
              <a:gd name="connsiteY1" fmla="*/ 540167 h 540167"/>
              <a:gd name="connsiteX2" fmla="*/ 0 w 2213355"/>
              <a:gd name="connsiteY2" fmla="*/ 540167 h 540167"/>
              <a:gd name="connsiteX3" fmla="*/ 1097265 w 2213355"/>
              <a:gd name="connsiteY3" fmla="*/ 0 h 540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13355" h="540167">
                <a:moveTo>
                  <a:pt x="1097265" y="0"/>
                </a:moveTo>
                <a:cubicBezTo>
                  <a:pt x="1507346" y="8238"/>
                  <a:pt x="1461238" y="316961"/>
                  <a:pt x="2213355" y="540167"/>
                </a:cubicBezTo>
                <a:lnTo>
                  <a:pt x="0" y="540167"/>
                </a:lnTo>
                <a:cubicBezTo>
                  <a:pt x="810598" y="324413"/>
                  <a:pt x="690321" y="9808"/>
                  <a:pt x="1097265" y="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61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DD641-8A22-7743-BB93-BB98694AB2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02EBD4-917E-2549-9342-EABDA2D62B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EE43BA-7780-2E48-AE7C-D59B6FFB785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E1F0A5-CAB0-0848-87EA-96302D2DBA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22A2BC-CD82-724A-943D-E4686E67A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4059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3EC975-A063-6E40-9273-0283DABAA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6CC3A3-14F9-2740-B154-D02DD22720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21CC93-584B-6B40-A600-1458D93A30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1D8A01-4B7E-C641-86FE-104886B7FE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D9D342-DD37-9D4E-BE16-1115CA3F00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4959DF-D7EC-744D-B51D-8F91E6649C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7436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53B6B-C751-FD41-819F-D2AACCB38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D72484-08E7-DE46-AE54-740F196561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D8F021-77EA-FF40-BBBB-E2D0FDB88A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742E83-1882-5D46-A885-7993EA3A63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CB9FC29-C5E2-C441-95D9-B4429CC17EE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7730BC8-85A5-2740-A89E-0F869D1AE7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7A6D9D0-38C5-5E4A-99F3-6F952DBB2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2D9F28-EFED-A94B-A251-2957F3DE1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5265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BE327-ACB6-1847-B487-75E5FBED2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F86AA2-A30F-C349-A229-DD0E24EA27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36DF2A-49C2-F947-8735-3343A58C5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0E5113-63AE-0144-965E-6E39B779C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2832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6350CE-1761-1F49-8090-AADFDDB076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441070-0DCA-114B-AAF9-3EA993F27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0992F1-CE64-8C42-8390-95B3B2570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5876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90FFF9-AF13-E84C-8A3C-D2B121B4C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176500-0B49-EC41-B37F-C46392BFDB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06161C-31E0-A744-99BE-ED5074F581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C30F55-47C1-C045-B654-1A18E69E66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323714-D3E2-CD43-AB90-DEC0A6B3A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1A257F-1F7E-6240-B358-439AFF890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947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A4FAE-E1EB-884D-BF5A-22DEC84DDD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6CBF63-CBF9-6A4E-8271-AB7D32E20F8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1D38BC-07D3-A343-91FE-765074DF41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B2FB6D-47AC-904A-80C8-E09A8251E0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4A4927-0D65-BA43-8869-9989303B8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89DAFC-8CF5-024E-B961-851AB5F52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0217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A078E-793F-3946-92DB-9AD351683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E63718-8802-3844-AA24-733E0D8B89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F8A433-A4A4-0541-AA79-E41A2075DD1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D595D5-3213-C640-BD32-A8C19D09FD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7E52C1-D4CF-6A47-8917-2E2F09C53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8976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253AED3-43BE-6044-A5CA-3BF480B168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67D67C2-C59E-7244-BB99-16275573AC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E04706-F358-004E-A56E-4FBBD5F839E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73FA83-B9E6-6D48-ADE3-C23FA611DD05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8BF5C3-863A-FC48-B7B6-5906F01807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100C8-CFE1-7945-BCC2-49B4E78B0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001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0D0433-65BD-4CF1-8297-B85454A7E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0E3BF416-33FD-4E34-8AFC-8502C1DDB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A227634-C9DC-4BC8-AC9A-723FFCA16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099A8EA-4366-4750-8201-1170C7BEC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3949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419EF128-1BA7-4E6D-BA29-81E1411341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96A8310-8F34-45EE-88A4-1E91522DEC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EA7D862-F939-4C01-9111-20DC30A65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94553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839A02-92CA-4455-8875-1475C8F60B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B6F5FC7-4D8B-46DF-9847-EFC94D87F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583B064-88EC-404F-BF25-AB24852AC5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489E6F4-1DAF-406F-BFEF-6ED109AAEB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B8D5B5A-9F91-4026-B99B-FEF1764AC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EEE28FA-6500-4984-ABF0-F54991CF0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9011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89BE18-ADE6-40E9-8025-9D96E94D6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1B09064-0E4E-46B2-9E17-4E31DC732D3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65F7C99-A63C-40A8-90CA-047D39A2EC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FA645A6-5978-486A-B915-57992B1872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D16ABEE-2FD4-45EA-91E9-043438F7D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A9998EF-675F-4203-8AE6-C08771225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99931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vmlDrawing" Target="../drawings/vmlDrawing2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31E7B3-A91B-44FA-9394-442991320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485C4D-0F02-4D68-BF42-09A0AE8382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D26BCB4-3019-4A73-81FC-B199845738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CCB58C-0D8B-459E-981D-213E8A9DFA70}" type="datetimeFigureOut">
              <a:rPr lang="ru-RU" smtClean="0"/>
              <a:t>20.08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82B0674-4401-48B8-88A6-E803518CBD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15B8760-A4EB-4159-B708-212522D63A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2067B5-C644-4B91-AD0C-12D9F1554D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059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0C9856-B1FB-4963-966C-95E55C227A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51420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40C9856-B1FB-4963-966C-95E55C227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B67F8E-433C-40F5-BD46-E12266BFC7E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07783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>
              <a:lumMod val="75000"/>
              <a:lumOff val="25000"/>
            </a:schemeClr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0C9856-B1FB-4963-966C-95E55C227A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5247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40C9856-B1FB-4963-966C-95E55C227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B67F8E-433C-40F5-BD46-E12266BFC7E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96011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>
              <a:lumMod val="75000"/>
              <a:lumOff val="25000"/>
            </a:schemeClr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0579FDE-B1F0-4028-BBDC-2F2CC874AE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B55FCF-1999-462E-9467-CE7AA1DCBF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5ED186-1C03-4190-9011-9122EACD28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521B80-395F-4549-852C-EE31F5208A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0012FF-7D9D-42BB-A857-CAB53ADD53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409F94-D0DA-4FE9-B158-B846944F9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534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A878FA1-FF49-E249-81B4-2FE9801FE5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593367"/>
            <a:ext cx="11017250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D2B155-AE16-E94F-A3ED-8E49C80962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5" y="1834358"/>
            <a:ext cx="11017250" cy="12813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2C8E81-46CA-F347-BA01-72FA12A014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7374" y="6051550"/>
            <a:ext cx="45526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DFC5C0-89FC-1F43-9B9D-2ADD8A4E93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1425" y="60515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D80FF4-4960-0343-9DD2-035364F8E03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FC7DF88-92A2-734A-A413-ECFE3B451A41}"/>
              </a:ext>
            </a:extLst>
          </p:cNvPr>
          <p:cNvSpPr/>
          <p:nvPr userDrawn="1"/>
        </p:nvSpPr>
        <p:spPr>
          <a:xfrm>
            <a:off x="-775855" y="593293"/>
            <a:ext cx="443346" cy="443346"/>
          </a:xfrm>
          <a:prstGeom prst="ellipse">
            <a:avLst/>
          </a:prstGeom>
          <a:solidFill>
            <a:srgbClr val="F4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E34DC7F-DCB4-D64A-A636-3DD8C2A6B5D5}"/>
              </a:ext>
            </a:extLst>
          </p:cNvPr>
          <p:cNvSpPr/>
          <p:nvPr userDrawn="1"/>
        </p:nvSpPr>
        <p:spPr>
          <a:xfrm>
            <a:off x="-775855" y="1189039"/>
            <a:ext cx="443346" cy="443346"/>
          </a:xfrm>
          <a:prstGeom prst="ellipse">
            <a:avLst/>
          </a:prstGeom>
          <a:solidFill>
            <a:srgbClr val="00A1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F1A3681-E094-3E4B-B7B0-3D17730C3B38}"/>
              </a:ext>
            </a:extLst>
          </p:cNvPr>
          <p:cNvSpPr/>
          <p:nvPr userDrawn="1"/>
        </p:nvSpPr>
        <p:spPr>
          <a:xfrm>
            <a:off x="-775855" y="-2453"/>
            <a:ext cx="443346" cy="443346"/>
          </a:xfrm>
          <a:prstGeom prst="ellipse">
            <a:avLst/>
          </a:prstGeom>
          <a:solidFill>
            <a:srgbClr val="2731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AD1A785-A31C-EB4E-A791-0F85B5D47D59}"/>
              </a:ext>
            </a:extLst>
          </p:cNvPr>
          <p:cNvSpPr/>
          <p:nvPr userDrawn="1"/>
        </p:nvSpPr>
        <p:spPr>
          <a:xfrm>
            <a:off x="-775855" y="2549095"/>
            <a:ext cx="443346" cy="443346"/>
          </a:xfrm>
          <a:prstGeom prst="ellipse">
            <a:avLst/>
          </a:prstGeom>
          <a:solidFill>
            <a:srgbClr val="FFC6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5D53C85-7AE3-C74B-80A6-988F5642AB44}"/>
              </a:ext>
            </a:extLst>
          </p:cNvPr>
          <p:cNvSpPr/>
          <p:nvPr userDrawn="1"/>
        </p:nvSpPr>
        <p:spPr>
          <a:xfrm>
            <a:off x="-775855" y="3149602"/>
            <a:ext cx="443346" cy="443346"/>
          </a:xfrm>
          <a:prstGeom prst="ellipse">
            <a:avLst/>
          </a:prstGeom>
          <a:solidFill>
            <a:srgbClr val="C6E9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A00565B-7BB1-9746-9B16-05147FA58B94}"/>
              </a:ext>
            </a:extLst>
          </p:cNvPr>
          <p:cNvSpPr/>
          <p:nvPr userDrawn="1"/>
        </p:nvSpPr>
        <p:spPr>
          <a:xfrm>
            <a:off x="-775855" y="1864298"/>
            <a:ext cx="443346" cy="443346"/>
          </a:xfrm>
          <a:prstGeom prst="ellipse">
            <a:avLst/>
          </a:prstGeom>
          <a:solidFill>
            <a:srgbClr val="9F8E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62CF73F-6188-0A42-9041-72765EB6CE11}"/>
              </a:ext>
            </a:extLst>
          </p:cNvPr>
          <p:cNvSpPr/>
          <p:nvPr userDrawn="1"/>
        </p:nvSpPr>
        <p:spPr>
          <a:xfrm>
            <a:off x="-775855" y="3750109"/>
            <a:ext cx="443346" cy="443346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86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>
              <a:lumMod val="85000"/>
              <a:lumOff val="15000"/>
            </a:schemeClr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70">
          <p15:clr>
            <a:srgbClr val="F26B43"/>
          </p15:clr>
        </p15:guide>
        <p15:guide id="4" pos="73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22.png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Relationship Id="rId9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21.png"/><Relationship Id="rId7" Type="http://schemas.openxmlformats.org/officeDocument/2006/relationships/image" Target="../media/image27.png"/><Relationship Id="rId2" Type="http://schemas.openxmlformats.org/officeDocument/2006/relationships/hyperlink" Target="https://www.yaklass.ru/" TargetMode="Externa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7.png"/><Relationship Id="rId5" Type="http://schemas.openxmlformats.org/officeDocument/2006/relationships/image" Target="../media/image24.png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50000">
              <a:schemeClr val="accent2"/>
            </a:gs>
            <a:gs pos="0">
              <a:srgbClr val="3B40A3"/>
            </a:gs>
            <a:gs pos="100000">
              <a:srgbClr val="6F35A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Freeform: Shape 325">
            <a:extLst>
              <a:ext uri="{FF2B5EF4-FFF2-40B4-BE49-F238E27FC236}">
                <a16:creationId xmlns:a16="http://schemas.microsoft.com/office/drawing/2014/main" id="{C957E0A2-A7B1-43D0-8663-40171DCBFA53}"/>
              </a:ext>
            </a:extLst>
          </p:cNvPr>
          <p:cNvSpPr>
            <a:spLocks/>
          </p:cNvSpPr>
          <p:nvPr/>
        </p:nvSpPr>
        <p:spPr bwMode="auto">
          <a:xfrm>
            <a:off x="4080395" y="348785"/>
            <a:ext cx="9663979" cy="7262969"/>
          </a:xfrm>
          <a:custGeom>
            <a:avLst/>
            <a:gdLst>
              <a:gd name="connsiteX0" fmla="*/ 7107580 w 9663979"/>
              <a:gd name="connsiteY0" fmla="*/ 5341495 h 7262969"/>
              <a:gd name="connsiteX1" fmla="*/ 8070654 w 9663979"/>
              <a:gd name="connsiteY1" fmla="*/ 5341495 h 7262969"/>
              <a:gd name="connsiteX2" fmla="*/ 8252012 w 9663979"/>
              <a:gd name="connsiteY2" fmla="*/ 5523911 h 7262969"/>
              <a:gd name="connsiteX3" fmla="*/ 8252012 w 9663979"/>
              <a:gd name="connsiteY3" fmla="*/ 5555362 h 7262969"/>
              <a:gd name="connsiteX4" fmla="*/ 8070654 w 9663979"/>
              <a:gd name="connsiteY4" fmla="*/ 5737779 h 7262969"/>
              <a:gd name="connsiteX5" fmla="*/ 7107580 w 9663979"/>
              <a:gd name="connsiteY5" fmla="*/ 5737779 h 7262969"/>
              <a:gd name="connsiteX6" fmla="*/ 6919968 w 9663979"/>
              <a:gd name="connsiteY6" fmla="*/ 5555362 h 7262969"/>
              <a:gd name="connsiteX7" fmla="*/ 6919968 w 9663979"/>
              <a:gd name="connsiteY7" fmla="*/ 5523911 h 7262969"/>
              <a:gd name="connsiteX8" fmla="*/ 7107580 w 9663979"/>
              <a:gd name="connsiteY8" fmla="*/ 5341495 h 7262969"/>
              <a:gd name="connsiteX9" fmla="*/ 4826995 w 9663979"/>
              <a:gd name="connsiteY9" fmla="*/ 0 h 7262969"/>
              <a:gd name="connsiteX10" fmla="*/ 9420882 w 9663979"/>
              <a:gd name="connsiteY10" fmla="*/ 4547223 h 7262969"/>
              <a:gd name="connsiteX11" fmla="*/ 9420882 w 9663979"/>
              <a:gd name="connsiteY11" fmla="*/ 4569114 h 7262969"/>
              <a:gd name="connsiteX12" fmla="*/ 9420882 w 9663979"/>
              <a:gd name="connsiteY12" fmla="*/ 4572239 h 7262969"/>
              <a:gd name="connsiteX13" fmla="*/ 9440509 w 9663979"/>
              <a:gd name="connsiteY13" fmla="*/ 4572239 h 7262969"/>
              <a:gd name="connsiteX14" fmla="*/ 9475964 w 9663979"/>
              <a:gd name="connsiteY14" fmla="*/ 4572239 h 7262969"/>
              <a:gd name="connsiteX15" fmla="*/ 9663979 w 9663979"/>
              <a:gd name="connsiteY15" fmla="*/ 4753907 h 7262969"/>
              <a:gd name="connsiteX16" fmla="*/ 9663979 w 9663979"/>
              <a:gd name="connsiteY16" fmla="*/ 4785229 h 7262969"/>
              <a:gd name="connsiteX17" fmla="*/ 9475964 w 9663979"/>
              <a:gd name="connsiteY17" fmla="*/ 4966898 h 7262969"/>
              <a:gd name="connsiteX18" fmla="*/ 3810441 w 9663979"/>
              <a:gd name="connsiteY18" fmla="*/ 4966898 h 7262969"/>
              <a:gd name="connsiteX19" fmla="*/ 3647494 w 9663979"/>
              <a:gd name="connsiteY19" fmla="*/ 5148566 h 7262969"/>
              <a:gd name="connsiteX20" fmla="*/ 3647494 w 9663979"/>
              <a:gd name="connsiteY20" fmla="*/ 5161095 h 7262969"/>
              <a:gd name="connsiteX21" fmla="*/ 3829242 w 9663979"/>
              <a:gd name="connsiteY21" fmla="*/ 5342764 h 7262969"/>
              <a:gd name="connsiteX22" fmla="*/ 6549194 w 9663979"/>
              <a:gd name="connsiteY22" fmla="*/ 5342764 h 7262969"/>
              <a:gd name="connsiteX23" fmla="*/ 6730942 w 9663979"/>
              <a:gd name="connsiteY23" fmla="*/ 5524432 h 7262969"/>
              <a:gd name="connsiteX24" fmla="*/ 6730942 w 9663979"/>
              <a:gd name="connsiteY24" fmla="*/ 5555754 h 7262969"/>
              <a:gd name="connsiteX25" fmla="*/ 6561729 w 9663979"/>
              <a:gd name="connsiteY25" fmla="*/ 5737423 h 7262969"/>
              <a:gd name="connsiteX26" fmla="*/ 6549194 w 9663979"/>
              <a:gd name="connsiteY26" fmla="*/ 5737423 h 7262969"/>
              <a:gd name="connsiteX27" fmla="*/ 6179432 w 9663979"/>
              <a:gd name="connsiteY27" fmla="*/ 5737423 h 7262969"/>
              <a:gd name="connsiteX28" fmla="*/ 6022752 w 9663979"/>
              <a:gd name="connsiteY28" fmla="*/ 5912827 h 7262969"/>
              <a:gd name="connsiteX29" fmla="*/ 6022752 w 9663979"/>
              <a:gd name="connsiteY29" fmla="*/ 5925356 h 7262969"/>
              <a:gd name="connsiteX30" fmla="*/ 6198233 w 9663979"/>
              <a:gd name="connsiteY30" fmla="*/ 6094495 h 7262969"/>
              <a:gd name="connsiteX31" fmla="*/ 6254638 w 9663979"/>
              <a:gd name="connsiteY31" fmla="*/ 6094495 h 7262969"/>
              <a:gd name="connsiteX32" fmla="*/ 6254638 w 9663979"/>
              <a:gd name="connsiteY32" fmla="*/ 6100760 h 7262969"/>
              <a:gd name="connsiteX33" fmla="*/ 6428086 w 9663979"/>
              <a:gd name="connsiteY33" fmla="*/ 6100760 h 7262969"/>
              <a:gd name="connsiteX34" fmla="*/ 9399404 w 9663979"/>
              <a:gd name="connsiteY34" fmla="*/ 6100760 h 7262969"/>
              <a:gd name="connsiteX35" fmla="*/ 9587388 w 9663979"/>
              <a:gd name="connsiteY35" fmla="*/ 6281965 h 7262969"/>
              <a:gd name="connsiteX36" fmla="*/ 9587388 w 9663979"/>
              <a:gd name="connsiteY36" fmla="*/ 6313207 h 7262969"/>
              <a:gd name="connsiteX37" fmla="*/ 9399404 w 9663979"/>
              <a:gd name="connsiteY37" fmla="*/ 6494412 h 7262969"/>
              <a:gd name="connsiteX38" fmla="*/ 6623511 w 9663979"/>
              <a:gd name="connsiteY38" fmla="*/ 6494412 h 7262969"/>
              <a:gd name="connsiteX39" fmla="*/ 6466858 w 9663979"/>
              <a:gd name="connsiteY39" fmla="*/ 6663119 h 7262969"/>
              <a:gd name="connsiteX40" fmla="*/ 6466858 w 9663979"/>
              <a:gd name="connsiteY40" fmla="*/ 6694362 h 7262969"/>
              <a:gd name="connsiteX41" fmla="*/ 6636044 w 9663979"/>
              <a:gd name="connsiteY41" fmla="*/ 6869318 h 7262969"/>
              <a:gd name="connsiteX42" fmla="*/ 6661108 w 9663979"/>
              <a:gd name="connsiteY42" fmla="*/ 6869318 h 7262969"/>
              <a:gd name="connsiteX43" fmla="*/ 7300252 w 9663979"/>
              <a:gd name="connsiteY43" fmla="*/ 6869318 h 7262969"/>
              <a:gd name="connsiteX44" fmla="*/ 7481970 w 9663979"/>
              <a:gd name="connsiteY44" fmla="*/ 7050522 h 7262969"/>
              <a:gd name="connsiteX45" fmla="*/ 7481970 w 9663979"/>
              <a:gd name="connsiteY45" fmla="*/ 7081765 h 7262969"/>
              <a:gd name="connsiteX46" fmla="*/ 7300252 w 9663979"/>
              <a:gd name="connsiteY46" fmla="*/ 7262969 h 7262969"/>
              <a:gd name="connsiteX47" fmla="*/ 3565643 w 9663979"/>
              <a:gd name="connsiteY47" fmla="*/ 7262969 h 7262969"/>
              <a:gd name="connsiteX48" fmla="*/ 3383925 w 9663979"/>
              <a:gd name="connsiteY48" fmla="*/ 7081765 h 7262969"/>
              <a:gd name="connsiteX49" fmla="*/ 3383925 w 9663979"/>
              <a:gd name="connsiteY49" fmla="*/ 7050522 h 7262969"/>
              <a:gd name="connsiteX50" fmla="*/ 3565643 w 9663979"/>
              <a:gd name="connsiteY50" fmla="*/ 6869318 h 7262969"/>
              <a:gd name="connsiteX51" fmla="*/ 3922812 w 9663979"/>
              <a:gd name="connsiteY51" fmla="*/ 6869318 h 7262969"/>
              <a:gd name="connsiteX52" fmla="*/ 4010538 w 9663979"/>
              <a:gd name="connsiteY52" fmla="*/ 6869318 h 7262969"/>
              <a:gd name="connsiteX53" fmla="*/ 4179723 w 9663979"/>
              <a:gd name="connsiteY53" fmla="*/ 6694362 h 7262969"/>
              <a:gd name="connsiteX54" fmla="*/ 4179723 w 9663979"/>
              <a:gd name="connsiteY54" fmla="*/ 6663119 h 7262969"/>
              <a:gd name="connsiteX55" fmla="*/ 4023070 w 9663979"/>
              <a:gd name="connsiteY55" fmla="*/ 6494412 h 7262969"/>
              <a:gd name="connsiteX56" fmla="*/ 2356281 w 9663979"/>
              <a:gd name="connsiteY56" fmla="*/ 6494412 h 7262969"/>
              <a:gd name="connsiteX57" fmla="*/ 2174563 w 9663979"/>
              <a:gd name="connsiteY57" fmla="*/ 6313207 h 7262969"/>
              <a:gd name="connsiteX58" fmla="*/ 2174563 w 9663979"/>
              <a:gd name="connsiteY58" fmla="*/ 6281965 h 7262969"/>
              <a:gd name="connsiteX59" fmla="*/ 2356281 w 9663979"/>
              <a:gd name="connsiteY59" fmla="*/ 6100760 h 7262969"/>
              <a:gd name="connsiteX60" fmla="*/ 2600876 w 9663979"/>
              <a:gd name="connsiteY60" fmla="*/ 6100760 h 7262969"/>
              <a:gd name="connsiteX61" fmla="*/ 2770090 w 9663979"/>
              <a:gd name="connsiteY61" fmla="*/ 5925356 h 7262969"/>
              <a:gd name="connsiteX62" fmla="*/ 2770090 w 9663979"/>
              <a:gd name="connsiteY62" fmla="*/ 5912827 h 7262969"/>
              <a:gd name="connsiteX63" fmla="*/ 2613411 w 9663979"/>
              <a:gd name="connsiteY63" fmla="*/ 5737423 h 7262969"/>
              <a:gd name="connsiteX64" fmla="*/ 495106 w 9663979"/>
              <a:gd name="connsiteY64" fmla="*/ 5737423 h 7262969"/>
              <a:gd name="connsiteX65" fmla="*/ 313358 w 9663979"/>
              <a:gd name="connsiteY65" fmla="*/ 5555754 h 7262969"/>
              <a:gd name="connsiteX66" fmla="*/ 313358 w 9663979"/>
              <a:gd name="connsiteY66" fmla="*/ 5524432 h 7262969"/>
              <a:gd name="connsiteX67" fmla="*/ 495106 w 9663979"/>
              <a:gd name="connsiteY67" fmla="*/ 5342764 h 7262969"/>
              <a:gd name="connsiteX68" fmla="*/ 940076 w 9663979"/>
              <a:gd name="connsiteY68" fmla="*/ 5342764 h 7262969"/>
              <a:gd name="connsiteX69" fmla="*/ 1121824 w 9663979"/>
              <a:gd name="connsiteY69" fmla="*/ 5161095 h 7262969"/>
              <a:gd name="connsiteX70" fmla="*/ 1121824 w 9663979"/>
              <a:gd name="connsiteY70" fmla="*/ 5148566 h 7262969"/>
              <a:gd name="connsiteX71" fmla="*/ 958877 w 9663979"/>
              <a:gd name="connsiteY71" fmla="*/ 4966898 h 7262969"/>
              <a:gd name="connsiteX72" fmla="*/ 181748 w 9663979"/>
              <a:gd name="connsiteY72" fmla="*/ 4966898 h 7262969"/>
              <a:gd name="connsiteX73" fmla="*/ 162946 w 9663979"/>
              <a:gd name="connsiteY73" fmla="*/ 4966898 h 7262969"/>
              <a:gd name="connsiteX74" fmla="*/ 0 w 9663979"/>
              <a:gd name="connsiteY74" fmla="*/ 4785229 h 7262969"/>
              <a:gd name="connsiteX75" fmla="*/ 0 w 9663979"/>
              <a:gd name="connsiteY75" fmla="*/ 4753907 h 7262969"/>
              <a:gd name="connsiteX76" fmla="*/ 181748 w 9663979"/>
              <a:gd name="connsiteY76" fmla="*/ 4572239 h 7262969"/>
              <a:gd name="connsiteX77" fmla="*/ 233108 w 9663979"/>
              <a:gd name="connsiteY77" fmla="*/ 4572239 h 7262969"/>
              <a:gd name="connsiteX78" fmla="*/ 233108 w 9663979"/>
              <a:gd name="connsiteY78" fmla="*/ 4557778 h 7262969"/>
              <a:gd name="connsiteX79" fmla="*/ 233108 w 9663979"/>
              <a:gd name="connsiteY79" fmla="*/ 4547223 h 7262969"/>
              <a:gd name="connsiteX80" fmla="*/ 4826995 w 9663979"/>
              <a:gd name="connsiteY80" fmla="*/ 0 h 7262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9663979" h="7262969">
                <a:moveTo>
                  <a:pt x="7107580" y="5341495"/>
                </a:moveTo>
                <a:cubicBezTo>
                  <a:pt x="8070654" y="5341495"/>
                  <a:pt x="8070654" y="5341495"/>
                  <a:pt x="8070654" y="5341495"/>
                </a:cubicBezTo>
                <a:cubicBezTo>
                  <a:pt x="8170714" y="5341495"/>
                  <a:pt x="8252012" y="5423268"/>
                  <a:pt x="8252012" y="5523911"/>
                </a:cubicBezTo>
                <a:cubicBezTo>
                  <a:pt x="8252012" y="5555362"/>
                  <a:pt x="8252012" y="5555362"/>
                  <a:pt x="8252012" y="5555362"/>
                </a:cubicBezTo>
                <a:cubicBezTo>
                  <a:pt x="8252012" y="5656006"/>
                  <a:pt x="8170714" y="5737779"/>
                  <a:pt x="8070654" y="5737779"/>
                </a:cubicBezTo>
                <a:cubicBezTo>
                  <a:pt x="7107580" y="5737779"/>
                  <a:pt x="7107580" y="5737779"/>
                  <a:pt x="7107580" y="5737779"/>
                </a:cubicBezTo>
                <a:cubicBezTo>
                  <a:pt x="7001266" y="5737779"/>
                  <a:pt x="6919968" y="5656006"/>
                  <a:pt x="6919968" y="5555362"/>
                </a:cubicBezTo>
                <a:cubicBezTo>
                  <a:pt x="6919968" y="5523911"/>
                  <a:pt x="6919968" y="5523911"/>
                  <a:pt x="6919968" y="5523911"/>
                </a:cubicBezTo>
                <a:cubicBezTo>
                  <a:pt x="6919968" y="5423268"/>
                  <a:pt x="7001266" y="5341495"/>
                  <a:pt x="7107580" y="5341495"/>
                </a:cubicBezTo>
                <a:close/>
                <a:moveTo>
                  <a:pt x="4826995" y="0"/>
                </a:moveTo>
                <a:cubicBezTo>
                  <a:pt x="7365227" y="0"/>
                  <a:pt x="9420882" y="2039057"/>
                  <a:pt x="9420882" y="4547223"/>
                </a:cubicBezTo>
                <a:cubicBezTo>
                  <a:pt x="9420882" y="4559732"/>
                  <a:pt x="9420882" y="4565987"/>
                  <a:pt x="9420882" y="4569114"/>
                </a:cubicBezTo>
                <a:lnTo>
                  <a:pt x="9420882" y="4572239"/>
                </a:lnTo>
                <a:lnTo>
                  <a:pt x="9440509" y="4572239"/>
                </a:lnTo>
                <a:cubicBezTo>
                  <a:pt x="9475964" y="4572239"/>
                  <a:pt x="9475964" y="4572239"/>
                  <a:pt x="9475964" y="4572239"/>
                </a:cubicBezTo>
                <a:cubicBezTo>
                  <a:pt x="9576239" y="4572239"/>
                  <a:pt x="9663979" y="4653676"/>
                  <a:pt x="9663979" y="4753907"/>
                </a:cubicBezTo>
                <a:cubicBezTo>
                  <a:pt x="9663979" y="4785229"/>
                  <a:pt x="9663979" y="4785229"/>
                  <a:pt x="9663979" y="4785229"/>
                </a:cubicBezTo>
                <a:cubicBezTo>
                  <a:pt x="9663979" y="4885460"/>
                  <a:pt x="9576239" y="4966898"/>
                  <a:pt x="9475964" y="4966898"/>
                </a:cubicBezTo>
                <a:cubicBezTo>
                  <a:pt x="3810441" y="4966898"/>
                  <a:pt x="3810441" y="4966898"/>
                  <a:pt x="3810441" y="4966898"/>
                </a:cubicBezTo>
                <a:cubicBezTo>
                  <a:pt x="3716433" y="4973162"/>
                  <a:pt x="3647494" y="5054600"/>
                  <a:pt x="3647494" y="5148566"/>
                </a:cubicBezTo>
                <a:cubicBezTo>
                  <a:pt x="3647494" y="5161095"/>
                  <a:pt x="3647494" y="5161095"/>
                  <a:pt x="3647494" y="5161095"/>
                </a:cubicBezTo>
                <a:cubicBezTo>
                  <a:pt x="3647494" y="5261326"/>
                  <a:pt x="3728967" y="5342764"/>
                  <a:pt x="3829242" y="5342764"/>
                </a:cubicBezTo>
                <a:cubicBezTo>
                  <a:pt x="6549194" y="5342764"/>
                  <a:pt x="6549194" y="5342764"/>
                  <a:pt x="6549194" y="5342764"/>
                </a:cubicBezTo>
                <a:cubicBezTo>
                  <a:pt x="6649470" y="5342764"/>
                  <a:pt x="6730942" y="5424201"/>
                  <a:pt x="6730942" y="5524432"/>
                </a:cubicBezTo>
                <a:cubicBezTo>
                  <a:pt x="6730942" y="5555754"/>
                  <a:pt x="6730942" y="5555754"/>
                  <a:pt x="6730942" y="5555754"/>
                </a:cubicBezTo>
                <a:cubicBezTo>
                  <a:pt x="6730942" y="5655985"/>
                  <a:pt x="6655736" y="5731158"/>
                  <a:pt x="6561729" y="5737423"/>
                </a:cubicBezTo>
                <a:cubicBezTo>
                  <a:pt x="6555462" y="5737423"/>
                  <a:pt x="6555462" y="5737423"/>
                  <a:pt x="6549194" y="5737423"/>
                </a:cubicBezTo>
                <a:cubicBezTo>
                  <a:pt x="6179432" y="5737423"/>
                  <a:pt x="6179432" y="5737423"/>
                  <a:pt x="6179432" y="5737423"/>
                </a:cubicBezTo>
                <a:cubicBezTo>
                  <a:pt x="6091691" y="5749952"/>
                  <a:pt x="6022752" y="5818860"/>
                  <a:pt x="6022752" y="5912827"/>
                </a:cubicBezTo>
                <a:cubicBezTo>
                  <a:pt x="6022752" y="5925356"/>
                  <a:pt x="6022752" y="5925356"/>
                  <a:pt x="6022752" y="5925356"/>
                </a:cubicBezTo>
                <a:cubicBezTo>
                  <a:pt x="6022752" y="6019322"/>
                  <a:pt x="6097958" y="6094495"/>
                  <a:pt x="6198233" y="6094495"/>
                </a:cubicBezTo>
                <a:cubicBezTo>
                  <a:pt x="6254638" y="6094495"/>
                  <a:pt x="6254638" y="6094495"/>
                  <a:pt x="6254638" y="6094495"/>
                </a:cubicBezTo>
                <a:cubicBezTo>
                  <a:pt x="6254638" y="6100760"/>
                  <a:pt x="6254638" y="6100760"/>
                  <a:pt x="6254638" y="6100760"/>
                </a:cubicBezTo>
                <a:lnTo>
                  <a:pt x="6428086" y="6100760"/>
                </a:lnTo>
                <a:cubicBezTo>
                  <a:pt x="9399404" y="6100760"/>
                  <a:pt x="9399404" y="6100760"/>
                  <a:pt x="9399404" y="6100760"/>
                </a:cubicBezTo>
                <a:cubicBezTo>
                  <a:pt x="9499662" y="6100760"/>
                  <a:pt x="9587388" y="6181990"/>
                  <a:pt x="9587388" y="6281965"/>
                </a:cubicBezTo>
                <a:cubicBezTo>
                  <a:pt x="9587388" y="6313207"/>
                  <a:pt x="9587388" y="6313207"/>
                  <a:pt x="9587388" y="6313207"/>
                </a:cubicBezTo>
                <a:cubicBezTo>
                  <a:pt x="9587388" y="6413182"/>
                  <a:pt x="9499662" y="6494412"/>
                  <a:pt x="9399404" y="6494412"/>
                </a:cubicBezTo>
                <a:cubicBezTo>
                  <a:pt x="6623511" y="6494412"/>
                  <a:pt x="6623511" y="6494412"/>
                  <a:pt x="6623511" y="6494412"/>
                </a:cubicBezTo>
                <a:cubicBezTo>
                  <a:pt x="6535786" y="6500660"/>
                  <a:pt x="6466858" y="6575641"/>
                  <a:pt x="6466858" y="6663119"/>
                </a:cubicBezTo>
                <a:cubicBezTo>
                  <a:pt x="6466858" y="6694362"/>
                  <a:pt x="6466858" y="6694362"/>
                  <a:pt x="6466858" y="6694362"/>
                </a:cubicBezTo>
                <a:cubicBezTo>
                  <a:pt x="6466858" y="6788088"/>
                  <a:pt x="6542052" y="6869318"/>
                  <a:pt x="6636044" y="6869318"/>
                </a:cubicBezTo>
                <a:cubicBezTo>
                  <a:pt x="6661108" y="6869318"/>
                  <a:pt x="6661108" y="6869318"/>
                  <a:pt x="6661108" y="6869318"/>
                </a:cubicBezTo>
                <a:cubicBezTo>
                  <a:pt x="7300252" y="6869318"/>
                  <a:pt x="7300252" y="6869318"/>
                  <a:pt x="7300252" y="6869318"/>
                </a:cubicBezTo>
                <a:cubicBezTo>
                  <a:pt x="7400510" y="6869318"/>
                  <a:pt x="7481970" y="6950547"/>
                  <a:pt x="7481970" y="7050522"/>
                </a:cubicBezTo>
                <a:cubicBezTo>
                  <a:pt x="7481970" y="7081765"/>
                  <a:pt x="7481970" y="7081765"/>
                  <a:pt x="7481970" y="7081765"/>
                </a:cubicBezTo>
                <a:cubicBezTo>
                  <a:pt x="7481970" y="7181740"/>
                  <a:pt x="7400510" y="7262969"/>
                  <a:pt x="7300252" y="7262969"/>
                </a:cubicBezTo>
                <a:cubicBezTo>
                  <a:pt x="3565643" y="7262969"/>
                  <a:pt x="3565643" y="7262969"/>
                  <a:pt x="3565643" y="7262969"/>
                </a:cubicBezTo>
                <a:cubicBezTo>
                  <a:pt x="3465385" y="7262969"/>
                  <a:pt x="3383925" y="7181740"/>
                  <a:pt x="3383925" y="7081765"/>
                </a:cubicBezTo>
                <a:cubicBezTo>
                  <a:pt x="3383925" y="7050522"/>
                  <a:pt x="3383925" y="7050522"/>
                  <a:pt x="3383925" y="7050522"/>
                </a:cubicBezTo>
                <a:cubicBezTo>
                  <a:pt x="3383925" y="6950547"/>
                  <a:pt x="3465385" y="6869318"/>
                  <a:pt x="3565643" y="6869318"/>
                </a:cubicBezTo>
                <a:cubicBezTo>
                  <a:pt x="3922812" y="6869318"/>
                  <a:pt x="3922812" y="6869318"/>
                  <a:pt x="3922812" y="6869318"/>
                </a:cubicBezTo>
                <a:cubicBezTo>
                  <a:pt x="4010538" y="6869318"/>
                  <a:pt x="4010538" y="6869318"/>
                  <a:pt x="4010538" y="6869318"/>
                </a:cubicBezTo>
                <a:cubicBezTo>
                  <a:pt x="4104529" y="6869318"/>
                  <a:pt x="4179723" y="6788088"/>
                  <a:pt x="4179723" y="6694362"/>
                </a:cubicBezTo>
                <a:cubicBezTo>
                  <a:pt x="4179723" y="6663119"/>
                  <a:pt x="4179723" y="6663119"/>
                  <a:pt x="4179723" y="6663119"/>
                </a:cubicBezTo>
                <a:cubicBezTo>
                  <a:pt x="4179723" y="6575641"/>
                  <a:pt x="4110796" y="6500660"/>
                  <a:pt x="4023070" y="6494412"/>
                </a:cubicBezTo>
                <a:cubicBezTo>
                  <a:pt x="2356281" y="6494412"/>
                  <a:pt x="2356281" y="6494412"/>
                  <a:pt x="2356281" y="6494412"/>
                </a:cubicBezTo>
                <a:cubicBezTo>
                  <a:pt x="2256023" y="6494412"/>
                  <a:pt x="2174563" y="6413182"/>
                  <a:pt x="2174563" y="6313207"/>
                </a:cubicBezTo>
                <a:cubicBezTo>
                  <a:pt x="2174563" y="6281965"/>
                  <a:pt x="2174563" y="6281965"/>
                  <a:pt x="2174563" y="6281965"/>
                </a:cubicBezTo>
                <a:cubicBezTo>
                  <a:pt x="2174563" y="6181990"/>
                  <a:pt x="2256023" y="6100760"/>
                  <a:pt x="2356281" y="6100760"/>
                </a:cubicBezTo>
                <a:lnTo>
                  <a:pt x="2600876" y="6100760"/>
                </a:lnTo>
                <a:cubicBezTo>
                  <a:pt x="2694884" y="6100760"/>
                  <a:pt x="2770090" y="6019322"/>
                  <a:pt x="2770090" y="5925356"/>
                </a:cubicBezTo>
                <a:cubicBezTo>
                  <a:pt x="2770090" y="5912827"/>
                  <a:pt x="2770090" y="5912827"/>
                  <a:pt x="2770090" y="5912827"/>
                </a:cubicBezTo>
                <a:cubicBezTo>
                  <a:pt x="2770090" y="5818860"/>
                  <a:pt x="2701151" y="5749952"/>
                  <a:pt x="2613411" y="5737423"/>
                </a:cubicBezTo>
                <a:cubicBezTo>
                  <a:pt x="495106" y="5737423"/>
                  <a:pt x="495106" y="5737423"/>
                  <a:pt x="495106" y="5737423"/>
                </a:cubicBezTo>
                <a:cubicBezTo>
                  <a:pt x="394832" y="5737423"/>
                  <a:pt x="313358" y="5655985"/>
                  <a:pt x="313358" y="5555754"/>
                </a:cubicBezTo>
                <a:cubicBezTo>
                  <a:pt x="313358" y="5524432"/>
                  <a:pt x="313358" y="5524432"/>
                  <a:pt x="313358" y="5524432"/>
                </a:cubicBezTo>
                <a:cubicBezTo>
                  <a:pt x="313358" y="5424201"/>
                  <a:pt x="394832" y="5342764"/>
                  <a:pt x="495106" y="5342764"/>
                </a:cubicBezTo>
                <a:cubicBezTo>
                  <a:pt x="940076" y="5342764"/>
                  <a:pt x="940076" y="5342764"/>
                  <a:pt x="940076" y="5342764"/>
                </a:cubicBezTo>
                <a:cubicBezTo>
                  <a:pt x="1040350" y="5342764"/>
                  <a:pt x="1121824" y="5261326"/>
                  <a:pt x="1121824" y="5161095"/>
                </a:cubicBezTo>
                <a:cubicBezTo>
                  <a:pt x="1121824" y="5148566"/>
                  <a:pt x="1121824" y="5148566"/>
                  <a:pt x="1121824" y="5148566"/>
                </a:cubicBezTo>
                <a:cubicBezTo>
                  <a:pt x="1121824" y="5054600"/>
                  <a:pt x="1052885" y="4973162"/>
                  <a:pt x="958877" y="4966898"/>
                </a:cubicBezTo>
                <a:cubicBezTo>
                  <a:pt x="181748" y="4966898"/>
                  <a:pt x="181748" y="4966898"/>
                  <a:pt x="181748" y="4966898"/>
                </a:cubicBezTo>
                <a:cubicBezTo>
                  <a:pt x="175481" y="4966898"/>
                  <a:pt x="169213" y="4966898"/>
                  <a:pt x="162946" y="4966898"/>
                </a:cubicBezTo>
                <a:cubicBezTo>
                  <a:pt x="68939" y="4954369"/>
                  <a:pt x="0" y="4879196"/>
                  <a:pt x="0" y="4785229"/>
                </a:cubicBezTo>
                <a:cubicBezTo>
                  <a:pt x="0" y="4753907"/>
                  <a:pt x="0" y="4753907"/>
                  <a:pt x="0" y="4753907"/>
                </a:cubicBezTo>
                <a:cubicBezTo>
                  <a:pt x="0" y="4653676"/>
                  <a:pt x="81473" y="4572239"/>
                  <a:pt x="181748" y="4572239"/>
                </a:cubicBezTo>
                <a:lnTo>
                  <a:pt x="233108" y="4572239"/>
                </a:lnTo>
                <a:lnTo>
                  <a:pt x="233108" y="4557778"/>
                </a:lnTo>
                <a:cubicBezTo>
                  <a:pt x="233108" y="4547223"/>
                  <a:pt x="233108" y="4547223"/>
                  <a:pt x="233108" y="4547223"/>
                </a:cubicBezTo>
                <a:cubicBezTo>
                  <a:pt x="233108" y="2039057"/>
                  <a:pt x="2288763" y="0"/>
                  <a:pt x="4826995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  <a:alpha val="10000"/>
            </a:schemeClr>
          </a:solidFill>
          <a:ln>
            <a:noFill/>
          </a:ln>
          <a:effectLst>
            <a:outerShdw blurRad="723900" dist="38100" dir="10800000" algn="r" rotWithShape="0">
              <a:schemeClr val="accent4">
                <a:lumMod val="20000"/>
                <a:lumOff val="80000"/>
                <a:alpha val="5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Freeform 13">
            <a:extLst>
              <a:ext uri="{FF2B5EF4-FFF2-40B4-BE49-F238E27FC236}">
                <a16:creationId xmlns:a16="http://schemas.microsoft.com/office/drawing/2014/main" id="{1623B9B2-DD22-4742-A007-A6B155801502}"/>
              </a:ext>
            </a:extLst>
          </p:cNvPr>
          <p:cNvSpPr>
            <a:spLocks/>
          </p:cNvSpPr>
          <p:nvPr/>
        </p:nvSpPr>
        <p:spPr bwMode="auto">
          <a:xfrm>
            <a:off x="538718" y="5352788"/>
            <a:ext cx="1230313" cy="506413"/>
          </a:xfrm>
          <a:custGeom>
            <a:avLst/>
            <a:gdLst>
              <a:gd name="T0" fmla="*/ 412 w 412"/>
              <a:gd name="T1" fmla="*/ 140 h 170"/>
              <a:gd name="T2" fmla="*/ 403 w 412"/>
              <a:gd name="T3" fmla="*/ 161 h 170"/>
              <a:gd name="T4" fmla="*/ 382 w 412"/>
              <a:gd name="T5" fmla="*/ 170 h 170"/>
              <a:gd name="T6" fmla="*/ 99 w 412"/>
              <a:gd name="T7" fmla="*/ 170 h 170"/>
              <a:gd name="T8" fmla="*/ 69 w 412"/>
              <a:gd name="T9" fmla="*/ 140 h 170"/>
              <a:gd name="T10" fmla="*/ 78 w 412"/>
              <a:gd name="T11" fmla="*/ 118 h 170"/>
              <a:gd name="T12" fmla="*/ 99 w 412"/>
              <a:gd name="T13" fmla="*/ 110 h 170"/>
              <a:gd name="T14" fmla="*/ 131 w 412"/>
              <a:gd name="T15" fmla="*/ 109 h 170"/>
              <a:gd name="T16" fmla="*/ 148 w 412"/>
              <a:gd name="T17" fmla="*/ 102 h 170"/>
              <a:gd name="T18" fmla="*/ 155 w 412"/>
              <a:gd name="T19" fmla="*/ 85 h 170"/>
              <a:gd name="T20" fmla="*/ 131 w 412"/>
              <a:gd name="T21" fmla="*/ 60 h 170"/>
              <a:gd name="T22" fmla="*/ 30 w 412"/>
              <a:gd name="T23" fmla="*/ 60 h 170"/>
              <a:gd name="T24" fmla="*/ 0 w 412"/>
              <a:gd name="T25" fmla="*/ 30 h 170"/>
              <a:gd name="T26" fmla="*/ 9 w 412"/>
              <a:gd name="T27" fmla="*/ 8 h 170"/>
              <a:gd name="T28" fmla="*/ 30 w 412"/>
              <a:gd name="T29" fmla="*/ 0 h 170"/>
              <a:gd name="T30" fmla="*/ 355 w 412"/>
              <a:gd name="T31" fmla="*/ 0 h 170"/>
              <a:gd name="T32" fmla="*/ 385 w 412"/>
              <a:gd name="T33" fmla="*/ 30 h 170"/>
              <a:gd name="T34" fmla="*/ 376 w 412"/>
              <a:gd name="T35" fmla="*/ 51 h 170"/>
              <a:gd name="T36" fmla="*/ 355 w 412"/>
              <a:gd name="T37" fmla="*/ 60 h 170"/>
              <a:gd name="T38" fmla="*/ 308 w 412"/>
              <a:gd name="T39" fmla="*/ 60 h 170"/>
              <a:gd name="T40" fmla="*/ 291 w 412"/>
              <a:gd name="T41" fmla="*/ 67 h 170"/>
              <a:gd name="T42" fmla="*/ 284 w 412"/>
              <a:gd name="T43" fmla="*/ 85 h 170"/>
              <a:gd name="T44" fmla="*/ 308 w 412"/>
              <a:gd name="T45" fmla="*/ 109 h 170"/>
              <a:gd name="T46" fmla="*/ 315 w 412"/>
              <a:gd name="T47" fmla="*/ 109 h 170"/>
              <a:gd name="T48" fmla="*/ 382 w 412"/>
              <a:gd name="T49" fmla="*/ 110 h 170"/>
              <a:gd name="T50" fmla="*/ 412 w 412"/>
              <a:gd name="T51" fmla="*/ 14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12" h="170">
                <a:moveTo>
                  <a:pt x="412" y="140"/>
                </a:moveTo>
                <a:cubicBezTo>
                  <a:pt x="412" y="148"/>
                  <a:pt x="409" y="155"/>
                  <a:pt x="403" y="161"/>
                </a:cubicBezTo>
                <a:cubicBezTo>
                  <a:pt x="398" y="166"/>
                  <a:pt x="390" y="170"/>
                  <a:pt x="382" y="170"/>
                </a:cubicBezTo>
                <a:cubicBezTo>
                  <a:pt x="99" y="170"/>
                  <a:pt x="99" y="170"/>
                  <a:pt x="99" y="170"/>
                </a:cubicBezTo>
                <a:cubicBezTo>
                  <a:pt x="82" y="170"/>
                  <a:pt x="69" y="156"/>
                  <a:pt x="69" y="140"/>
                </a:cubicBezTo>
                <a:cubicBezTo>
                  <a:pt x="69" y="131"/>
                  <a:pt x="72" y="124"/>
                  <a:pt x="78" y="118"/>
                </a:cubicBezTo>
                <a:cubicBezTo>
                  <a:pt x="83" y="113"/>
                  <a:pt x="90" y="110"/>
                  <a:pt x="99" y="110"/>
                </a:cubicBezTo>
                <a:cubicBezTo>
                  <a:pt x="131" y="109"/>
                  <a:pt x="131" y="109"/>
                  <a:pt x="131" y="109"/>
                </a:cubicBezTo>
                <a:cubicBezTo>
                  <a:pt x="138" y="109"/>
                  <a:pt x="144" y="107"/>
                  <a:pt x="148" y="102"/>
                </a:cubicBezTo>
                <a:cubicBezTo>
                  <a:pt x="153" y="98"/>
                  <a:pt x="155" y="91"/>
                  <a:pt x="155" y="85"/>
                </a:cubicBezTo>
                <a:cubicBezTo>
                  <a:pt x="155" y="71"/>
                  <a:pt x="144" y="60"/>
                  <a:pt x="131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14" y="60"/>
                  <a:pt x="0" y="46"/>
                  <a:pt x="0" y="30"/>
                </a:cubicBezTo>
                <a:cubicBezTo>
                  <a:pt x="0" y="21"/>
                  <a:pt x="4" y="14"/>
                  <a:pt x="9" y="8"/>
                </a:cubicBezTo>
                <a:cubicBezTo>
                  <a:pt x="15" y="3"/>
                  <a:pt x="22" y="0"/>
                  <a:pt x="30" y="0"/>
                </a:cubicBezTo>
                <a:cubicBezTo>
                  <a:pt x="355" y="0"/>
                  <a:pt x="355" y="0"/>
                  <a:pt x="355" y="0"/>
                </a:cubicBezTo>
                <a:cubicBezTo>
                  <a:pt x="372" y="0"/>
                  <a:pt x="385" y="13"/>
                  <a:pt x="385" y="30"/>
                </a:cubicBezTo>
                <a:cubicBezTo>
                  <a:pt x="385" y="38"/>
                  <a:pt x="382" y="45"/>
                  <a:pt x="376" y="51"/>
                </a:cubicBezTo>
                <a:cubicBezTo>
                  <a:pt x="371" y="56"/>
                  <a:pt x="363" y="60"/>
                  <a:pt x="355" y="60"/>
                </a:cubicBezTo>
                <a:cubicBezTo>
                  <a:pt x="308" y="60"/>
                  <a:pt x="308" y="60"/>
                  <a:pt x="308" y="60"/>
                </a:cubicBezTo>
                <a:cubicBezTo>
                  <a:pt x="302" y="60"/>
                  <a:pt x="295" y="63"/>
                  <a:pt x="291" y="67"/>
                </a:cubicBezTo>
                <a:cubicBezTo>
                  <a:pt x="286" y="72"/>
                  <a:pt x="284" y="78"/>
                  <a:pt x="284" y="85"/>
                </a:cubicBezTo>
                <a:cubicBezTo>
                  <a:pt x="284" y="98"/>
                  <a:pt x="295" y="109"/>
                  <a:pt x="308" y="109"/>
                </a:cubicBezTo>
                <a:cubicBezTo>
                  <a:pt x="315" y="109"/>
                  <a:pt x="315" y="109"/>
                  <a:pt x="315" y="109"/>
                </a:cubicBezTo>
                <a:cubicBezTo>
                  <a:pt x="382" y="110"/>
                  <a:pt x="382" y="110"/>
                  <a:pt x="382" y="110"/>
                </a:cubicBezTo>
                <a:cubicBezTo>
                  <a:pt x="399" y="110"/>
                  <a:pt x="412" y="123"/>
                  <a:pt x="412" y="14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  <a:alpha val="24000"/>
            </a:schemeClr>
          </a:solidFill>
          <a:ln>
            <a:noFill/>
          </a:ln>
          <a:effectLst>
            <a:outerShdw blurRad="723900" dist="38100" dir="10800000" algn="r" rotWithShape="0">
              <a:schemeClr val="accent4">
                <a:lumMod val="20000"/>
                <a:lumOff val="80000"/>
                <a:alpha val="5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Freeform 14">
            <a:extLst>
              <a:ext uri="{FF2B5EF4-FFF2-40B4-BE49-F238E27FC236}">
                <a16:creationId xmlns:a16="http://schemas.microsoft.com/office/drawing/2014/main" id="{A30798DF-1C49-43DA-9596-540E85015C9E}"/>
              </a:ext>
            </a:extLst>
          </p:cNvPr>
          <p:cNvSpPr>
            <a:spLocks/>
          </p:cNvSpPr>
          <p:nvPr/>
        </p:nvSpPr>
        <p:spPr bwMode="auto">
          <a:xfrm>
            <a:off x="3783603" y="570547"/>
            <a:ext cx="1230313" cy="506413"/>
          </a:xfrm>
          <a:custGeom>
            <a:avLst/>
            <a:gdLst>
              <a:gd name="T0" fmla="*/ 0 w 412"/>
              <a:gd name="T1" fmla="*/ 140 h 170"/>
              <a:gd name="T2" fmla="*/ 9 w 412"/>
              <a:gd name="T3" fmla="*/ 161 h 170"/>
              <a:gd name="T4" fmla="*/ 30 w 412"/>
              <a:gd name="T5" fmla="*/ 170 h 170"/>
              <a:gd name="T6" fmla="*/ 313 w 412"/>
              <a:gd name="T7" fmla="*/ 170 h 170"/>
              <a:gd name="T8" fmla="*/ 343 w 412"/>
              <a:gd name="T9" fmla="*/ 140 h 170"/>
              <a:gd name="T10" fmla="*/ 335 w 412"/>
              <a:gd name="T11" fmla="*/ 119 h 170"/>
              <a:gd name="T12" fmla="*/ 313 w 412"/>
              <a:gd name="T13" fmla="*/ 110 h 170"/>
              <a:gd name="T14" fmla="*/ 281 w 412"/>
              <a:gd name="T15" fmla="*/ 110 h 170"/>
              <a:gd name="T16" fmla="*/ 264 w 412"/>
              <a:gd name="T17" fmla="*/ 103 h 170"/>
              <a:gd name="T18" fmla="*/ 257 w 412"/>
              <a:gd name="T19" fmla="*/ 85 h 170"/>
              <a:gd name="T20" fmla="*/ 281 w 412"/>
              <a:gd name="T21" fmla="*/ 60 h 170"/>
              <a:gd name="T22" fmla="*/ 382 w 412"/>
              <a:gd name="T23" fmla="*/ 60 h 170"/>
              <a:gd name="T24" fmla="*/ 412 w 412"/>
              <a:gd name="T25" fmla="*/ 30 h 170"/>
              <a:gd name="T26" fmla="*/ 403 w 412"/>
              <a:gd name="T27" fmla="*/ 9 h 170"/>
              <a:gd name="T28" fmla="*/ 382 w 412"/>
              <a:gd name="T29" fmla="*/ 0 h 170"/>
              <a:gd name="T30" fmla="*/ 57 w 412"/>
              <a:gd name="T31" fmla="*/ 0 h 170"/>
              <a:gd name="T32" fmla="*/ 27 w 412"/>
              <a:gd name="T33" fmla="*/ 30 h 170"/>
              <a:gd name="T34" fmla="*/ 36 w 412"/>
              <a:gd name="T35" fmla="*/ 51 h 170"/>
              <a:gd name="T36" fmla="*/ 57 w 412"/>
              <a:gd name="T37" fmla="*/ 60 h 170"/>
              <a:gd name="T38" fmla="*/ 104 w 412"/>
              <a:gd name="T39" fmla="*/ 60 h 170"/>
              <a:gd name="T40" fmla="*/ 121 w 412"/>
              <a:gd name="T41" fmla="*/ 68 h 170"/>
              <a:gd name="T42" fmla="*/ 128 w 412"/>
              <a:gd name="T43" fmla="*/ 85 h 170"/>
              <a:gd name="T44" fmla="*/ 104 w 412"/>
              <a:gd name="T45" fmla="*/ 110 h 170"/>
              <a:gd name="T46" fmla="*/ 97 w 412"/>
              <a:gd name="T47" fmla="*/ 110 h 170"/>
              <a:gd name="T48" fmla="*/ 30 w 412"/>
              <a:gd name="T49" fmla="*/ 110 h 170"/>
              <a:gd name="T50" fmla="*/ 0 w 412"/>
              <a:gd name="T51" fmla="*/ 14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12" h="170">
                <a:moveTo>
                  <a:pt x="0" y="140"/>
                </a:moveTo>
                <a:cubicBezTo>
                  <a:pt x="0" y="148"/>
                  <a:pt x="3" y="156"/>
                  <a:pt x="9" y="161"/>
                </a:cubicBezTo>
                <a:cubicBezTo>
                  <a:pt x="14" y="167"/>
                  <a:pt x="22" y="170"/>
                  <a:pt x="30" y="170"/>
                </a:cubicBezTo>
                <a:cubicBezTo>
                  <a:pt x="313" y="170"/>
                  <a:pt x="313" y="170"/>
                  <a:pt x="313" y="170"/>
                </a:cubicBezTo>
                <a:cubicBezTo>
                  <a:pt x="330" y="170"/>
                  <a:pt x="343" y="157"/>
                  <a:pt x="343" y="140"/>
                </a:cubicBezTo>
                <a:cubicBezTo>
                  <a:pt x="343" y="132"/>
                  <a:pt x="340" y="124"/>
                  <a:pt x="335" y="119"/>
                </a:cubicBezTo>
                <a:cubicBezTo>
                  <a:pt x="329" y="113"/>
                  <a:pt x="322" y="110"/>
                  <a:pt x="313" y="110"/>
                </a:cubicBezTo>
                <a:cubicBezTo>
                  <a:pt x="281" y="110"/>
                  <a:pt x="281" y="110"/>
                  <a:pt x="281" y="110"/>
                </a:cubicBezTo>
                <a:cubicBezTo>
                  <a:pt x="275" y="110"/>
                  <a:pt x="268" y="107"/>
                  <a:pt x="264" y="103"/>
                </a:cubicBezTo>
                <a:cubicBezTo>
                  <a:pt x="259" y="98"/>
                  <a:pt x="257" y="92"/>
                  <a:pt x="257" y="85"/>
                </a:cubicBezTo>
                <a:cubicBezTo>
                  <a:pt x="257" y="71"/>
                  <a:pt x="268" y="60"/>
                  <a:pt x="281" y="60"/>
                </a:cubicBezTo>
                <a:cubicBezTo>
                  <a:pt x="382" y="60"/>
                  <a:pt x="382" y="60"/>
                  <a:pt x="382" y="60"/>
                </a:cubicBezTo>
                <a:cubicBezTo>
                  <a:pt x="398" y="60"/>
                  <a:pt x="412" y="47"/>
                  <a:pt x="412" y="30"/>
                </a:cubicBezTo>
                <a:cubicBezTo>
                  <a:pt x="412" y="22"/>
                  <a:pt x="408" y="14"/>
                  <a:pt x="403" y="9"/>
                </a:cubicBezTo>
                <a:cubicBezTo>
                  <a:pt x="398" y="3"/>
                  <a:pt x="390" y="0"/>
                  <a:pt x="382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41" y="0"/>
                  <a:pt x="27" y="13"/>
                  <a:pt x="27" y="30"/>
                </a:cubicBezTo>
                <a:cubicBezTo>
                  <a:pt x="27" y="38"/>
                  <a:pt x="30" y="46"/>
                  <a:pt x="36" y="51"/>
                </a:cubicBezTo>
                <a:cubicBezTo>
                  <a:pt x="41" y="57"/>
                  <a:pt x="49" y="60"/>
                  <a:pt x="57" y="60"/>
                </a:cubicBezTo>
                <a:cubicBezTo>
                  <a:pt x="104" y="60"/>
                  <a:pt x="104" y="60"/>
                  <a:pt x="104" y="60"/>
                </a:cubicBezTo>
                <a:cubicBezTo>
                  <a:pt x="111" y="60"/>
                  <a:pt x="117" y="63"/>
                  <a:pt x="121" y="68"/>
                </a:cubicBezTo>
                <a:cubicBezTo>
                  <a:pt x="126" y="72"/>
                  <a:pt x="128" y="78"/>
                  <a:pt x="128" y="85"/>
                </a:cubicBezTo>
                <a:cubicBezTo>
                  <a:pt x="128" y="99"/>
                  <a:pt x="117" y="110"/>
                  <a:pt x="104" y="110"/>
                </a:cubicBezTo>
                <a:cubicBezTo>
                  <a:pt x="97" y="110"/>
                  <a:pt x="97" y="110"/>
                  <a:pt x="97" y="110"/>
                </a:cubicBezTo>
                <a:cubicBezTo>
                  <a:pt x="30" y="110"/>
                  <a:pt x="30" y="110"/>
                  <a:pt x="30" y="110"/>
                </a:cubicBezTo>
                <a:cubicBezTo>
                  <a:pt x="13" y="110"/>
                  <a:pt x="0" y="124"/>
                  <a:pt x="0" y="14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  <a:alpha val="24000"/>
            </a:schemeClr>
          </a:solidFill>
          <a:ln>
            <a:noFill/>
          </a:ln>
          <a:effectLst>
            <a:outerShdw blurRad="723900" dist="38100" dir="10800000" algn="r" rotWithShape="0">
              <a:schemeClr val="accent4">
                <a:lumMod val="20000"/>
                <a:lumOff val="80000"/>
                <a:alpha val="5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299" name="Group 1298">
            <a:extLst>
              <a:ext uri="{FF2B5EF4-FFF2-40B4-BE49-F238E27FC236}">
                <a16:creationId xmlns:a16="http://schemas.microsoft.com/office/drawing/2014/main" id="{59BFC6FA-DB51-49DA-8FF8-E85C68D90B43}"/>
              </a:ext>
            </a:extLst>
          </p:cNvPr>
          <p:cNvGrpSpPr/>
          <p:nvPr/>
        </p:nvGrpSpPr>
        <p:grpSpPr>
          <a:xfrm>
            <a:off x="4426580" y="1239698"/>
            <a:ext cx="7249484" cy="4177708"/>
            <a:chOff x="-5589588" y="-3998913"/>
            <a:chExt cx="5005388" cy="2884488"/>
          </a:xfrm>
        </p:grpSpPr>
        <p:sp>
          <p:nvSpPr>
            <p:cNvPr id="1179" name="Rectangle 169">
              <a:extLst>
                <a:ext uri="{FF2B5EF4-FFF2-40B4-BE49-F238E27FC236}">
                  <a16:creationId xmlns:a16="http://schemas.microsoft.com/office/drawing/2014/main" id="{730D247F-2C36-4483-806F-9EC24E6863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744788" y="-1376363"/>
              <a:ext cx="2160588" cy="261938"/>
            </a:xfrm>
            <a:prstGeom prst="rect">
              <a:avLst/>
            </a:prstGeom>
            <a:solidFill>
              <a:srgbClr val="2805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Rectangle 170">
              <a:extLst>
                <a:ext uri="{FF2B5EF4-FFF2-40B4-BE49-F238E27FC236}">
                  <a16:creationId xmlns:a16="http://schemas.microsoft.com/office/drawing/2014/main" id="{12685B48-D5C4-45E2-8C31-797BABC052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698750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Rectangle 171">
              <a:extLst>
                <a:ext uri="{FF2B5EF4-FFF2-40B4-BE49-F238E27FC236}">
                  <a16:creationId xmlns:a16="http://schemas.microsoft.com/office/drawing/2014/main" id="{51B75160-EA2B-426A-BC40-A17AF88D80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6304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Rectangle 172">
              <a:extLst>
                <a:ext uri="{FF2B5EF4-FFF2-40B4-BE49-F238E27FC236}">
                  <a16:creationId xmlns:a16="http://schemas.microsoft.com/office/drawing/2014/main" id="{F1CC46EC-EA80-4247-9415-3DA8ADDEA8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562225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Rectangle 173">
              <a:extLst>
                <a:ext uri="{FF2B5EF4-FFF2-40B4-BE49-F238E27FC236}">
                  <a16:creationId xmlns:a16="http://schemas.microsoft.com/office/drawing/2014/main" id="{8322BE58-BEA6-46B9-B99E-61F3C2F58C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92375" y="-1376363"/>
              <a:ext cx="20638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Rectangle 174">
              <a:extLst>
                <a:ext uri="{FF2B5EF4-FFF2-40B4-BE49-F238E27FC236}">
                  <a16:creationId xmlns:a16="http://schemas.microsoft.com/office/drawing/2014/main" id="{2D628D7B-4141-4B39-9C0D-B9417DF61B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272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Rectangle 175">
              <a:extLst>
                <a:ext uri="{FF2B5EF4-FFF2-40B4-BE49-F238E27FC236}">
                  <a16:creationId xmlns:a16="http://schemas.microsoft.com/office/drawing/2014/main" id="{F2EEE0B6-F980-43EA-BC57-B4C278616B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359025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Rectangle 176">
              <a:extLst>
                <a:ext uri="{FF2B5EF4-FFF2-40B4-BE49-F238E27FC236}">
                  <a16:creationId xmlns:a16="http://schemas.microsoft.com/office/drawing/2014/main" id="{FF534EA3-3581-41FE-92CA-7F2FDFA9B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90763" y="-1376363"/>
              <a:ext cx="25400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Rectangle 177">
              <a:extLst>
                <a:ext uri="{FF2B5EF4-FFF2-40B4-BE49-F238E27FC236}">
                  <a16:creationId xmlns:a16="http://schemas.microsoft.com/office/drawing/2014/main" id="{1E7E5F54-C8E0-4247-836D-41CD11F4FD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240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Rectangle 178">
              <a:extLst>
                <a:ext uri="{FF2B5EF4-FFF2-40B4-BE49-F238E27FC236}">
                  <a16:creationId xmlns:a16="http://schemas.microsoft.com/office/drawing/2014/main" id="{BEB2D789-16AB-4935-974E-3E266C8903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55825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Rectangle 179">
              <a:extLst>
                <a:ext uri="{FF2B5EF4-FFF2-40B4-BE49-F238E27FC236}">
                  <a16:creationId xmlns:a16="http://schemas.microsoft.com/office/drawing/2014/main" id="{7E0FF847-B355-4846-9ABF-EC5DF3E63F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087563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Rectangle 180">
              <a:extLst>
                <a:ext uri="{FF2B5EF4-FFF2-40B4-BE49-F238E27FC236}">
                  <a16:creationId xmlns:a16="http://schemas.microsoft.com/office/drawing/2014/main" id="{60E0DFBF-0E1C-4362-8FB1-A3D7D564E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017713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Rectangle 181">
              <a:extLst>
                <a:ext uri="{FF2B5EF4-FFF2-40B4-BE49-F238E27FC236}">
                  <a16:creationId xmlns:a16="http://schemas.microsoft.com/office/drawing/2014/main" id="{3BAAACB4-931A-4382-BE28-1CF77FC0D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952625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Rectangle 182">
              <a:extLst>
                <a:ext uri="{FF2B5EF4-FFF2-40B4-BE49-F238E27FC236}">
                  <a16:creationId xmlns:a16="http://schemas.microsoft.com/office/drawing/2014/main" id="{5D0BCC51-AF6C-460F-A1E7-8406E4D0CE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884363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Rectangle 183">
              <a:extLst>
                <a:ext uri="{FF2B5EF4-FFF2-40B4-BE49-F238E27FC236}">
                  <a16:creationId xmlns:a16="http://schemas.microsoft.com/office/drawing/2014/main" id="{8988028B-5C1B-435C-A418-68817F1697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814513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Rectangle 184">
              <a:extLst>
                <a:ext uri="{FF2B5EF4-FFF2-40B4-BE49-F238E27FC236}">
                  <a16:creationId xmlns:a16="http://schemas.microsoft.com/office/drawing/2014/main" id="{7DDFEFD6-51AA-4E5F-A685-BC10C8A74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74625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Rectangle 185">
              <a:extLst>
                <a:ext uri="{FF2B5EF4-FFF2-40B4-BE49-F238E27FC236}">
                  <a16:creationId xmlns:a16="http://schemas.microsoft.com/office/drawing/2014/main" id="{71528D5F-EF30-4ACD-80B6-3CC3B3FE9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681163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Rectangle 186">
              <a:extLst>
                <a:ext uri="{FF2B5EF4-FFF2-40B4-BE49-F238E27FC236}">
                  <a16:creationId xmlns:a16="http://schemas.microsoft.com/office/drawing/2014/main" id="{E73B4717-AA6D-4721-B8F7-2BC6475C5E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611313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Rectangle 187">
              <a:extLst>
                <a:ext uri="{FF2B5EF4-FFF2-40B4-BE49-F238E27FC236}">
                  <a16:creationId xmlns:a16="http://schemas.microsoft.com/office/drawing/2014/main" id="{5FD41B6D-9EEF-4439-A573-2B094A0F22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4305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Rectangle 188">
              <a:extLst>
                <a:ext uri="{FF2B5EF4-FFF2-40B4-BE49-F238E27FC236}">
                  <a16:creationId xmlns:a16="http://schemas.microsoft.com/office/drawing/2014/main" id="{57B11A74-BE51-4217-A293-3E1607320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74788" y="-1376363"/>
              <a:ext cx="20638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Rectangle 189">
              <a:extLst>
                <a:ext uri="{FF2B5EF4-FFF2-40B4-BE49-F238E27FC236}">
                  <a16:creationId xmlns:a16="http://schemas.microsoft.com/office/drawing/2014/main" id="{2921EF7A-D787-4C3A-ADC0-A16C033F68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0970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Rectangle 190">
              <a:extLst>
                <a:ext uri="{FF2B5EF4-FFF2-40B4-BE49-F238E27FC236}">
                  <a16:creationId xmlns:a16="http://schemas.microsoft.com/office/drawing/2014/main" id="{20A38608-BA75-441B-B8CC-E7D3C8564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9850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Rectangle 191">
              <a:extLst>
                <a:ext uri="{FF2B5EF4-FFF2-40B4-BE49-F238E27FC236}">
                  <a16:creationId xmlns:a16="http://schemas.microsoft.com/office/drawing/2014/main" id="{4A6C687D-E70D-46A8-A7FD-9A9B755C67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715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Rectangle 192">
              <a:extLst>
                <a:ext uri="{FF2B5EF4-FFF2-40B4-BE49-F238E27FC236}">
                  <a16:creationId xmlns:a16="http://schemas.microsoft.com/office/drawing/2014/main" id="{385E93D2-9F52-462B-971B-0BD386D5C2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0650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Rectangle 193">
              <a:extLst>
                <a:ext uri="{FF2B5EF4-FFF2-40B4-BE49-F238E27FC236}">
                  <a16:creationId xmlns:a16="http://schemas.microsoft.com/office/drawing/2014/main" id="{F1EBC034-93D7-4626-9657-0330C482B6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3665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Rectangle 194">
              <a:extLst>
                <a:ext uri="{FF2B5EF4-FFF2-40B4-BE49-F238E27FC236}">
                  <a16:creationId xmlns:a16="http://schemas.microsoft.com/office/drawing/2014/main" id="{8525A4F5-44BD-42EC-A0FC-7DAB49C64E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683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Rectangle 195">
              <a:extLst>
                <a:ext uri="{FF2B5EF4-FFF2-40B4-BE49-F238E27FC236}">
                  <a16:creationId xmlns:a16="http://schemas.microsoft.com/office/drawing/2014/main" id="{72B8A966-4F34-45FA-A377-C425DFF4B2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00125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Rectangle 196">
              <a:extLst>
                <a:ext uri="{FF2B5EF4-FFF2-40B4-BE49-F238E27FC236}">
                  <a16:creationId xmlns:a16="http://schemas.microsoft.com/office/drawing/2014/main" id="{E49B5FEB-9311-483A-84D7-8E99136F58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61988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Rectangle 197">
              <a:extLst>
                <a:ext uri="{FF2B5EF4-FFF2-40B4-BE49-F238E27FC236}">
                  <a16:creationId xmlns:a16="http://schemas.microsoft.com/office/drawing/2014/main" id="{7052D9BD-993A-4407-A9D0-4B2AFF4EB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3345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Rectangle 198">
              <a:extLst>
                <a:ext uri="{FF2B5EF4-FFF2-40B4-BE49-F238E27FC236}">
                  <a16:creationId xmlns:a16="http://schemas.microsoft.com/office/drawing/2014/main" id="{244ED439-2D85-4B9F-A7C8-3963D0948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8651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Rectangle 199">
              <a:extLst>
                <a:ext uri="{FF2B5EF4-FFF2-40B4-BE49-F238E27FC236}">
                  <a16:creationId xmlns:a16="http://schemas.microsoft.com/office/drawing/2014/main" id="{64F446AE-2016-4CFF-A934-2615F97F9B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96925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Rectangle 200">
              <a:extLst>
                <a:ext uri="{FF2B5EF4-FFF2-40B4-BE49-F238E27FC236}">
                  <a16:creationId xmlns:a16="http://schemas.microsoft.com/office/drawing/2014/main" id="{FF675562-7BD1-4281-8B64-5F70C61A69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28663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01">
              <a:extLst>
                <a:ext uri="{FF2B5EF4-FFF2-40B4-BE49-F238E27FC236}">
                  <a16:creationId xmlns:a16="http://schemas.microsoft.com/office/drawing/2014/main" id="{FA2A86A0-AEFD-49A0-BACB-CC204185A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84413" y="-1449388"/>
              <a:ext cx="409575" cy="331788"/>
            </a:xfrm>
            <a:custGeom>
              <a:avLst/>
              <a:gdLst>
                <a:gd name="T0" fmla="*/ 109 w 137"/>
                <a:gd name="T1" fmla="*/ 83 h 111"/>
                <a:gd name="T2" fmla="*/ 82 w 137"/>
                <a:gd name="T3" fmla="*/ 83 h 111"/>
                <a:gd name="T4" fmla="*/ 82 w 137"/>
                <a:gd name="T5" fmla="*/ 0 h 111"/>
                <a:gd name="T6" fmla="*/ 54 w 137"/>
                <a:gd name="T7" fmla="*/ 1 h 111"/>
                <a:gd name="T8" fmla="*/ 55 w 137"/>
                <a:gd name="T9" fmla="*/ 83 h 111"/>
                <a:gd name="T10" fmla="*/ 27 w 137"/>
                <a:gd name="T11" fmla="*/ 83 h 111"/>
                <a:gd name="T12" fmla="*/ 0 w 137"/>
                <a:gd name="T13" fmla="*/ 111 h 111"/>
                <a:gd name="T14" fmla="*/ 0 w 137"/>
                <a:gd name="T15" fmla="*/ 111 h 111"/>
                <a:gd name="T16" fmla="*/ 137 w 137"/>
                <a:gd name="T17" fmla="*/ 111 h 111"/>
                <a:gd name="T18" fmla="*/ 137 w 137"/>
                <a:gd name="T19" fmla="*/ 111 h 111"/>
                <a:gd name="T20" fmla="*/ 109 w 137"/>
                <a:gd name="T21" fmla="*/ 8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11">
                  <a:moveTo>
                    <a:pt x="109" y="83"/>
                  </a:moveTo>
                  <a:cubicBezTo>
                    <a:pt x="82" y="83"/>
                    <a:pt x="82" y="83"/>
                    <a:pt x="82" y="8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12" y="83"/>
                    <a:pt x="0" y="96"/>
                    <a:pt x="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7" y="95"/>
                    <a:pt x="125" y="83"/>
                    <a:pt x="109" y="8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202">
              <a:extLst>
                <a:ext uri="{FF2B5EF4-FFF2-40B4-BE49-F238E27FC236}">
                  <a16:creationId xmlns:a16="http://schemas.microsoft.com/office/drawing/2014/main" id="{C5F5881A-549A-477A-A4F3-48CA09ECC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2563" y="-3379788"/>
              <a:ext cx="1797050" cy="2027238"/>
            </a:xfrm>
            <a:custGeom>
              <a:avLst/>
              <a:gdLst>
                <a:gd name="T0" fmla="*/ 415 w 602"/>
                <a:gd name="T1" fmla="*/ 39 h 679"/>
                <a:gd name="T2" fmla="*/ 422 w 602"/>
                <a:gd name="T3" fmla="*/ 28 h 679"/>
                <a:gd name="T4" fmla="*/ 417 w 602"/>
                <a:gd name="T5" fmla="*/ 5 h 679"/>
                <a:gd name="T6" fmla="*/ 417 w 602"/>
                <a:gd name="T7" fmla="*/ 5 h 679"/>
                <a:gd name="T8" fmla="*/ 394 w 602"/>
                <a:gd name="T9" fmla="*/ 10 h 679"/>
                <a:gd name="T10" fmla="*/ 387 w 602"/>
                <a:gd name="T11" fmla="*/ 20 h 679"/>
                <a:gd name="T12" fmla="*/ 376 w 602"/>
                <a:gd name="T13" fmla="*/ 38 h 679"/>
                <a:gd name="T14" fmla="*/ 345 w 602"/>
                <a:gd name="T15" fmla="*/ 85 h 679"/>
                <a:gd name="T16" fmla="*/ 360 w 602"/>
                <a:gd name="T17" fmla="*/ 94 h 679"/>
                <a:gd name="T18" fmla="*/ 373 w 602"/>
                <a:gd name="T19" fmla="*/ 104 h 679"/>
                <a:gd name="T20" fmla="*/ 404 w 602"/>
                <a:gd name="T21" fmla="*/ 56 h 679"/>
                <a:gd name="T22" fmla="*/ 486 w 602"/>
                <a:gd name="T23" fmla="*/ 491 h 679"/>
                <a:gd name="T24" fmla="*/ 55 w 602"/>
                <a:gd name="T25" fmla="*/ 594 h 679"/>
                <a:gd name="T26" fmla="*/ 86 w 602"/>
                <a:gd name="T27" fmla="*/ 547 h 679"/>
                <a:gd name="T28" fmla="*/ 72 w 602"/>
                <a:gd name="T29" fmla="*/ 538 h 679"/>
                <a:gd name="T30" fmla="*/ 58 w 602"/>
                <a:gd name="T31" fmla="*/ 528 h 679"/>
                <a:gd name="T32" fmla="*/ 27 w 602"/>
                <a:gd name="T33" fmla="*/ 576 h 679"/>
                <a:gd name="T34" fmla="*/ 16 w 602"/>
                <a:gd name="T35" fmla="*/ 593 h 679"/>
                <a:gd name="T36" fmla="*/ 0 w 602"/>
                <a:gd name="T37" fmla="*/ 618 h 679"/>
                <a:gd name="T38" fmla="*/ 29 w 602"/>
                <a:gd name="T39" fmla="*/ 636 h 679"/>
                <a:gd name="T40" fmla="*/ 44 w 602"/>
                <a:gd name="T41" fmla="*/ 611 h 679"/>
                <a:gd name="T42" fmla="*/ 215 w 602"/>
                <a:gd name="T43" fmla="*/ 658 h 679"/>
                <a:gd name="T44" fmla="*/ 503 w 602"/>
                <a:gd name="T45" fmla="*/ 502 h 679"/>
                <a:gd name="T46" fmla="*/ 415 w 602"/>
                <a:gd name="T47" fmla="*/ 39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2" h="679">
                  <a:moveTo>
                    <a:pt x="415" y="39"/>
                  </a:moveTo>
                  <a:cubicBezTo>
                    <a:pt x="422" y="28"/>
                    <a:pt x="422" y="28"/>
                    <a:pt x="422" y="28"/>
                  </a:cubicBezTo>
                  <a:cubicBezTo>
                    <a:pt x="427" y="21"/>
                    <a:pt x="425" y="10"/>
                    <a:pt x="417" y="5"/>
                  </a:cubicBezTo>
                  <a:cubicBezTo>
                    <a:pt x="417" y="5"/>
                    <a:pt x="417" y="5"/>
                    <a:pt x="417" y="5"/>
                  </a:cubicBezTo>
                  <a:cubicBezTo>
                    <a:pt x="409" y="0"/>
                    <a:pt x="399" y="2"/>
                    <a:pt x="394" y="10"/>
                  </a:cubicBezTo>
                  <a:cubicBezTo>
                    <a:pt x="387" y="20"/>
                    <a:pt x="387" y="20"/>
                    <a:pt x="387" y="20"/>
                  </a:cubicBezTo>
                  <a:cubicBezTo>
                    <a:pt x="376" y="38"/>
                    <a:pt x="376" y="38"/>
                    <a:pt x="376" y="38"/>
                  </a:cubicBezTo>
                  <a:cubicBezTo>
                    <a:pt x="345" y="85"/>
                    <a:pt x="345" y="85"/>
                    <a:pt x="345" y="85"/>
                  </a:cubicBezTo>
                  <a:cubicBezTo>
                    <a:pt x="350" y="88"/>
                    <a:pt x="355" y="91"/>
                    <a:pt x="360" y="94"/>
                  </a:cubicBezTo>
                  <a:cubicBezTo>
                    <a:pt x="364" y="97"/>
                    <a:pt x="369" y="100"/>
                    <a:pt x="373" y="104"/>
                  </a:cubicBezTo>
                  <a:cubicBezTo>
                    <a:pt x="404" y="56"/>
                    <a:pt x="404" y="56"/>
                    <a:pt x="404" y="56"/>
                  </a:cubicBezTo>
                  <a:cubicBezTo>
                    <a:pt x="542" y="155"/>
                    <a:pt x="579" y="347"/>
                    <a:pt x="486" y="491"/>
                  </a:cubicBezTo>
                  <a:cubicBezTo>
                    <a:pt x="392" y="635"/>
                    <a:pt x="202" y="679"/>
                    <a:pt x="55" y="594"/>
                  </a:cubicBezTo>
                  <a:cubicBezTo>
                    <a:pt x="86" y="547"/>
                    <a:pt x="86" y="547"/>
                    <a:pt x="86" y="547"/>
                  </a:cubicBezTo>
                  <a:cubicBezTo>
                    <a:pt x="82" y="544"/>
                    <a:pt x="77" y="541"/>
                    <a:pt x="72" y="538"/>
                  </a:cubicBezTo>
                  <a:cubicBezTo>
                    <a:pt x="67" y="535"/>
                    <a:pt x="63" y="532"/>
                    <a:pt x="58" y="528"/>
                  </a:cubicBezTo>
                  <a:cubicBezTo>
                    <a:pt x="27" y="576"/>
                    <a:pt x="27" y="576"/>
                    <a:pt x="27" y="576"/>
                  </a:cubicBezTo>
                  <a:cubicBezTo>
                    <a:pt x="16" y="593"/>
                    <a:pt x="16" y="593"/>
                    <a:pt x="16" y="593"/>
                  </a:cubicBezTo>
                  <a:cubicBezTo>
                    <a:pt x="0" y="618"/>
                    <a:pt x="0" y="618"/>
                    <a:pt x="0" y="618"/>
                  </a:cubicBezTo>
                  <a:cubicBezTo>
                    <a:pt x="29" y="636"/>
                    <a:pt x="29" y="636"/>
                    <a:pt x="29" y="636"/>
                  </a:cubicBezTo>
                  <a:cubicBezTo>
                    <a:pt x="44" y="611"/>
                    <a:pt x="44" y="611"/>
                    <a:pt x="44" y="611"/>
                  </a:cubicBezTo>
                  <a:cubicBezTo>
                    <a:pt x="98" y="643"/>
                    <a:pt x="157" y="658"/>
                    <a:pt x="215" y="658"/>
                  </a:cubicBezTo>
                  <a:cubicBezTo>
                    <a:pt x="327" y="658"/>
                    <a:pt x="437" y="603"/>
                    <a:pt x="503" y="502"/>
                  </a:cubicBezTo>
                  <a:cubicBezTo>
                    <a:pt x="602" y="348"/>
                    <a:pt x="562" y="144"/>
                    <a:pt x="415" y="3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203">
              <a:extLst>
                <a:ext uri="{FF2B5EF4-FFF2-40B4-BE49-F238E27FC236}">
                  <a16:creationId xmlns:a16="http://schemas.microsoft.com/office/drawing/2014/main" id="{BC4D0B4A-FF5D-4764-A553-138F3F17D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98625" y="-2962275"/>
              <a:ext cx="122238" cy="163513"/>
            </a:xfrm>
            <a:custGeom>
              <a:avLst/>
              <a:gdLst>
                <a:gd name="T0" fmla="*/ 25 w 41"/>
                <a:gd name="T1" fmla="*/ 23 h 55"/>
                <a:gd name="T2" fmla="*/ 10 w 41"/>
                <a:gd name="T3" fmla="*/ 6 h 55"/>
                <a:gd name="T4" fmla="*/ 18 w 41"/>
                <a:gd name="T5" fmla="*/ 39 h 55"/>
                <a:gd name="T6" fmla="*/ 39 w 41"/>
                <a:gd name="T7" fmla="*/ 43 h 55"/>
                <a:gd name="T8" fmla="*/ 25 w 41"/>
                <a:gd name="T9" fmla="*/ 2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55">
                  <a:moveTo>
                    <a:pt x="25" y="23"/>
                  </a:moveTo>
                  <a:cubicBezTo>
                    <a:pt x="25" y="17"/>
                    <a:pt x="20" y="0"/>
                    <a:pt x="10" y="6"/>
                  </a:cubicBezTo>
                  <a:cubicBezTo>
                    <a:pt x="0" y="12"/>
                    <a:pt x="13" y="34"/>
                    <a:pt x="18" y="39"/>
                  </a:cubicBezTo>
                  <a:cubicBezTo>
                    <a:pt x="23" y="44"/>
                    <a:pt x="37" y="55"/>
                    <a:pt x="39" y="43"/>
                  </a:cubicBezTo>
                  <a:cubicBezTo>
                    <a:pt x="41" y="33"/>
                    <a:pt x="22" y="33"/>
                    <a:pt x="25" y="23"/>
                  </a:cubicBezTo>
                  <a:close/>
                </a:path>
              </a:pathLst>
            </a:cu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204">
              <a:extLst>
                <a:ext uri="{FF2B5EF4-FFF2-40B4-BE49-F238E27FC236}">
                  <a16:creationId xmlns:a16="http://schemas.microsoft.com/office/drawing/2014/main" id="{853055C9-8BD1-4C90-B6A5-2DB277A3D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71788" y="-3300413"/>
              <a:ext cx="1593850" cy="1755775"/>
            </a:xfrm>
            <a:custGeom>
              <a:avLst/>
              <a:gdLst>
                <a:gd name="T0" fmla="*/ 467 w 534"/>
                <a:gd name="T1" fmla="*/ 208 h 588"/>
                <a:gd name="T2" fmla="*/ 434 w 534"/>
                <a:gd name="T3" fmla="*/ 197 h 588"/>
                <a:gd name="T4" fmla="*/ 476 w 534"/>
                <a:gd name="T5" fmla="*/ 239 h 588"/>
                <a:gd name="T6" fmla="*/ 407 w 534"/>
                <a:gd name="T7" fmla="*/ 237 h 588"/>
                <a:gd name="T8" fmla="*/ 404 w 534"/>
                <a:gd name="T9" fmla="*/ 255 h 588"/>
                <a:gd name="T10" fmla="*/ 433 w 534"/>
                <a:gd name="T11" fmla="*/ 297 h 588"/>
                <a:gd name="T12" fmla="*/ 438 w 534"/>
                <a:gd name="T13" fmla="*/ 348 h 588"/>
                <a:gd name="T14" fmla="*/ 417 w 534"/>
                <a:gd name="T15" fmla="*/ 416 h 588"/>
                <a:gd name="T16" fmla="*/ 324 w 534"/>
                <a:gd name="T17" fmla="*/ 510 h 588"/>
                <a:gd name="T18" fmla="*/ 265 w 534"/>
                <a:gd name="T19" fmla="*/ 466 h 588"/>
                <a:gd name="T20" fmla="*/ 248 w 534"/>
                <a:gd name="T21" fmla="*/ 386 h 588"/>
                <a:gd name="T22" fmla="*/ 235 w 534"/>
                <a:gd name="T23" fmla="*/ 346 h 588"/>
                <a:gd name="T24" fmla="*/ 154 w 534"/>
                <a:gd name="T25" fmla="*/ 327 h 588"/>
                <a:gd name="T26" fmla="*/ 122 w 534"/>
                <a:gd name="T27" fmla="*/ 229 h 588"/>
                <a:gd name="T28" fmla="*/ 209 w 534"/>
                <a:gd name="T29" fmla="*/ 164 h 588"/>
                <a:gd name="T30" fmla="*/ 297 w 534"/>
                <a:gd name="T31" fmla="*/ 199 h 588"/>
                <a:gd name="T32" fmla="*/ 368 w 534"/>
                <a:gd name="T33" fmla="*/ 188 h 588"/>
                <a:gd name="T34" fmla="*/ 339 w 534"/>
                <a:gd name="T35" fmla="*/ 140 h 588"/>
                <a:gd name="T36" fmla="*/ 355 w 534"/>
                <a:gd name="T37" fmla="*/ 119 h 588"/>
                <a:gd name="T38" fmla="*/ 324 w 534"/>
                <a:gd name="T39" fmla="*/ 145 h 588"/>
                <a:gd name="T40" fmla="*/ 313 w 534"/>
                <a:gd name="T41" fmla="*/ 160 h 588"/>
                <a:gd name="T42" fmla="*/ 264 w 534"/>
                <a:gd name="T43" fmla="*/ 130 h 588"/>
                <a:gd name="T44" fmla="*/ 263 w 534"/>
                <a:gd name="T45" fmla="*/ 165 h 588"/>
                <a:gd name="T46" fmla="*/ 232 w 534"/>
                <a:gd name="T47" fmla="*/ 138 h 588"/>
                <a:gd name="T48" fmla="*/ 172 w 534"/>
                <a:gd name="T49" fmla="*/ 143 h 588"/>
                <a:gd name="T50" fmla="*/ 204 w 534"/>
                <a:gd name="T51" fmla="*/ 109 h 588"/>
                <a:gd name="T52" fmla="*/ 250 w 534"/>
                <a:gd name="T53" fmla="*/ 87 h 588"/>
                <a:gd name="T54" fmla="*/ 299 w 534"/>
                <a:gd name="T55" fmla="*/ 69 h 588"/>
                <a:gd name="T56" fmla="*/ 252 w 534"/>
                <a:gd name="T57" fmla="*/ 67 h 588"/>
                <a:gd name="T58" fmla="*/ 352 w 534"/>
                <a:gd name="T59" fmla="*/ 39 h 588"/>
                <a:gd name="T60" fmla="*/ 1 w 534"/>
                <a:gd name="T61" fmla="*/ 295 h 588"/>
                <a:gd name="T62" fmla="*/ 91 w 534"/>
                <a:gd name="T63" fmla="*/ 383 h 588"/>
                <a:gd name="T64" fmla="*/ 74 w 534"/>
                <a:gd name="T65" fmla="*/ 439 h 588"/>
                <a:gd name="T66" fmla="*/ 108 w 534"/>
                <a:gd name="T67" fmla="*/ 501 h 588"/>
                <a:gd name="T68" fmla="*/ 136 w 534"/>
                <a:gd name="T69" fmla="*/ 520 h 588"/>
                <a:gd name="T70" fmla="*/ 530 w 534"/>
                <a:gd name="T71" fmla="*/ 270 h 588"/>
                <a:gd name="T72" fmla="*/ 503 w 534"/>
                <a:gd name="T73" fmla="*/ 209 h 588"/>
                <a:gd name="T74" fmla="*/ 428 w 534"/>
                <a:gd name="T75" fmla="*/ 462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4" h="588">
                  <a:moveTo>
                    <a:pt x="503" y="209"/>
                  </a:moveTo>
                  <a:cubicBezTo>
                    <a:pt x="494" y="204"/>
                    <a:pt x="477" y="209"/>
                    <a:pt x="467" y="208"/>
                  </a:cubicBezTo>
                  <a:cubicBezTo>
                    <a:pt x="457" y="208"/>
                    <a:pt x="456" y="206"/>
                    <a:pt x="447" y="202"/>
                  </a:cubicBezTo>
                  <a:cubicBezTo>
                    <a:pt x="444" y="201"/>
                    <a:pt x="438" y="195"/>
                    <a:pt x="434" y="197"/>
                  </a:cubicBezTo>
                  <a:cubicBezTo>
                    <a:pt x="428" y="201"/>
                    <a:pt x="445" y="216"/>
                    <a:pt x="447" y="217"/>
                  </a:cubicBezTo>
                  <a:cubicBezTo>
                    <a:pt x="462" y="226"/>
                    <a:pt x="478" y="215"/>
                    <a:pt x="476" y="239"/>
                  </a:cubicBezTo>
                  <a:cubicBezTo>
                    <a:pt x="475" y="253"/>
                    <a:pt x="459" y="274"/>
                    <a:pt x="444" y="275"/>
                  </a:cubicBezTo>
                  <a:cubicBezTo>
                    <a:pt x="423" y="277"/>
                    <a:pt x="417" y="251"/>
                    <a:pt x="407" y="237"/>
                  </a:cubicBezTo>
                  <a:cubicBezTo>
                    <a:pt x="404" y="233"/>
                    <a:pt x="377" y="202"/>
                    <a:pt x="372" y="208"/>
                  </a:cubicBezTo>
                  <a:cubicBezTo>
                    <a:pt x="369" y="211"/>
                    <a:pt x="401" y="250"/>
                    <a:pt x="404" y="255"/>
                  </a:cubicBezTo>
                  <a:cubicBezTo>
                    <a:pt x="410" y="265"/>
                    <a:pt x="416" y="275"/>
                    <a:pt x="422" y="284"/>
                  </a:cubicBezTo>
                  <a:cubicBezTo>
                    <a:pt x="424" y="287"/>
                    <a:pt x="430" y="295"/>
                    <a:pt x="433" y="297"/>
                  </a:cubicBezTo>
                  <a:cubicBezTo>
                    <a:pt x="446" y="303"/>
                    <a:pt x="441" y="293"/>
                    <a:pt x="454" y="294"/>
                  </a:cubicBezTo>
                  <a:cubicBezTo>
                    <a:pt x="477" y="297"/>
                    <a:pt x="446" y="339"/>
                    <a:pt x="438" y="348"/>
                  </a:cubicBezTo>
                  <a:cubicBezTo>
                    <a:pt x="430" y="359"/>
                    <a:pt x="421" y="368"/>
                    <a:pt x="418" y="381"/>
                  </a:cubicBezTo>
                  <a:cubicBezTo>
                    <a:pt x="414" y="393"/>
                    <a:pt x="418" y="404"/>
                    <a:pt x="417" y="416"/>
                  </a:cubicBezTo>
                  <a:cubicBezTo>
                    <a:pt x="414" y="440"/>
                    <a:pt x="393" y="443"/>
                    <a:pt x="383" y="461"/>
                  </a:cubicBezTo>
                  <a:cubicBezTo>
                    <a:pt x="370" y="485"/>
                    <a:pt x="350" y="500"/>
                    <a:pt x="324" y="510"/>
                  </a:cubicBezTo>
                  <a:cubicBezTo>
                    <a:pt x="298" y="521"/>
                    <a:pt x="294" y="516"/>
                    <a:pt x="284" y="493"/>
                  </a:cubicBezTo>
                  <a:cubicBezTo>
                    <a:pt x="279" y="483"/>
                    <a:pt x="269" y="477"/>
                    <a:pt x="265" y="466"/>
                  </a:cubicBezTo>
                  <a:cubicBezTo>
                    <a:pt x="259" y="451"/>
                    <a:pt x="267" y="435"/>
                    <a:pt x="262" y="420"/>
                  </a:cubicBezTo>
                  <a:cubicBezTo>
                    <a:pt x="257" y="407"/>
                    <a:pt x="249" y="400"/>
                    <a:pt x="248" y="386"/>
                  </a:cubicBezTo>
                  <a:cubicBezTo>
                    <a:pt x="247" y="378"/>
                    <a:pt x="253" y="365"/>
                    <a:pt x="251" y="357"/>
                  </a:cubicBezTo>
                  <a:cubicBezTo>
                    <a:pt x="248" y="347"/>
                    <a:pt x="245" y="348"/>
                    <a:pt x="235" y="346"/>
                  </a:cubicBezTo>
                  <a:cubicBezTo>
                    <a:pt x="219" y="342"/>
                    <a:pt x="216" y="336"/>
                    <a:pt x="204" y="327"/>
                  </a:cubicBezTo>
                  <a:cubicBezTo>
                    <a:pt x="186" y="314"/>
                    <a:pt x="172" y="334"/>
                    <a:pt x="154" y="327"/>
                  </a:cubicBezTo>
                  <a:cubicBezTo>
                    <a:pt x="131" y="317"/>
                    <a:pt x="122" y="283"/>
                    <a:pt x="119" y="262"/>
                  </a:cubicBezTo>
                  <a:cubicBezTo>
                    <a:pt x="117" y="249"/>
                    <a:pt x="116" y="239"/>
                    <a:pt x="122" y="229"/>
                  </a:cubicBezTo>
                  <a:cubicBezTo>
                    <a:pt x="129" y="219"/>
                    <a:pt x="140" y="212"/>
                    <a:pt x="146" y="201"/>
                  </a:cubicBezTo>
                  <a:cubicBezTo>
                    <a:pt x="161" y="177"/>
                    <a:pt x="181" y="168"/>
                    <a:pt x="209" y="164"/>
                  </a:cubicBezTo>
                  <a:cubicBezTo>
                    <a:pt x="239" y="160"/>
                    <a:pt x="246" y="177"/>
                    <a:pt x="268" y="191"/>
                  </a:cubicBezTo>
                  <a:cubicBezTo>
                    <a:pt x="277" y="197"/>
                    <a:pt x="287" y="204"/>
                    <a:pt x="297" y="199"/>
                  </a:cubicBezTo>
                  <a:cubicBezTo>
                    <a:pt x="308" y="195"/>
                    <a:pt x="307" y="184"/>
                    <a:pt x="322" y="185"/>
                  </a:cubicBezTo>
                  <a:cubicBezTo>
                    <a:pt x="337" y="186"/>
                    <a:pt x="355" y="203"/>
                    <a:pt x="368" y="188"/>
                  </a:cubicBezTo>
                  <a:cubicBezTo>
                    <a:pt x="374" y="181"/>
                    <a:pt x="375" y="169"/>
                    <a:pt x="368" y="162"/>
                  </a:cubicBezTo>
                  <a:cubicBezTo>
                    <a:pt x="364" y="158"/>
                    <a:pt x="306" y="154"/>
                    <a:pt x="339" y="140"/>
                  </a:cubicBezTo>
                  <a:cubicBezTo>
                    <a:pt x="347" y="136"/>
                    <a:pt x="363" y="146"/>
                    <a:pt x="372" y="139"/>
                  </a:cubicBezTo>
                  <a:cubicBezTo>
                    <a:pt x="382" y="130"/>
                    <a:pt x="363" y="120"/>
                    <a:pt x="355" y="119"/>
                  </a:cubicBezTo>
                  <a:cubicBezTo>
                    <a:pt x="342" y="116"/>
                    <a:pt x="335" y="119"/>
                    <a:pt x="329" y="130"/>
                  </a:cubicBezTo>
                  <a:cubicBezTo>
                    <a:pt x="326" y="135"/>
                    <a:pt x="328" y="140"/>
                    <a:pt x="324" y="145"/>
                  </a:cubicBezTo>
                  <a:cubicBezTo>
                    <a:pt x="322" y="147"/>
                    <a:pt x="316" y="142"/>
                    <a:pt x="313" y="143"/>
                  </a:cubicBezTo>
                  <a:cubicBezTo>
                    <a:pt x="310" y="145"/>
                    <a:pt x="318" y="155"/>
                    <a:pt x="313" y="160"/>
                  </a:cubicBezTo>
                  <a:cubicBezTo>
                    <a:pt x="308" y="165"/>
                    <a:pt x="297" y="159"/>
                    <a:pt x="293" y="156"/>
                  </a:cubicBezTo>
                  <a:cubicBezTo>
                    <a:pt x="290" y="153"/>
                    <a:pt x="273" y="117"/>
                    <a:pt x="264" y="130"/>
                  </a:cubicBezTo>
                  <a:cubicBezTo>
                    <a:pt x="261" y="134"/>
                    <a:pt x="278" y="149"/>
                    <a:pt x="279" y="156"/>
                  </a:cubicBezTo>
                  <a:cubicBezTo>
                    <a:pt x="279" y="164"/>
                    <a:pt x="269" y="176"/>
                    <a:pt x="263" y="165"/>
                  </a:cubicBezTo>
                  <a:cubicBezTo>
                    <a:pt x="261" y="160"/>
                    <a:pt x="269" y="156"/>
                    <a:pt x="267" y="149"/>
                  </a:cubicBezTo>
                  <a:cubicBezTo>
                    <a:pt x="263" y="136"/>
                    <a:pt x="242" y="136"/>
                    <a:pt x="232" y="138"/>
                  </a:cubicBezTo>
                  <a:cubicBezTo>
                    <a:pt x="217" y="141"/>
                    <a:pt x="208" y="152"/>
                    <a:pt x="195" y="158"/>
                  </a:cubicBezTo>
                  <a:cubicBezTo>
                    <a:pt x="180" y="165"/>
                    <a:pt x="162" y="164"/>
                    <a:pt x="172" y="143"/>
                  </a:cubicBezTo>
                  <a:cubicBezTo>
                    <a:pt x="183" y="124"/>
                    <a:pt x="203" y="141"/>
                    <a:pt x="210" y="133"/>
                  </a:cubicBezTo>
                  <a:cubicBezTo>
                    <a:pt x="218" y="124"/>
                    <a:pt x="197" y="120"/>
                    <a:pt x="204" y="109"/>
                  </a:cubicBezTo>
                  <a:cubicBezTo>
                    <a:pt x="210" y="100"/>
                    <a:pt x="227" y="106"/>
                    <a:pt x="235" y="102"/>
                  </a:cubicBezTo>
                  <a:cubicBezTo>
                    <a:pt x="241" y="98"/>
                    <a:pt x="243" y="90"/>
                    <a:pt x="250" y="87"/>
                  </a:cubicBezTo>
                  <a:cubicBezTo>
                    <a:pt x="258" y="84"/>
                    <a:pt x="265" y="88"/>
                    <a:pt x="272" y="88"/>
                  </a:cubicBezTo>
                  <a:cubicBezTo>
                    <a:pt x="280" y="87"/>
                    <a:pt x="302" y="82"/>
                    <a:pt x="299" y="69"/>
                  </a:cubicBezTo>
                  <a:cubicBezTo>
                    <a:pt x="297" y="58"/>
                    <a:pt x="283" y="74"/>
                    <a:pt x="279" y="76"/>
                  </a:cubicBezTo>
                  <a:cubicBezTo>
                    <a:pt x="270" y="80"/>
                    <a:pt x="251" y="82"/>
                    <a:pt x="252" y="67"/>
                  </a:cubicBezTo>
                  <a:cubicBezTo>
                    <a:pt x="253" y="54"/>
                    <a:pt x="280" y="47"/>
                    <a:pt x="290" y="45"/>
                  </a:cubicBezTo>
                  <a:cubicBezTo>
                    <a:pt x="316" y="40"/>
                    <a:pt x="342" y="71"/>
                    <a:pt x="352" y="39"/>
                  </a:cubicBezTo>
                  <a:cubicBezTo>
                    <a:pt x="240" y="0"/>
                    <a:pt x="111" y="41"/>
                    <a:pt x="44" y="145"/>
                  </a:cubicBezTo>
                  <a:cubicBezTo>
                    <a:pt x="14" y="191"/>
                    <a:pt x="0" y="243"/>
                    <a:pt x="1" y="295"/>
                  </a:cubicBezTo>
                  <a:cubicBezTo>
                    <a:pt x="5" y="312"/>
                    <a:pt x="13" y="325"/>
                    <a:pt x="33" y="335"/>
                  </a:cubicBezTo>
                  <a:cubicBezTo>
                    <a:pt x="56" y="347"/>
                    <a:pt x="84" y="355"/>
                    <a:pt x="91" y="383"/>
                  </a:cubicBezTo>
                  <a:cubicBezTo>
                    <a:pt x="94" y="394"/>
                    <a:pt x="95" y="411"/>
                    <a:pt x="92" y="423"/>
                  </a:cubicBezTo>
                  <a:cubicBezTo>
                    <a:pt x="88" y="439"/>
                    <a:pt x="82" y="431"/>
                    <a:pt x="74" y="439"/>
                  </a:cubicBezTo>
                  <a:cubicBezTo>
                    <a:pt x="65" y="450"/>
                    <a:pt x="81" y="467"/>
                    <a:pt x="87" y="483"/>
                  </a:cubicBezTo>
                  <a:cubicBezTo>
                    <a:pt x="93" y="490"/>
                    <a:pt x="101" y="496"/>
                    <a:pt x="108" y="501"/>
                  </a:cubicBezTo>
                  <a:cubicBezTo>
                    <a:pt x="113" y="505"/>
                    <a:pt x="117" y="508"/>
                    <a:pt x="122" y="511"/>
                  </a:cubicBezTo>
                  <a:cubicBezTo>
                    <a:pt x="127" y="514"/>
                    <a:pt x="132" y="517"/>
                    <a:pt x="136" y="520"/>
                  </a:cubicBezTo>
                  <a:cubicBezTo>
                    <a:pt x="257" y="588"/>
                    <a:pt x="411" y="551"/>
                    <a:pt x="488" y="433"/>
                  </a:cubicBezTo>
                  <a:cubicBezTo>
                    <a:pt x="520" y="383"/>
                    <a:pt x="534" y="326"/>
                    <a:pt x="530" y="270"/>
                  </a:cubicBezTo>
                  <a:cubicBezTo>
                    <a:pt x="526" y="262"/>
                    <a:pt x="524" y="256"/>
                    <a:pt x="524" y="256"/>
                  </a:cubicBezTo>
                  <a:cubicBezTo>
                    <a:pt x="518" y="242"/>
                    <a:pt x="517" y="217"/>
                    <a:pt x="503" y="209"/>
                  </a:cubicBezTo>
                  <a:close/>
                  <a:moveTo>
                    <a:pt x="403" y="477"/>
                  </a:moveTo>
                  <a:cubicBezTo>
                    <a:pt x="404" y="467"/>
                    <a:pt x="428" y="440"/>
                    <a:pt x="428" y="462"/>
                  </a:cubicBezTo>
                  <a:cubicBezTo>
                    <a:pt x="425" y="475"/>
                    <a:pt x="401" y="505"/>
                    <a:pt x="403" y="477"/>
                  </a:cubicBezTo>
                  <a:close/>
                </a:path>
              </a:pathLst>
            </a:cu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5" name="Freeform 205">
              <a:extLst>
                <a:ext uri="{FF2B5EF4-FFF2-40B4-BE49-F238E27FC236}">
                  <a16:creationId xmlns:a16="http://schemas.microsoft.com/office/drawing/2014/main" id="{9012E70D-E064-4D96-AB7C-59B494DAD1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25713" y="-3182938"/>
              <a:ext cx="1236663" cy="1438275"/>
            </a:xfrm>
            <a:custGeom>
              <a:avLst/>
              <a:gdLst>
                <a:gd name="T0" fmla="*/ 294 w 414"/>
                <a:gd name="T1" fmla="*/ 28 h 482"/>
                <a:gd name="T2" fmla="*/ 236 w 414"/>
                <a:gd name="T3" fmla="*/ 0 h 482"/>
                <a:gd name="T4" fmla="*/ 136 w 414"/>
                <a:gd name="T5" fmla="*/ 28 h 482"/>
                <a:gd name="T6" fmla="*/ 183 w 414"/>
                <a:gd name="T7" fmla="*/ 30 h 482"/>
                <a:gd name="T8" fmla="*/ 134 w 414"/>
                <a:gd name="T9" fmla="*/ 48 h 482"/>
                <a:gd name="T10" fmla="*/ 88 w 414"/>
                <a:gd name="T11" fmla="*/ 70 h 482"/>
                <a:gd name="T12" fmla="*/ 56 w 414"/>
                <a:gd name="T13" fmla="*/ 104 h 482"/>
                <a:gd name="T14" fmla="*/ 116 w 414"/>
                <a:gd name="T15" fmla="*/ 99 h 482"/>
                <a:gd name="T16" fmla="*/ 147 w 414"/>
                <a:gd name="T17" fmla="*/ 126 h 482"/>
                <a:gd name="T18" fmla="*/ 148 w 414"/>
                <a:gd name="T19" fmla="*/ 91 h 482"/>
                <a:gd name="T20" fmla="*/ 197 w 414"/>
                <a:gd name="T21" fmla="*/ 121 h 482"/>
                <a:gd name="T22" fmla="*/ 208 w 414"/>
                <a:gd name="T23" fmla="*/ 106 h 482"/>
                <a:gd name="T24" fmla="*/ 239 w 414"/>
                <a:gd name="T25" fmla="*/ 80 h 482"/>
                <a:gd name="T26" fmla="*/ 223 w 414"/>
                <a:gd name="T27" fmla="*/ 101 h 482"/>
                <a:gd name="T28" fmla="*/ 252 w 414"/>
                <a:gd name="T29" fmla="*/ 149 h 482"/>
                <a:gd name="T30" fmla="*/ 181 w 414"/>
                <a:gd name="T31" fmla="*/ 160 h 482"/>
                <a:gd name="T32" fmla="*/ 93 w 414"/>
                <a:gd name="T33" fmla="*/ 125 h 482"/>
                <a:gd name="T34" fmla="*/ 6 w 414"/>
                <a:gd name="T35" fmla="*/ 190 h 482"/>
                <a:gd name="T36" fmla="*/ 38 w 414"/>
                <a:gd name="T37" fmla="*/ 288 h 482"/>
                <a:gd name="T38" fmla="*/ 119 w 414"/>
                <a:gd name="T39" fmla="*/ 307 h 482"/>
                <a:gd name="T40" fmla="*/ 132 w 414"/>
                <a:gd name="T41" fmla="*/ 347 h 482"/>
                <a:gd name="T42" fmla="*/ 149 w 414"/>
                <a:gd name="T43" fmla="*/ 427 h 482"/>
                <a:gd name="T44" fmla="*/ 208 w 414"/>
                <a:gd name="T45" fmla="*/ 471 h 482"/>
                <a:gd name="T46" fmla="*/ 301 w 414"/>
                <a:gd name="T47" fmla="*/ 377 h 482"/>
                <a:gd name="T48" fmla="*/ 322 w 414"/>
                <a:gd name="T49" fmla="*/ 309 h 482"/>
                <a:gd name="T50" fmla="*/ 317 w 414"/>
                <a:gd name="T51" fmla="*/ 258 h 482"/>
                <a:gd name="T52" fmla="*/ 288 w 414"/>
                <a:gd name="T53" fmla="*/ 216 h 482"/>
                <a:gd name="T54" fmla="*/ 291 w 414"/>
                <a:gd name="T55" fmla="*/ 198 h 482"/>
                <a:gd name="T56" fmla="*/ 360 w 414"/>
                <a:gd name="T57" fmla="*/ 200 h 482"/>
                <a:gd name="T58" fmla="*/ 318 w 414"/>
                <a:gd name="T59" fmla="*/ 158 h 482"/>
                <a:gd name="T60" fmla="*/ 351 w 414"/>
                <a:gd name="T61" fmla="*/ 169 h 482"/>
                <a:gd name="T62" fmla="*/ 408 w 414"/>
                <a:gd name="T63" fmla="*/ 217 h 482"/>
                <a:gd name="T64" fmla="*/ 307 w 414"/>
                <a:gd name="T65" fmla="*/ 38 h 482"/>
                <a:gd name="T66" fmla="*/ 295 w 414"/>
                <a:gd name="T67" fmla="*/ 113 h 482"/>
                <a:gd name="T68" fmla="*/ 302 w 414"/>
                <a:gd name="T69" fmla="*/ 97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4" h="482">
                  <a:moveTo>
                    <a:pt x="307" y="38"/>
                  </a:moveTo>
                  <a:cubicBezTo>
                    <a:pt x="303" y="34"/>
                    <a:pt x="298" y="31"/>
                    <a:pt x="294" y="28"/>
                  </a:cubicBezTo>
                  <a:cubicBezTo>
                    <a:pt x="289" y="25"/>
                    <a:pt x="284" y="22"/>
                    <a:pt x="279" y="19"/>
                  </a:cubicBezTo>
                  <a:cubicBezTo>
                    <a:pt x="265" y="11"/>
                    <a:pt x="251" y="5"/>
                    <a:pt x="236" y="0"/>
                  </a:cubicBezTo>
                  <a:cubicBezTo>
                    <a:pt x="226" y="32"/>
                    <a:pt x="200" y="1"/>
                    <a:pt x="174" y="6"/>
                  </a:cubicBezTo>
                  <a:cubicBezTo>
                    <a:pt x="164" y="8"/>
                    <a:pt x="137" y="15"/>
                    <a:pt x="136" y="28"/>
                  </a:cubicBezTo>
                  <a:cubicBezTo>
                    <a:pt x="135" y="43"/>
                    <a:pt x="154" y="41"/>
                    <a:pt x="163" y="37"/>
                  </a:cubicBezTo>
                  <a:cubicBezTo>
                    <a:pt x="167" y="35"/>
                    <a:pt x="181" y="19"/>
                    <a:pt x="183" y="30"/>
                  </a:cubicBezTo>
                  <a:cubicBezTo>
                    <a:pt x="186" y="43"/>
                    <a:pt x="164" y="48"/>
                    <a:pt x="156" y="49"/>
                  </a:cubicBezTo>
                  <a:cubicBezTo>
                    <a:pt x="149" y="49"/>
                    <a:pt x="142" y="45"/>
                    <a:pt x="134" y="48"/>
                  </a:cubicBezTo>
                  <a:cubicBezTo>
                    <a:pt x="127" y="51"/>
                    <a:pt x="125" y="59"/>
                    <a:pt x="119" y="63"/>
                  </a:cubicBezTo>
                  <a:cubicBezTo>
                    <a:pt x="111" y="67"/>
                    <a:pt x="94" y="61"/>
                    <a:pt x="88" y="70"/>
                  </a:cubicBezTo>
                  <a:cubicBezTo>
                    <a:pt x="81" y="81"/>
                    <a:pt x="102" y="85"/>
                    <a:pt x="94" y="94"/>
                  </a:cubicBezTo>
                  <a:cubicBezTo>
                    <a:pt x="87" y="102"/>
                    <a:pt x="67" y="85"/>
                    <a:pt x="56" y="104"/>
                  </a:cubicBezTo>
                  <a:cubicBezTo>
                    <a:pt x="46" y="125"/>
                    <a:pt x="64" y="126"/>
                    <a:pt x="79" y="119"/>
                  </a:cubicBezTo>
                  <a:cubicBezTo>
                    <a:pt x="92" y="113"/>
                    <a:pt x="101" y="102"/>
                    <a:pt x="116" y="99"/>
                  </a:cubicBezTo>
                  <a:cubicBezTo>
                    <a:pt x="126" y="97"/>
                    <a:pt x="147" y="97"/>
                    <a:pt x="151" y="110"/>
                  </a:cubicBezTo>
                  <a:cubicBezTo>
                    <a:pt x="153" y="117"/>
                    <a:pt x="145" y="121"/>
                    <a:pt x="147" y="126"/>
                  </a:cubicBezTo>
                  <a:cubicBezTo>
                    <a:pt x="153" y="137"/>
                    <a:pt x="163" y="125"/>
                    <a:pt x="163" y="117"/>
                  </a:cubicBezTo>
                  <a:cubicBezTo>
                    <a:pt x="162" y="110"/>
                    <a:pt x="145" y="95"/>
                    <a:pt x="148" y="91"/>
                  </a:cubicBezTo>
                  <a:cubicBezTo>
                    <a:pt x="157" y="78"/>
                    <a:pt x="174" y="114"/>
                    <a:pt x="177" y="117"/>
                  </a:cubicBezTo>
                  <a:cubicBezTo>
                    <a:pt x="181" y="120"/>
                    <a:pt x="192" y="126"/>
                    <a:pt x="197" y="121"/>
                  </a:cubicBezTo>
                  <a:cubicBezTo>
                    <a:pt x="202" y="116"/>
                    <a:pt x="194" y="106"/>
                    <a:pt x="197" y="104"/>
                  </a:cubicBezTo>
                  <a:cubicBezTo>
                    <a:pt x="200" y="103"/>
                    <a:pt x="206" y="108"/>
                    <a:pt x="208" y="106"/>
                  </a:cubicBezTo>
                  <a:cubicBezTo>
                    <a:pt x="212" y="101"/>
                    <a:pt x="210" y="96"/>
                    <a:pt x="213" y="91"/>
                  </a:cubicBezTo>
                  <a:cubicBezTo>
                    <a:pt x="219" y="80"/>
                    <a:pt x="226" y="77"/>
                    <a:pt x="239" y="80"/>
                  </a:cubicBezTo>
                  <a:cubicBezTo>
                    <a:pt x="247" y="81"/>
                    <a:pt x="266" y="91"/>
                    <a:pt x="256" y="100"/>
                  </a:cubicBezTo>
                  <a:cubicBezTo>
                    <a:pt x="247" y="107"/>
                    <a:pt x="231" y="97"/>
                    <a:pt x="223" y="101"/>
                  </a:cubicBezTo>
                  <a:cubicBezTo>
                    <a:pt x="190" y="115"/>
                    <a:pt x="248" y="119"/>
                    <a:pt x="252" y="123"/>
                  </a:cubicBezTo>
                  <a:cubicBezTo>
                    <a:pt x="259" y="130"/>
                    <a:pt x="258" y="142"/>
                    <a:pt x="252" y="149"/>
                  </a:cubicBezTo>
                  <a:cubicBezTo>
                    <a:pt x="239" y="164"/>
                    <a:pt x="221" y="147"/>
                    <a:pt x="206" y="146"/>
                  </a:cubicBezTo>
                  <a:cubicBezTo>
                    <a:pt x="191" y="145"/>
                    <a:pt x="192" y="156"/>
                    <a:pt x="181" y="160"/>
                  </a:cubicBezTo>
                  <a:cubicBezTo>
                    <a:pt x="171" y="165"/>
                    <a:pt x="161" y="158"/>
                    <a:pt x="152" y="152"/>
                  </a:cubicBezTo>
                  <a:cubicBezTo>
                    <a:pt x="130" y="138"/>
                    <a:pt x="123" y="121"/>
                    <a:pt x="93" y="125"/>
                  </a:cubicBezTo>
                  <a:cubicBezTo>
                    <a:pt x="65" y="129"/>
                    <a:pt x="45" y="138"/>
                    <a:pt x="30" y="162"/>
                  </a:cubicBezTo>
                  <a:cubicBezTo>
                    <a:pt x="24" y="173"/>
                    <a:pt x="13" y="180"/>
                    <a:pt x="6" y="190"/>
                  </a:cubicBezTo>
                  <a:cubicBezTo>
                    <a:pt x="0" y="200"/>
                    <a:pt x="1" y="210"/>
                    <a:pt x="3" y="223"/>
                  </a:cubicBezTo>
                  <a:cubicBezTo>
                    <a:pt x="6" y="244"/>
                    <a:pt x="15" y="278"/>
                    <a:pt x="38" y="288"/>
                  </a:cubicBezTo>
                  <a:cubicBezTo>
                    <a:pt x="56" y="295"/>
                    <a:pt x="70" y="275"/>
                    <a:pt x="88" y="288"/>
                  </a:cubicBezTo>
                  <a:cubicBezTo>
                    <a:pt x="100" y="297"/>
                    <a:pt x="103" y="303"/>
                    <a:pt x="119" y="307"/>
                  </a:cubicBezTo>
                  <a:cubicBezTo>
                    <a:pt x="129" y="309"/>
                    <a:pt x="132" y="308"/>
                    <a:pt x="135" y="318"/>
                  </a:cubicBezTo>
                  <a:cubicBezTo>
                    <a:pt x="137" y="326"/>
                    <a:pt x="131" y="339"/>
                    <a:pt x="132" y="347"/>
                  </a:cubicBezTo>
                  <a:cubicBezTo>
                    <a:pt x="133" y="361"/>
                    <a:pt x="141" y="368"/>
                    <a:pt x="146" y="381"/>
                  </a:cubicBezTo>
                  <a:cubicBezTo>
                    <a:pt x="151" y="396"/>
                    <a:pt x="143" y="412"/>
                    <a:pt x="149" y="427"/>
                  </a:cubicBezTo>
                  <a:cubicBezTo>
                    <a:pt x="153" y="438"/>
                    <a:pt x="163" y="444"/>
                    <a:pt x="168" y="454"/>
                  </a:cubicBezTo>
                  <a:cubicBezTo>
                    <a:pt x="178" y="477"/>
                    <a:pt x="182" y="482"/>
                    <a:pt x="208" y="471"/>
                  </a:cubicBezTo>
                  <a:cubicBezTo>
                    <a:pt x="234" y="461"/>
                    <a:pt x="254" y="446"/>
                    <a:pt x="267" y="422"/>
                  </a:cubicBezTo>
                  <a:cubicBezTo>
                    <a:pt x="277" y="404"/>
                    <a:pt x="298" y="401"/>
                    <a:pt x="301" y="377"/>
                  </a:cubicBezTo>
                  <a:cubicBezTo>
                    <a:pt x="302" y="365"/>
                    <a:pt x="298" y="354"/>
                    <a:pt x="302" y="342"/>
                  </a:cubicBezTo>
                  <a:cubicBezTo>
                    <a:pt x="305" y="329"/>
                    <a:pt x="314" y="320"/>
                    <a:pt x="322" y="309"/>
                  </a:cubicBezTo>
                  <a:cubicBezTo>
                    <a:pt x="330" y="300"/>
                    <a:pt x="361" y="258"/>
                    <a:pt x="338" y="255"/>
                  </a:cubicBezTo>
                  <a:cubicBezTo>
                    <a:pt x="325" y="254"/>
                    <a:pt x="330" y="264"/>
                    <a:pt x="317" y="258"/>
                  </a:cubicBezTo>
                  <a:cubicBezTo>
                    <a:pt x="314" y="256"/>
                    <a:pt x="308" y="248"/>
                    <a:pt x="306" y="245"/>
                  </a:cubicBezTo>
                  <a:cubicBezTo>
                    <a:pt x="300" y="236"/>
                    <a:pt x="294" y="226"/>
                    <a:pt x="288" y="216"/>
                  </a:cubicBezTo>
                  <a:cubicBezTo>
                    <a:pt x="285" y="211"/>
                    <a:pt x="253" y="172"/>
                    <a:pt x="256" y="169"/>
                  </a:cubicBezTo>
                  <a:cubicBezTo>
                    <a:pt x="261" y="163"/>
                    <a:pt x="288" y="194"/>
                    <a:pt x="291" y="198"/>
                  </a:cubicBezTo>
                  <a:cubicBezTo>
                    <a:pt x="301" y="212"/>
                    <a:pt x="307" y="238"/>
                    <a:pt x="328" y="236"/>
                  </a:cubicBezTo>
                  <a:cubicBezTo>
                    <a:pt x="343" y="235"/>
                    <a:pt x="359" y="214"/>
                    <a:pt x="360" y="200"/>
                  </a:cubicBezTo>
                  <a:cubicBezTo>
                    <a:pt x="362" y="176"/>
                    <a:pt x="346" y="187"/>
                    <a:pt x="331" y="178"/>
                  </a:cubicBezTo>
                  <a:cubicBezTo>
                    <a:pt x="329" y="177"/>
                    <a:pt x="312" y="162"/>
                    <a:pt x="318" y="158"/>
                  </a:cubicBezTo>
                  <a:cubicBezTo>
                    <a:pt x="322" y="156"/>
                    <a:pt x="328" y="162"/>
                    <a:pt x="331" y="163"/>
                  </a:cubicBezTo>
                  <a:cubicBezTo>
                    <a:pt x="340" y="167"/>
                    <a:pt x="341" y="169"/>
                    <a:pt x="351" y="169"/>
                  </a:cubicBezTo>
                  <a:cubicBezTo>
                    <a:pt x="361" y="170"/>
                    <a:pt x="378" y="165"/>
                    <a:pt x="387" y="170"/>
                  </a:cubicBezTo>
                  <a:cubicBezTo>
                    <a:pt x="401" y="178"/>
                    <a:pt x="402" y="203"/>
                    <a:pt x="408" y="217"/>
                  </a:cubicBezTo>
                  <a:cubicBezTo>
                    <a:pt x="408" y="217"/>
                    <a:pt x="410" y="223"/>
                    <a:pt x="414" y="231"/>
                  </a:cubicBezTo>
                  <a:cubicBezTo>
                    <a:pt x="408" y="157"/>
                    <a:pt x="371" y="85"/>
                    <a:pt x="307" y="38"/>
                  </a:cubicBezTo>
                  <a:close/>
                  <a:moveTo>
                    <a:pt x="316" y="117"/>
                  </a:moveTo>
                  <a:cubicBezTo>
                    <a:pt x="314" y="129"/>
                    <a:pt x="300" y="118"/>
                    <a:pt x="295" y="113"/>
                  </a:cubicBezTo>
                  <a:cubicBezTo>
                    <a:pt x="290" y="108"/>
                    <a:pt x="277" y="86"/>
                    <a:pt x="287" y="80"/>
                  </a:cubicBezTo>
                  <a:cubicBezTo>
                    <a:pt x="297" y="74"/>
                    <a:pt x="302" y="91"/>
                    <a:pt x="302" y="97"/>
                  </a:cubicBezTo>
                  <a:cubicBezTo>
                    <a:pt x="299" y="107"/>
                    <a:pt x="318" y="107"/>
                    <a:pt x="316" y="117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206">
              <a:extLst>
                <a:ext uri="{FF2B5EF4-FFF2-40B4-BE49-F238E27FC236}">
                  <a16:creationId xmlns:a16="http://schemas.microsoft.com/office/drawing/2014/main" id="{9A00E614-1BA0-40D1-ACD2-EDE62D8D4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70200" y="-2419350"/>
              <a:ext cx="280988" cy="561975"/>
            </a:xfrm>
            <a:custGeom>
              <a:avLst/>
              <a:gdLst>
                <a:gd name="T0" fmla="*/ 73 w 94"/>
                <a:gd name="T1" fmla="*/ 144 h 188"/>
                <a:gd name="T2" fmla="*/ 91 w 94"/>
                <a:gd name="T3" fmla="*/ 128 h 188"/>
                <a:gd name="T4" fmla="*/ 90 w 94"/>
                <a:gd name="T5" fmla="*/ 88 h 188"/>
                <a:gd name="T6" fmla="*/ 32 w 94"/>
                <a:gd name="T7" fmla="*/ 40 h 188"/>
                <a:gd name="T8" fmla="*/ 0 w 94"/>
                <a:gd name="T9" fmla="*/ 0 h 188"/>
                <a:gd name="T10" fmla="*/ 86 w 94"/>
                <a:gd name="T11" fmla="*/ 188 h 188"/>
                <a:gd name="T12" fmla="*/ 73 w 94"/>
                <a:gd name="T13" fmla="*/ 14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188">
                  <a:moveTo>
                    <a:pt x="73" y="144"/>
                  </a:moveTo>
                  <a:cubicBezTo>
                    <a:pt x="81" y="136"/>
                    <a:pt x="87" y="144"/>
                    <a:pt x="91" y="128"/>
                  </a:cubicBezTo>
                  <a:cubicBezTo>
                    <a:pt x="94" y="116"/>
                    <a:pt x="93" y="99"/>
                    <a:pt x="90" y="88"/>
                  </a:cubicBezTo>
                  <a:cubicBezTo>
                    <a:pt x="83" y="60"/>
                    <a:pt x="55" y="52"/>
                    <a:pt x="32" y="40"/>
                  </a:cubicBezTo>
                  <a:cubicBezTo>
                    <a:pt x="12" y="30"/>
                    <a:pt x="4" y="17"/>
                    <a:pt x="0" y="0"/>
                  </a:cubicBezTo>
                  <a:cubicBezTo>
                    <a:pt x="2" y="70"/>
                    <a:pt x="32" y="139"/>
                    <a:pt x="86" y="188"/>
                  </a:cubicBezTo>
                  <a:cubicBezTo>
                    <a:pt x="80" y="172"/>
                    <a:pt x="64" y="155"/>
                    <a:pt x="73" y="144"/>
                  </a:cubicBezTo>
                  <a:close/>
                </a:path>
              </a:pathLst>
            </a:custGeom>
            <a:solidFill>
              <a:srgbClr val="D8E5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207">
              <a:extLst>
                <a:ext uri="{FF2B5EF4-FFF2-40B4-BE49-F238E27FC236}">
                  <a16:creationId xmlns:a16="http://schemas.microsoft.com/office/drawing/2014/main" id="{730A75E4-7D1A-41D0-9C77-585AECA48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74963" y="-25019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8E5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208">
              <a:extLst>
                <a:ext uri="{FF2B5EF4-FFF2-40B4-BE49-F238E27FC236}">
                  <a16:creationId xmlns:a16="http://schemas.microsoft.com/office/drawing/2014/main" id="{8C011C7E-5D58-4120-A412-B6FE59568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74813" y="-1985963"/>
              <a:ext cx="80963" cy="193675"/>
            </a:xfrm>
            <a:custGeom>
              <a:avLst/>
              <a:gdLst>
                <a:gd name="T0" fmla="*/ 2 w 27"/>
                <a:gd name="T1" fmla="*/ 37 h 65"/>
                <a:gd name="T2" fmla="*/ 27 w 27"/>
                <a:gd name="T3" fmla="*/ 22 h 65"/>
                <a:gd name="T4" fmla="*/ 2 w 27"/>
                <a:gd name="T5" fmla="*/ 3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5">
                  <a:moveTo>
                    <a:pt x="2" y="37"/>
                  </a:moveTo>
                  <a:cubicBezTo>
                    <a:pt x="0" y="65"/>
                    <a:pt x="24" y="35"/>
                    <a:pt x="27" y="22"/>
                  </a:cubicBezTo>
                  <a:cubicBezTo>
                    <a:pt x="27" y="0"/>
                    <a:pt x="3" y="27"/>
                    <a:pt x="2" y="37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09">
              <a:extLst>
                <a:ext uri="{FF2B5EF4-FFF2-40B4-BE49-F238E27FC236}">
                  <a16:creationId xmlns:a16="http://schemas.microsoft.com/office/drawing/2014/main" id="{130D3B33-3287-455E-82EE-AADBD6A26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51313" y="-3630613"/>
              <a:ext cx="568325" cy="566738"/>
            </a:xfrm>
            <a:custGeom>
              <a:avLst/>
              <a:gdLst>
                <a:gd name="T0" fmla="*/ 180 w 190"/>
                <a:gd name="T1" fmla="*/ 104 h 190"/>
                <a:gd name="T2" fmla="*/ 86 w 190"/>
                <a:gd name="T3" fmla="*/ 10 h 190"/>
                <a:gd name="T4" fmla="*/ 49 w 190"/>
                <a:gd name="T5" fmla="*/ 10 h 190"/>
                <a:gd name="T6" fmla="*/ 0 w 190"/>
                <a:gd name="T7" fmla="*/ 58 h 190"/>
                <a:gd name="T8" fmla="*/ 132 w 190"/>
                <a:gd name="T9" fmla="*/ 190 h 190"/>
                <a:gd name="T10" fmla="*/ 180 w 190"/>
                <a:gd name="T11" fmla="*/ 141 h 190"/>
                <a:gd name="T12" fmla="*/ 180 w 190"/>
                <a:gd name="T13" fmla="*/ 10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90">
                  <a:moveTo>
                    <a:pt x="180" y="104"/>
                  </a:moveTo>
                  <a:cubicBezTo>
                    <a:pt x="86" y="10"/>
                    <a:pt x="86" y="10"/>
                    <a:pt x="86" y="10"/>
                  </a:cubicBezTo>
                  <a:cubicBezTo>
                    <a:pt x="76" y="0"/>
                    <a:pt x="59" y="0"/>
                    <a:pt x="49" y="1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32" y="190"/>
                    <a:pt x="132" y="190"/>
                    <a:pt x="132" y="190"/>
                  </a:cubicBezTo>
                  <a:cubicBezTo>
                    <a:pt x="180" y="141"/>
                    <a:pt x="180" y="141"/>
                    <a:pt x="180" y="141"/>
                  </a:cubicBezTo>
                  <a:cubicBezTo>
                    <a:pt x="190" y="131"/>
                    <a:pt x="190" y="115"/>
                    <a:pt x="180" y="104"/>
                  </a:cubicBezTo>
                  <a:close/>
                </a:path>
              </a:pathLst>
            </a:custGeom>
            <a:gradFill>
              <a:gsLst>
                <a:gs pos="0">
                  <a:srgbClr val="F9A09B"/>
                </a:gs>
                <a:gs pos="73000">
                  <a:srgbClr val="F5748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210">
              <a:extLst>
                <a:ext uri="{FF2B5EF4-FFF2-40B4-BE49-F238E27FC236}">
                  <a16:creationId xmlns:a16="http://schemas.microsoft.com/office/drawing/2014/main" id="{97C4E792-62D7-43F7-BA30-86C25D482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71950" y="-3457575"/>
              <a:ext cx="301625" cy="650875"/>
            </a:xfrm>
            <a:custGeom>
              <a:avLst/>
              <a:gdLst>
                <a:gd name="T0" fmla="*/ 13 w 190"/>
                <a:gd name="T1" fmla="*/ 0 h 410"/>
                <a:gd name="T2" fmla="*/ 0 w 190"/>
                <a:gd name="T3" fmla="*/ 410 h 410"/>
                <a:gd name="T4" fmla="*/ 190 w 190"/>
                <a:gd name="T5" fmla="*/ 176 h 410"/>
                <a:gd name="T6" fmla="*/ 13 w 190"/>
                <a:gd name="T7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" h="410">
                  <a:moveTo>
                    <a:pt x="13" y="0"/>
                  </a:moveTo>
                  <a:lnTo>
                    <a:pt x="0" y="410"/>
                  </a:lnTo>
                  <a:lnTo>
                    <a:pt x="190" y="176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211">
              <a:extLst>
                <a:ext uri="{FF2B5EF4-FFF2-40B4-BE49-F238E27FC236}">
                  <a16:creationId xmlns:a16="http://schemas.microsoft.com/office/drawing/2014/main" id="{F3688ADE-6F65-4F0E-98BD-1405AED12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3900" y="-3630613"/>
              <a:ext cx="568325" cy="566738"/>
            </a:xfrm>
            <a:custGeom>
              <a:avLst/>
              <a:gdLst>
                <a:gd name="T0" fmla="*/ 10 w 190"/>
                <a:gd name="T1" fmla="*/ 104 h 190"/>
                <a:gd name="T2" fmla="*/ 104 w 190"/>
                <a:gd name="T3" fmla="*/ 10 h 190"/>
                <a:gd name="T4" fmla="*/ 141 w 190"/>
                <a:gd name="T5" fmla="*/ 10 h 190"/>
                <a:gd name="T6" fmla="*/ 190 w 190"/>
                <a:gd name="T7" fmla="*/ 58 h 190"/>
                <a:gd name="T8" fmla="*/ 58 w 190"/>
                <a:gd name="T9" fmla="*/ 190 h 190"/>
                <a:gd name="T10" fmla="*/ 10 w 190"/>
                <a:gd name="T11" fmla="*/ 141 h 190"/>
                <a:gd name="T12" fmla="*/ 10 w 190"/>
                <a:gd name="T13" fmla="*/ 10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90">
                  <a:moveTo>
                    <a:pt x="10" y="104"/>
                  </a:moveTo>
                  <a:cubicBezTo>
                    <a:pt x="104" y="10"/>
                    <a:pt x="104" y="10"/>
                    <a:pt x="104" y="10"/>
                  </a:cubicBezTo>
                  <a:cubicBezTo>
                    <a:pt x="115" y="0"/>
                    <a:pt x="131" y="0"/>
                    <a:pt x="141" y="10"/>
                  </a:cubicBezTo>
                  <a:cubicBezTo>
                    <a:pt x="190" y="58"/>
                    <a:pt x="190" y="58"/>
                    <a:pt x="190" y="58"/>
                  </a:cubicBezTo>
                  <a:cubicBezTo>
                    <a:pt x="58" y="190"/>
                    <a:pt x="58" y="190"/>
                    <a:pt x="58" y="190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0" y="131"/>
                    <a:pt x="0" y="115"/>
                    <a:pt x="10" y="104"/>
                  </a:cubicBezTo>
                  <a:close/>
                </a:path>
              </a:pathLst>
            </a:custGeom>
            <a:gradFill>
              <a:gsLst>
                <a:gs pos="0">
                  <a:srgbClr val="F9A09B"/>
                </a:gs>
                <a:gs pos="73000">
                  <a:srgbClr val="F5748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212">
              <a:extLst>
                <a:ext uri="{FF2B5EF4-FFF2-40B4-BE49-F238E27FC236}">
                  <a16:creationId xmlns:a16="http://schemas.microsoft.com/office/drawing/2014/main" id="{654BEFD2-0BE2-4F6E-9BB9-1C037FFA7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76563" y="-3457575"/>
              <a:ext cx="301625" cy="650875"/>
            </a:xfrm>
            <a:custGeom>
              <a:avLst/>
              <a:gdLst>
                <a:gd name="T0" fmla="*/ 177 w 190"/>
                <a:gd name="T1" fmla="*/ 0 h 410"/>
                <a:gd name="T2" fmla="*/ 190 w 190"/>
                <a:gd name="T3" fmla="*/ 410 h 410"/>
                <a:gd name="T4" fmla="*/ 0 w 190"/>
                <a:gd name="T5" fmla="*/ 176 h 410"/>
                <a:gd name="T6" fmla="*/ 177 w 190"/>
                <a:gd name="T7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" h="410">
                  <a:moveTo>
                    <a:pt x="177" y="0"/>
                  </a:moveTo>
                  <a:lnTo>
                    <a:pt x="190" y="410"/>
                  </a:lnTo>
                  <a:lnTo>
                    <a:pt x="0" y="176"/>
                  </a:lnTo>
                  <a:lnTo>
                    <a:pt x="177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13">
              <a:extLst>
                <a:ext uri="{FF2B5EF4-FFF2-40B4-BE49-F238E27FC236}">
                  <a16:creationId xmlns:a16="http://schemas.microsoft.com/office/drawing/2014/main" id="{56E17861-B624-4DF0-B81C-C65DA4EDA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7288" y="-3508375"/>
              <a:ext cx="114300" cy="231775"/>
            </a:xfrm>
            <a:custGeom>
              <a:avLst/>
              <a:gdLst>
                <a:gd name="T0" fmla="*/ 0 w 72"/>
                <a:gd name="T1" fmla="*/ 146 h 146"/>
                <a:gd name="T2" fmla="*/ 72 w 72"/>
                <a:gd name="T3" fmla="*/ 116 h 146"/>
                <a:gd name="T4" fmla="*/ 72 w 72"/>
                <a:gd name="T5" fmla="*/ 0 h 146"/>
                <a:gd name="T6" fmla="*/ 0 w 72"/>
                <a:gd name="T7" fmla="*/ 0 h 146"/>
                <a:gd name="T8" fmla="*/ 0 w 72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46">
                  <a:moveTo>
                    <a:pt x="0" y="146"/>
                  </a:moveTo>
                  <a:lnTo>
                    <a:pt x="72" y="116"/>
                  </a:lnTo>
                  <a:lnTo>
                    <a:pt x="72" y="0"/>
                  </a:lnTo>
                  <a:lnTo>
                    <a:pt x="0" y="0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214">
              <a:extLst>
                <a:ext uri="{FF2B5EF4-FFF2-40B4-BE49-F238E27FC236}">
                  <a16:creationId xmlns:a16="http://schemas.microsoft.com/office/drawing/2014/main" id="{F1A24964-5C44-4374-9D94-9034F235A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0725" y="-3508375"/>
              <a:ext cx="111125" cy="231775"/>
            </a:xfrm>
            <a:custGeom>
              <a:avLst/>
              <a:gdLst>
                <a:gd name="T0" fmla="*/ 0 w 70"/>
                <a:gd name="T1" fmla="*/ 0 h 146"/>
                <a:gd name="T2" fmla="*/ 0 w 70"/>
                <a:gd name="T3" fmla="*/ 116 h 146"/>
                <a:gd name="T4" fmla="*/ 70 w 70"/>
                <a:gd name="T5" fmla="*/ 146 h 146"/>
                <a:gd name="T6" fmla="*/ 70 w 70"/>
                <a:gd name="T7" fmla="*/ 0 h 146"/>
                <a:gd name="T8" fmla="*/ 0 w 70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46">
                  <a:moveTo>
                    <a:pt x="0" y="0"/>
                  </a:moveTo>
                  <a:lnTo>
                    <a:pt x="0" y="116"/>
                  </a:lnTo>
                  <a:lnTo>
                    <a:pt x="70" y="146"/>
                  </a:lnTo>
                  <a:lnTo>
                    <a:pt x="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215">
              <a:extLst>
                <a:ext uri="{FF2B5EF4-FFF2-40B4-BE49-F238E27FC236}">
                  <a16:creationId xmlns:a16="http://schemas.microsoft.com/office/drawing/2014/main" id="{457AE9C0-ED3E-45CF-BDEC-A74E47FBB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7288" y="-3616325"/>
              <a:ext cx="547688" cy="107950"/>
            </a:xfrm>
            <a:custGeom>
              <a:avLst/>
              <a:gdLst>
                <a:gd name="T0" fmla="*/ 277 w 345"/>
                <a:gd name="T1" fmla="*/ 0 h 68"/>
                <a:gd name="T2" fmla="*/ 173 w 345"/>
                <a:gd name="T3" fmla="*/ 0 h 68"/>
                <a:gd name="T4" fmla="*/ 68 w 345"/>
                <a:gd name="T5" fmla="*/ 0 h 68"/>
                <a:gd name="T6" fmla="*/ 0 w 345"/>
                <a:gd name="T7" fmla="*/ 68 h 68"/>
                <a:gd name="T8" fmla="*/ 72 w 345"/>
                <a:gd name="T9" fmla="*/ 68 h 68"/>
                <a:gd name="T10" fmla="*/ 173 w 345"/>
                <a:gd name="T11" fmla="*/ 68 h 68"/>
                <a:gd name="T12" fmla="*/ 275 w 345"/>
                <a:gd name="T13" fmla="*/ 68 h 68"/>
                <a:gd name="T14" fmla="*/ 345 w 345"/>
                <a:gd name="T15" fmla="*/ 68 h 68"/>
                <a:gd name="T16" fmla="*/ 277 w 345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68">
                  <a:moveTo>
                    <a:pt x="277" y="0"/>
                  </a:moveTo>
                  <a:lnTo>
                    <a:pt x="173" y="0"/>
                  </a:lnTo>
                  <a:lnTo>
                    <a:pt x="68" y="0"/>
                  </a:lnTo>
                  <a:lnTo>
                    <a:pt x="0" y="68"/>
                  </a:lnTo>
                  <a:lnTo>
                    <a:pt x="72" y="68"/>
                  </a:lnTo>
                  <a:lnTo>
                    <a:pt x="173" y="68"/>
                  </a:lnTo>
                  <a:lnTo>
                    <a:pt x="275" y="68"/>
                  </a:lnTo>
                  <a:lnTo>
                    <a:pt x="345" y="68"/>
                  </a:lnTo>
                  <a:lnTo>
                    <a:pt x="277" y="0"/>
                  </a:lnTo>
                  <a:close/>
                </a:path>
              </a:pathLst>
            </a:custGeom>
            <a:gradFill>
              <a:gsLst>
                <a:gs pos="0">
                  <a:srgbClr val="F5748A"/>
                </a:gs>
                <a:gs pos="100000">
                  <a:srgbClr val="531B96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216">
              <a:extLst>
                <a:ext uri="{FF2B5EF4-FFF2-40B4-BE49-F238E27FC236}">
                  <a16:creationId xmlns:a16="http://schemas.microsoft.com/office/drawing/2014/main" id="{567946CB-BDBD-44E9-84DF-75AB7D3EF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76725" y="-3406775"/>
              <a:ext cx="1706563" cy="2163763"/>
            </a:xfrm>
            <a:custGeom>
              <a:avLst/>
              <a:gdLst>
                <a:gd name="T0" fmla="*/ 286 w 571"/>
                <a:gd name="T1" fmla="*/ 7 h 725"/>
                <a:gd name="T2" fmla="*/ 0 w 571"/>
                <a:gd name="T3" fmla="*/ 359 h 725"/>
                <a:gd name="T4" fmla="*/ 0 w 571"/>
                <a:gd name="T5" fmla="*/ 725 h 725"/>
                <a:gd name="T6" fmla="*/ 571 w 571"/>
                <a:gd name="T7" fmla="*/ 725 h 725"/>
                <a:gd name="T8" fmla="*/ 571 w 571"/>
                <a:gd name="T9" fmla="*/ 359 h 725"/>
                <a:gd name="T10" fmla="*/ 286 w 571"/>
                <a:gd name="T11" fmla="*/ 7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725">
                  <a:moveTo>
                    <a:pt x="286" y="7"/>
                  </a:moveTo>
                  <a:cubicBezTo>
                    <a:pt x="286" y="7"/>
                    <a:pt x="0" y="0"/>
                    <a:pt x="0" y="359"/>
                  </a:cubicBezTo>
                  <a:cubicBezTo>
                    <a:pt x="0" y="725"/>
                    <a:pt x="0" y="725"/>
                    <a:pt x="0" y="725"/>
                  </a:cubicBezTo>
                  <a:cubicBezTo>
                    <a:pt x="571" y="725"/>
                    <a:pt x="571" y="725"/>
                    <a:pt x="571" y="725"/>
                  </a:cubicBezTo>
                  <a:cubicBezTo>
                    <a:pt x="571" y="359"/>
                    <a:pt x="571" y="359"/>
                    <a:pt x="571" y="359"/>
                  </a:cubicBezTo>
                  <a:cubicBezTo>
                    <a:pt x="571" y="0"/>
                    <a:pt x="286" y="7"/>
                    <a:pt x="286" y="7"/>
                  </a:cubicBezTo>
                  <a:close/>
                </a:path>
              </a:pathLst>
            </a:custGeom>
            <a:gradFill>
              <a:gsLst>
                <a:gs pos="0">
                  <a:srgbClr val="F9A09B"/>
                </a:gs>
                <a:gs pos="100000">
                  <a:srgbClr val="F5748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17">
              <a:extLst>
                <a:ext uri="{FF2B5EF4-FFF2-40B4-BE49-F238E27FC236}">
                  <a16:creationId xmlns:a16="http://schemas.microsoft.com/office/drawing/2014/main" id="{B9A25C81-6AC6-4AF9-966D-2372B1ABB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05275" y="-2195513"/>
              <a:ext cx="1363663" cy="854075"/>
            </a:xfrm>
            <a:custGeom>
              <a:avLst/>
              <a:gdLst>
                <a:gd name="T0" fmla="*/ 432 w 457"/>
                <a:gd name="T1" fmla="*/ 286 h 286"/>
                <a:gd name="T2" fmla="*/ 25 w 457"/>
                <a:gd name="T3" fmla="*/ 286 h 286"/>
                <a:gd name="T4" fmla="*/ 0 w 457"/>
                <a:gd name="T5" fmla="*/ 262 h 286"/>
                <a:gd name="T6" fmla="*/ 0 w 457"/>
                <a:gd name="T7" fmla="*/ 25 h 286"/>
                <a:gd name="T8" fmla="*/ 25 w 457"/>
                <a:gd name="T9" fmla="*/ 0 h 286"/>
                <a:gd name="T10" fmla="*/ 432 w 457"/>
                <a:gd name="T11" fmla="*/ 0 h 286"/>
                <a:gd name="T12" fmla="*/ 457 w 457"/>
                <a:gd name="T13" fmla="*/ 25 h 286"/>
                <a:gd name="T14" fmla="*/ 457 w 457"/>
                <a:gd name="T15" fmla="*/ 262 h 286"/>
                <a:gd name="T16" fmla="*/ 432 w 457"/>
                <a:gd name="T17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7" h="286">
                  <a:moveTo>
                    <a:pt x="432" y="286"/>
                  </a:moveTo>
                  <a:cubicBezTo>
                    <a:pt x="25" y="286"/>
                    <a:pt x="25" y="286"/>
                    <a:pt x="25" y="286"/>
                  </a:cubicBezTo>
                  <a:cubicBezTo>
                    <a:pt x="12" y="286"/>
                    <a:pt x="0" y="275"/>
                    <a:pt x="0" y="26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2" y="0"/>
                    <a:pt x="25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46" y="0"/>
                    <a:pt x="457" y="11"/>
                    <a:pt x="457" y="25"/>
                  </a:cubicBezTo>
                  <a:cubicBezTo>
                    <a:pt x="457" y="262"/>
                    <a:pt x="457" y="262"/>
                    <a:pt x="457" y="262"/>
                  </a:cubicBezTo>
                  <a:cubicBezTo>
                    <a:pt x="457" y="275"/>
                    <a:pt x="446" y="286"/>
                    <a:pt x="432" y="286"/>
                  </a:cubicBez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100000">
                  <a:schemeClr val="tx2">
                    <a:lumMod val="20000"/>
                    <a:lumOff val="8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218">
              <a:extLst>
                <a:ext uri="{FF2B5EF4-FFF2-40B4-BE49-F238E27FC236}">
                  <a16:creationId xmlns:a16="http://schemas.microsoft.com/office/drawing/2014/main" id="{12FA5BB5-2F17-4EC2-AA2B-B3101D0C3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02113" y="-3305175"/>
              <a:ext cx="1557338" cy="1004888"/>
            </a:xfrm>
            <a:custGeom>
              <a:avLst/>
              <a:gdLst>
                <a:gd name="T0" fmla="*/ 521 w 521"/>
                <a:gd name="T1" fmla="*/ 337 h 337"/>
                <a:gd name="T2" fmla="*/ 261 w 521"/>
                <a:gd name="T3" fmla="*/ 0 h 337"/>
                <a:gd name="T4" fmla="*/ 0 w 521"/>
                <a:gd name="T5" fmla="*/ 33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21" h="337">
                  <a:moveTo>
                    <a:pt x="521" y="337"/>
                  </a:moveTo>
                  <a:cubicBezTo>
                    <a:pt x="521" y="337"/>
                    <a:pt x="518" y="0"/>
                    <a:pt x="261" y="0"/>
                  </a:cubicBezTo>
                  <a:cubicBezTo>
                    <a:pt x="3" y="0"/>
                    <a:pt x="0" y="337"/>
                    <a:pt x="0" y="337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Line 219">
              <a:extLst>
                <a:ext uri="{FF2B5EF4-FFF2-40B4-BE49-F238E27FC236}">
                  <a16:creationId xmlns:a16="http://schemas.microsoft.com/office/drawing/2014/main" id="{6E2BD358-7F27-4D23-8E48-459B6A4A9E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4105275" y="-2033588"/>
              <a:ext cx="1363663" cy="0"/>
            </a:xfrm>
            <a:prstGeom prst="line">
              <a:avLst/>
            </a:prstGeom>
            <a:noFill/>
            <a:ln w="158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220">
              <a:extLst>
                <a:ext uri="{FF2B5EF4-FFF2-40B4-BE49-F238E27FC236}">
                  <a16:creationId xmlns:a16="http://schemas.microsoft.com/office/drawing/2014/main" id="{6F32B05A-2A05-49D9-A117-382F62971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68625" y="-2033588"/>
              <a:ext cx="98425" cy="131763"/>
            </a:xfrm>
            <a:custGeom>
              <a:avLst/>
              <a:gdLst>
                <a:gd name="T0" fmla="*/ 27 w 33"/>
                <a:gd name="T1" fmla="*/ 15 h 44"/>
                <a:gd name="T2" fmla="*/ 27 w 33"/>
                <a:gd name="T3" fmla="*/ 0 h 44"/>
                <a:gd name="T4" fmla="*/ 6 w 33"/>
                <a:gd name="T5" fmla="*/ 0 h 44"/>
                <a:gd name="T6" fmla="*/ 6 w 33"/>
                <a:gd name="T7" fmla="*/ 15 h 44"/>
                <a:gd name="T8" fmla="*/ 0 w 33"/>
                <a:gd name="T9" fmla="*/ 27 h 44"/>
                <a:gd name="T10" fmla="*/ 17 w 33"/>
                <a:gd name="T11" fmla="*/ 44 h 44"/>
                <a:gd name="T12" fmla="*/ 33 w 33"/>
                <a:gd name="T13" fmla="*/ 27 h 44"/>
                <a:gd name="T14" fmla="*/ 27 w 33"/>
                <a:gd name="T15" fmla="*/ 15 h 44"/>
                <a:gd name="T16" fmla="*/ 17 w 33"/>
                <a:gd name="T17" fmla="*/ 33 h 44"/>
                <a:gd name="T18" fmla="*/ 11 w 33"/>
                <a:gd name="T19" fmla="*/ 27 h 44"/>
                <a:gd name="T20" fmla="*/ 17 w 33"/>
                <a:gd name="T21" fmla="*/ 21 h 44"/>
                <a:gd name="T22" fmla="*/ 23 w 33"/>
                <a:gd name="T23" fmla="*/ 27 h 44"/>
                <a:gd name="T24" fmla="*/ 17 w 33"/>
                <a:gd name="T25" fmla="*/ 3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4">
                  <a:moveTo>
                    <a:pt x="27" y="15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8"/>
                    <a:pt x="0" y="22"/>
                    <a:pt x="0" y="27"/>
                  </a:cubicBezTo>
                  <a:cubicBezTo>
                    <a:pt x="0" y="36"/>
                    <a:pt x="8" y="44"/>
                    <a:pt x="17" y="44"/>
                  </a:cubicBezTo>
                  <a:cubicBezTo>
                    <a:pt x="26" y="44"/>
                    <a:pt x="33" y="36"/>
                    <a:pt x="33" y="27"/>
                  </a:cubicBezTo>
                  <a:cubicBezTo>
                    <a:pt x="33" y="22"/>
                    <a:pt x="31" y="18"/>
                    <a:pt x="27" y="15"/>
                  </a:cubicBezTo>
                  <a:close/>
                  <a:moveTo>
                    <a:pt x="17" y="33"/>
                  </a:moveTo>
                  <a:cubicBezTo>
                    <a:pt x="13" y="33"/>
                    <a:pt x="11" y="31"/>
                    <a:pt x="11" y="27"/>
                  </a:cubicBezTo>
                  <a:cubicBezTo>
                    <a:pt x="11" y="24"/>
                    <a:pt x="13" y="21"/>
                    <a:pt x="17" y="21"/>
                  </a:cubicBezTo>
                  <a:cubicBezTo>
                    <a:pt x="20" y="21"/>
                    <a:pt x="23" y="24"/>
                    <a:pt x="23" y="27"/>
                  </a:cubicBezTo>
                  <a:cubicBezTo>
                    <a:pt x="23" y="31"/>
                    <a:pt x="20" y="33"/>
                    <a:pt x="17" y="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221">
              <a:extLst>
                <a:ext uri="{FF2B5EF4-FFF2-40B4-BE49-F238E27FC236}">
                  <a16:creationId xmlns:a16="http://schemas.microsoft.com/office/drawing/2014/main" id="{78A31DF4-8E88-4B32-A9C9-AB219A6C16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49738" y="-2314575"/>
              <a:ext cx="98425" cy="131763"/>
            </a:xfrm>
            <a:custGeom>
              <a:avLst/>
              <a:gdLst>
                <a:gd name="T0" fmla="*/ 26 w 33"/>
                <a:gd name="T1" fmla="*/ 15 h 44"/>
                <a:gd name="T2" fmla="*/ 26 w 33"/>
                <a:gd name="T3" fmla="*/ 0 h 44"/>
                <a:gd name="T4" fmla="*/ 6 w 33"/>
                <a:gd name="T5" fmla="*/ 0 h 44"/>
                <a:gd name="T6" fmla="*/ 6 w 33"/>
                <a:gd name="T7" fmla="*/ 15 h 44"/>
                <a:gd name="T8" fmla="*/ 0 w 33"/>
                <a:gd name="T9" fmla="*/ 28 h 44"/>
                <a:gd name="T10" fmla="*/ 16 w 33"/>
                <a:gd name="T11" fmla="*/ 44 h 44"/>
                <a:gd name="T12" fmla="*/ 33 w 33"/>
                <a:gd name="T13" fmla="*/ 28 h 44"/>
                <a:gd name="T14" fmla="*/ 26 w 33"/>
                <a:gd name="T15" fmla="*/ 15 h 44"/>
                <a:gd name="T16" fmla="*/ 16 w 33"/>
                <a:gd name="T17" fmla="*/ 34 h 44"/>
                <a:gd name="T18" fmla="*/ 10 w 33"/>
                <a:gd name="T19" fmla="*/ 28 h 44"/>
                <a:gd name="T20" fmla="*/ 16 w 33"/>
                <a:gd name="T21" fmla="*/ 22 h 44"/>
                <a:gd name="T22" fmla="*/ 22 w 33"/>
                <a:gd name="T23" fmla="*/ 28 h 44"/>
                <a:gd name="T24" fmla="*/ 16 w 33"/>
                <a:gd name="T25" fmla="*/ 3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4">
                  <a:moveTo>
                    <a:pt x="26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8"/>
                    <a:pt x="0" y="23"/>
                    <a:pt x="0" y="28"/>
                  </a:cubicBezTo>
                  <a:cubicBezTo>
                    <a:pt x="0" y="37"/>
                    <a:pt x="7" y="44"/>
                    <a:pt x="16" y="44"/>
                  </a:cubicBezTo>
                  <a:cubicBezTo>
                    <a:pt x="25" y="44"/>
                    <a:pt x="33" y="37"/>
                    <a:pt x="33" y="28"/>
                  </a:cubicBezTo>
                  <a:cubicBezTo>
                    <a:pt x="33" y="23"/>
                    <a:pt x="30" y="18"/>
                    <a:pt x="26" y="15"/>
                  </a:cubicBezTo>
                  <a:close/>
                  <a:moveTo>
                    <a:pt x="16" y="34"/>
                  </a:moveTo>
                  <a:cubicBezTo>
                    <a:pt x="13" y="34"/>
                    <a:pt x="10" y="31"/>
                    <a:pt x="10" y="28"/>
                  </a:cubicBezTo>
                  <a:cubicBezTo>
                    <a:pt x="10" y="24"/>
                    <a:pt x="13" y="22"/>
                    <a:pt x="16" y="22"/>
                  </a:cubicBezTo>
                  <a:cubicBezTo>
                    <a:pt x="19" y="22"/>
                    <a:pt x="22" y="24"/>
                    <a:pt x="22" y="28"/>
                  </a:cubicBezTo>
                  <a:cubicBezTo>
                    <a:pt x="22" y="31"/>
                    <a:pt x="19" y="34"/>
                    <a:pt x="16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222">
              <a:extLst>
                <a:ext uri="{FF2B5EF4-FFF2-40B4-BE49-F238E27FC236}">
                  <a16:creationId xmlns:a16="http://schemas.microsoft.com/office/drawing/2014/main" id="{665A9577-B214-4D49-8BC1-F7194F5E5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76725" y="-1243013"/>
              <a:ext cx="1706563" cy="125413"/>
            </a:xfrm>
            <a:custGeom>
              <a:avLst/>
              <a:gdLst>
                <a:gd name="T0" fmla="*/ 42 w 571"/>
                <a:gd name="T1" fmla="*/ 42 h 42"/>
                <a:gd name="T2" fmla="*/ 529 w 571"/>
                <a:gd name="T3" fmla="*/ 42 h 42"/>
                <a:gd name="T4" fmla="*/ 571 w 571"/>
                <a:gd name="T5" fmla="*/ 0 h 42"/>
                <a:gd name="T6" fmla="*/ 571 w 571"/>
                <a:gd name="T7" fmla="*/ 0 h 42"/>
                <a:gd name="T8" fmla="*/ 0 w 571"/>
                <a:gd name="T9" fmla="*/ 0 h 42"/>
                <a:gd name="T10" fmla="*/ 0 w 571"/>
                <a:gd name="T11" fmla="*/ 0 h 42"/>
                <a:gd name="T12" fmla="*/ 42 w 571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1" h="42">
                  <a:moveTo>
                    <a:pt x="42" y="42"/>
                  </a:moveTo>
                  <a:cubicBezTo>
                    <a:pt x="529" y="42"/>
                    <a:pt x="529" y="42"/>
                    <a:pt x="529" y="42"/>
                  </a:cubicBezTo>
                  <a:cubicBezTo>
                    <a:pt x="552" y="42"/>
                    <a:pt x="571" y="24"/>
                    <a:pt x="571" y="0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19" y="42"/>
                    <a:pt x="42" y="42"/>
                  </a:cubicBezTo>
                  <a:close/>
                </a:path>
              </a:pathLst>
            </a:custGeom>
            <a:gradFill>
              <a:gsLst>
                <a:gs pos="0">
                  <a:srgbClr val="F5748A"/>
                </a:gs>
                <a:gs pos="100000">
                  <a:srgbClr val="531B96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Rectangle 223">
              <a:extLst>
                <a:ext uri="{FF2B5EF4-FFF2-40B4-BE49-F238E27FC236}">
                  <a16:creationId xmlns:a16="http://schemas.microsoft.com/office/drawing/2014/main" id="{ECCEC034-E556-4288-8BDE-260E388B3B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792663" y="-1416050"/>
              <a:ext cx="765175" cy="2984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Rectangle 224">
              <a:extLst>
                <a:ext uri="{FF2B5EF4-FFF2-40B4-BE49-F238E27FC236}">
                  <a16:creationId xmlns:a16="http://schemas.microsoft.com/office/drawing/2014/main" id="{98D9AA41-A32F-4313-894D-A370D3FA9C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11800" y="-1374775"/>
              <a:ext cx="719138" cy="2159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Rectangle 225">
              <a:extLst>
                <a:ext uri="{FF2B5EF4-FFF2-40B4-BE49-F238E27FC236}">
                  <a16:creationId xmlns:a16="http://schemas.microsoft.com/office/drawing/2014/main" id="{8E29E846-6596-460F-8779-C8F7F15B15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11800" y="-1198563"/>
              <a:ext cx="719138" cy="3968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226">
              <a:extLst>
                <a:ext uri="{FF2B5EF4-FFF2-40B4-BE49-F238E27FC236}">
                  <a16:creationId xmlns:a16="http://schemas.microsoft.com/office/drawing/2014/main" id="{059141CB-2E20-4863-B5F7-AF74D5143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45138" y="-1416050"/>
              <a:ext cx="793750" cy="298450"/>
            </a:xfrm>
            <a:custGeom>
              <a:avLst/>
              <a:gdLst>
                <a:gd name="T0" fmla="*/ 474 w 500"/>
                <a:gd name="T1" fmla="*/ 0 h 188"/>
                <a:gd name="T2" fmla="*/ 0 w 500"/>
                <a:gd name="T3" fmla="*/ 0 h 188"/>
                <a:gd name="T4" fmla="*/ 0 w 500"/>
                <a:gd name="T5" fmla="*/ 26 h 188"/>
                <a:gd name="T6" fmla="*/ 474 w 500"/>
                <a:gd name="T7" fmla="*/ 26 h 188"/>
                <a:gd name="T8" fmla="*/ 474 w 500"/>
                <a:gd name="T9" fmla="*/ 162 h 188"/>
                <a:gd name="T10" fmla="*/ 0 w 500"/>
                <a:gd name="T11" fmla="*/ 162 h 188"/>
                <a:gd name="T12" fmla="*/ 0 w 500"/>
                <a:gd name="T13" fmla="*/ 188 h 188"/>
                <a:gd name="T14" fmla="*/ 474 w 500"/>
                <a:gd name="T15" fmla="*/ 188 h 188"/>
                <a:gd name="T16" fmla="*/ 500 w 500"/>
                <a:gd name="T17" fmla="*/ 188 h 188"/>
                <a:gd name="T18" fmla="*/ 500 w 500"/>
                <a:gd name="T19" fmla="*/ 0 h 188"/>
                <a:gd name="T20" fmla="*/ 474 w 500"/>
                <a:gd name="T21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0" h="188">
                  <a:moveTo>
                    <a:pt x="474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474" y="26"/>
                  </a:lnTo>
                  <a:lnTo>
                    <a:pt x="474" y="162"/>
                  </a:lnTo>
                  <a:lnTo>
                    <a:pt x="0" y="162"/>
                  </a:lnTo>
                  <a:lnTo>
                    <a:pt x="0" y="188"/>
                  </a:lnTo>
                  <a:lnTo>
                    <a:pt x="474" y="188"/>
                  </a:lnTo>
                  <a:lnTo>
                    <a:pt x="500" y="188"/>
                  </a:lnTo>
                  <a:lnTo>
                    <a:pt x="500" y="0"/>
                  </a:lnTo>
                  <a:lnTo>
                    <a:pt x="47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27">
              <a:extLst>
                <a:ext uri="{FF2B5EF4-FFF2-40B4-BE49-F238E27FC236}">
                  <a16:creationId xmlns:a16="http://schemas.microsoft.com/office/drawing/2014/main" id="{B30665BE-4B69-4893-A76C-46237A94D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89588" y="-1974850"/>
              <a:ext cx="1020763" cy="212725"/>
            </a:xfrm>
            <a:custGeom>
              <a:avLst/>
              <a:gdLst>
                <a:gd name="T0" fmla="*/ 342 w 342"/>
                <a:gd name="T1" fmla="*/ 0 h 71"/>
                <a:gd name="T2" fmla="*/ 24 w 342"/>
                <a:gd name="T3" fmla="*/ 0 h 71"/>
                <a:gd name="T4" fmla="*/ 0 w 342"/>
                <a:gd name="T5" fmla="*/ 24 h 71"/>
                <a:gd name="T6" fmla="*/ 0 w 342"/>
                <a:gd name="T7" fmla="*/ 47 h 71"/>
                <a:gd name="T8" fmla="*/ 24 w 342"/>
                <a:gd name="T9" fmla="*/ 71 h 71"/>
                <a:gd name="T10" fmla="*/ 342 w 342"/>
                <a:gd name="T11" fmla="*/ 71 h 71"/>
                <a:gd name="T12" fmla="*/ 342 w 342"/>
                <a:gd name="T1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2" h="71">
                  <a:moveTo>
                    <a:pt x="342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60"/>
                    <a:pt x="11" y="71"/>
                    <a:pt x="24" y="71"/>
                  </a:cubicBezTo>
                  <a:cubicBezTo>
                    <a:pt x="342" y="71"/>
                    <a:pt x="342" y="71"/>
                    <a:pt x="342" y="71"/>
                  </a:cubicBezTo>
                  <a:lnTo>
                    <a:pt x="34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Rectangle 228">
              <a:extLst>
                <a:ext uri="{FF2B5EF4-FFF2-40B4-BE49-F238E27FC236}">
                  <a16:creationId xmlns:a16="http://schemas.microsoft.com/office/drawing/2014/main" id="{3D9E41F9-413D-4E04-A1A3-B6D55FB8C2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527550" y="-1931988"/>
              <a:ext cx="514350" cy="1285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Rectangle 229">
              <a:extLst>
                <a:ext uri="{FF2B5EF4-FFF2-40B4-BE49-F238E27FC236}">
                  <a16:creationId xmlns:a16="http://schemas.microsoft.com/office/drawing/2014/main" id="{B45F69E0-DEFD-4015-969C-8499FD5270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527550" y="-1931988"/>
              <a:ext cx="514350" cy="412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230">
              <a:extLst>
                <a:ext uri="{FF2B5EF4-FFF2-40B4-BE49-F238E27FC236}">
                  <a16:creationId xmlns:a16="http://schemas.microsoft.com/office/drawing/2014/main" id="{796FCB60-9649-4239-A288-5E32D43D1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8825" y="-1974850"/>
              <a:ext cx="588963" cy="212725"/>
            </a:xfrm>
            <a:custGeom>
              <a:avLst/>
              <a:gdLst>
                <a:gd name="T0" fmla="*/ 371 w 371"/>
                <a:gd name="T1" fmla="*/ 27 h 134"/>
                <a:gd name="T2" fmla="*/ 371 w 371"/>
                <a:gd name="T3" fmla="*/ 0 h 134"/>
                <a:gd name="T4" fmla="*/ 26 w 371"/>
                <a:gd name="T5" fmla="*/ 0 h 134"/>
                <a:gd name="T6" fmla="*/ 0 w 371"/>
                <a:gd name="T7" fmla="*/ 0 h 134"/>
                <a:gd name="T8" fmla="*/ 0 w 371"/>
                <a:gd name="T9" fmla="*/ 134 h 134"/>
                <a:gd name="T10" fmla="*/ 26 w 371"/>
                <a:gd name="T11" fmla="*/ 134 h 134"/>
                <a:gd name="T12" fmla="*/ 371 w 371"/>
                <a:gd name="T13" fmla="*/ 134 h 134"/>
                <a:gd name="T14" fmla="*/ 371 w 371"/>
                <a:gd name="T15" fmla="*/ 108 h 134"/>
                <a:gd name="T16" fmla="*/ 26 w 371"/>
                <a:gd name="T17" fmla="*/ 108 h 134"/>
                <a:gd name="T18" fmla="*/ 26 w 371"/>
                <a:gd name="T19" fmla="*/ 27 h 134"/>
                <a:gd name="T20" fmla="*/ 371 w 371"/>
                <a:gd name="T21" fmla="*/ 27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1" h="134">
                  <a:moveTo>
                    <a:pt x="371" y="27"/>
                  </a:moveTo>
                  <a:lnTo>
                    <a:pt x="371" y="0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134"/>
                  </a:lnTo>
                  <a:lnTo>
                    <a:pt x="26" y="134"/>
                  </a:lnTo>
                  <a:lnTo>
                    <a:pt x="371" y="134"/>
                  </a:lnTo>
                  <a:lnTo>
                    <a:pt x="371" y="108"/>
                  </a:lnTo>
                  <a:lnTo>
                    <a:pt x="26" y="108"/>
                  </a:lnTo>
                  <a:lnTo>
                    <a:pt x="26" y="27"/>
                  </a:lnTo>
                  <a:lnTo>
                    <a:pt x="371" y="2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Rectangle 231">
              <a:extLst>
                <a:ext uri="{FF2B5EF4-FFF2-40B4-BE49-F238E27FC236}">
                  <a16:creationId xmlns:a16="http://schemas.microsoft.com/office/drawing/2014/main" id="{83871B71-03B6-4EBA-BE77-24698BAE46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446713" y="-1762125"/>
              <a:ext cx="576263" cy="34607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Rectangle 232">
              <a:extLst>
                <a:ext uri="{FF2B5EF4-FFF2-40B4-BE49-F238E27FC236}">
                  <a16:creationId xmlns:a16="http://schemas.microsoft.com/office/drawing/2014/main" id="{F42959C9-7A88-46CF-A68E-3A01DAFF0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870450" y="-1720850"/>
              <a:ext cx="692150" cy="2667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Rectangle 233">
              <a:extLst>
                <a:ext uri="{FF2B5EF4-FFF2-40B4-BE49-F238E27FC236}">
                  <a16:creationId xmlns:a16="http://schemas.microsoft.com/office/drawing/2014/main" id="{F37EF5E3-8DD5-470C-8281-11B5546B12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870450" y="-1720850"/>
              <a:ext cx="692150" cy="396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234">
              <a:extLst>
                <a:ext uri="{FF2B5EF4-FFF2-40B4-BE49-F238E27FC236}">
                  <a16:creationId xmlns:a16="http://schemas.microsoft.com/office/drawing/2014/main" id="{88AED160-0F18-42B2-8190-2F8F8D906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46713" y="-1762125"/>
              <a:ext cx="576263" cy="346075"/>
            </a:xfrm>
            <a:custGeom>
              <a:avLst/>
              <a:gdLst>
                <a:gd name="T0" fmla="*/ 363 w 363"/>
                <a:gd name="T1" fmla="*/ 26 h 218"/>
                <a:gd name="T2" fmla="*/ 363 w 363"/>
                <a:gd name="T3" fmla="*/ 0 h 218"/>
                <a:gd name="T4" fmla="*/ 24 w 363"/>
                <a:gd name="T5" fmla="*/ 0 h 218"/>
                <a:gd name="T6" fmla="*/ 0 w 363"/>
                <a:gd name="T7" fmla="*/ 0 h 218"/>
                <a:gd name="T8" fmla="*/ 0 w 363"/>
                <a:gd name="T9" fmla="*/ 218 h 218"/>
                <a:gd name="T10" fmla="*/ 24 w 363"/>
                <a:gd name="T11" fmla="*/ 218 h 218"/>
                <a:gd name="T12" fmla="*/ 363 w 363"/>
                <a:gd name="T13" fmla="*/ 218 h 218"/>
                <a:gd name="T14" fmla="*/ 363 w 363"/>
                <a:gd name="T15" fmla="*/ 194 h 218"/>
                <a:gd name="T16" fmla="*/ 24 w 363"/>
                <a:gd name="T17" fmla="*/ 194 h 218"/>
                <a:gd name="T18" fmla="*/ 24 w 363"/>
                <a:gd name="T19" fmla="*/ 26 h 218"/>
                <a:gd name="T20" fmla="*/ 363 w 363"/>
                <a:gd name="T21" fmla="*/ 2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3" h="218">
                  <a:moveTo>
                    <a:pt x="363" y="26"/>
                  </a:moveTo>
                  <a:lnTo>
                    <a:pt x="363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218"/>
                  </a:lnTo>
                  <a:lnTo>
                    <a:pt x="24" y="218"/>
                  </a:lnTo>
                  <a:lnTo>
                    <a:pt x="363" y="218"/>
                  </a:lnTo>
                  <a:lnTo>
                    <a:pt x="363" y="194"/>
                  </a:lnTo>
                  <a:lnTo>
                    <a:pt x="24" y="194"/>
                  </a:lnTo>
                  <a:lnTo>
                    <a:pt x="24" y="26"/>
                  </a:lnTo>
                  <a:lnTo>
                    <a:pt x="363" y="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Rectangle 235">
              <a:extLst>
                <a:ext uri="{FF2B5EF4-FFF2-40B4-BE49-F238E27FC236}">
                  <a16:creationId xmlns:a16="http://schemas.microsoft.com/office/drawing/2014/main" id="{0646EFF5-5595-4BB1-B661-5E71DA7625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870450" y="-1762125"/>
              <a:ext cx="692150" cy="4127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Rectangle 236">
              <a:extLst>
                <a:ext uri="{FF2B5EF4-FFF2-40B4-BE49-F238E27FC236}">
                  <a16:creationId xmlns:a16="http://schemas.microsoft.com/office/drawing/2014/main" id="{ECD014FD-0059-473C-99F0-8DC2A9A0E8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870450" y="-1454150"/>
              <a:ext cx="692150" cy="3810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Rectangle 237">
              <a:extLst>
                <a:ext uri="{FF2B5EF4-FFF2-40B4-BE49-F238E27FC236}">
                  <a16:creationId xmlns:a16="http://schemas.microsoft.com/office/drawing/2014/main" id="{A7771C13-F17E-424E-8499-D88157DDB7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94238" y="-1416050"/>
              <a:ext cx="80963" cy="29845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Rectangle 238">
              <a:extLst>
                <a:ext uri="{FF2B5EF4-FFF2-40B4-BE49-F238E27FC236}">
                  <a16:creationId xmlns:a16="http://schemas.microsoft.com/office/drawing/2014/main" id="{C1260FFF-1EE3-4C49-AEC7-114CE89ACB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152900" y="-1416050"/>
              <a:ext cx="79375" cy="29845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Line 239">
              <a:extLst>
                <a:ext uri="{FF2B5EF4-FFF2-40B4-BE49-F238E27FC236}">
                  <a16:creationId xmlns:a16="http://schemas.microsoft.com/office/drawing/2014/main" id="{2CCF4383-555D-4DA6-8867-DE2F788A3CF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5348288" y="-1347788"/>
              <a:ext cx="466725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Line 240">
              <a:extLst>
                <a:ext uri="{FF2B5EF4-FFF2-40B4-BE49-F238E27FC236}">
                  <a16:creationId xmlns:a16="http://schemas.microsoft.com/office/drawing/2014/main" id="{2BD14812-177D-4AD6-998C-BAA8B70A64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5135563" y="-1589088"/>
              <a:ext cx="465138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Line 241">
              <a:extLst>
                <a:ext uri="{FF2B5EF4-FFF2-40B4-BE49-F238E27FC236}">
                  <a16:creationId xmlns:a16="http://schemas.microsoft.com/office/drawing/2014/main" id="{427FDAD7-6663-46A7-B620-5E638953C3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4633913" y="-1544638"/>
              <a:ext cx="455613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Line 242">
              <a:extLst>
                <a:ext uri="{FF2B5EF4-FFF2-40B4-BE49-F238E27FC236}">
                  <a16:creationId xmlns:a16="http://schemas.microsoft.com/office/drawing/2014/main" id="{67753157-D2BA-4659-A9E0-2A86953DBA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4792663" y="-1654175"/>
              <a:ext cx="465138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Line 243">
              <a:extLst>
                <a:ext uri="{FF2B5EF4-FFF2-40B4-BE49-F238E27FC236}">
                  <a16:creationId xmlns:a16="http://schemas.microsoft.com/office/drawing/2014/main" id="{F03EF034-3C92-4504-945A-98002B0D2F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4681538" y="-1630363"/>
              <a:ext cx="354013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Line 244">
              <a:extLst>
                <a:ext uri="{FF2B5EF4-FFF2-40B4-BE49-F238E27FC236}">
                  <a16:creationId xmlns:a16="http://schemas.microsoft.com/office/drawing/2014/main" id="{39CCA3D1-DDEF-4314-B461-22F43039C3D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4500563" y="-1866900"/>
              <a:ext cx="355600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Line 245">
              <a:extLst>
                <a:ext uri="{FF2B5EF4-FFF2-40B4-BE49-F238E27FC236}">
                  <a16:creationId xmlns:a16="http://schemas.microsoft.com/office/drawing/2014/main" id="{28D4F0CD-F260-4B0C-A6E3-5044278751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4352925" y="-1843088"/>
              <a:ext cx="339725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Line 246">
              <a:extLst>
                <a:ext uri="{FF2B5EF4-FFF2-40B4-BE49-F238E27FC236}">
                  <a16:creationId xmlns:a16="http://schemas.microsoft.com/office/drawing/2014/main" id="{9419AA38-9C30-4F70-9A11-5B28EB9B1E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5280025" y="-1490663"/>
              <a:ext cx="355600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Line 247">
              <a:extLst>
                <a:ext uri="{FF2B5EF4-FFF2-40B4-BE49-F238E27FC236}">
                  <a16:creationId xmlns:a16="http://schemas.microsoft.com/office/drawing/2014/main" id="{2B5CA707-F99A-4D46-B100-0890ECE6AE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5392738" y="-1266825"/>
              <a:ext cx="355600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248">
              <a:extLst>
                <a:ext uri="{FF2B5EF4-FFF2-40B4-BE49-F238E27FC236}">
                  <a16:creationId xmlns:a16="http://schemas.microsoft.com/office/drawing/2014/main" id="{18B5FEF2-3FEE-4820-9EEF-635806679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30488" y="-1263650"/>
              <a:ext cx="314325" cy="149225"/>
            </a:xfrm>
            <a:custGeom>
              <a:avLst/>
              <a:gdLst>
                <a:gd name="T0" fmla="*/ 0 w 105"/>
                <a:gd name="T1" fmla="*/ 21 h 50"/>
                <a:gd name="T2" fmla="*/ 29 w 105"/>
                <a:gd name="T3" fmla="*/ 50 h 50"/>
                <a:gd name="T4" fmla="*/ 30 w 105"/>
                <a:gd name="T5" fmla="*/ 50 h 50"/>
                <a:gd name="T6" fmla="*/ 75 w 105"/>
                <a:gd name="T7" fmla="*/ 50 h 50"/>
                <a:gd name="T8" fmla="*/ 76 w 105"/>
                <a:gd name="T9" fmla="*/ 50 h 50"/>
                <a:gd name="T10" fmla="*/ 105 w 105"/>
                <a:gd name="T11" fmla="*/ 21 h 50"/>
                <a:gd name="T12" fmla="*/ 105 w 105"/>
                <a:gd name="T13" fmla="*/ 0 h 50"/>
                <a:gd name="T14" fmla="*/ 0 w 105"/>
                <a:gd name="T15" fmla="*/ 0 h 50"/>
                <a:gd name="T16" fmla="*/ 0 w 105"/>
                <a:gd name="T17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50">
                  <a:moveTo>
                    <a:pt x="0" y="21"/>
                  </a:moveTo>
                  <a:cubicBezTo>
                    <a:pt x="0" y="37"/>
                    <a:pt x="13" y="50"/>
                    <a:pt x="29" y="50"/>
                  </a:cubicBezTo>
                  <a:cubicBezTo>
                    <a:pt x="29" y="50"/>
                    <a:pt x="29" y="50"/>
                    <a:pt x="30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6" y="50"/>
                  </a:cubicBezTo>
                  <a:cubicBezTo>
                    <a:pt x="92" y="50"/>
                    <a:pt x="105" y="37"/>
                    <a:pt x="105" y="21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9" name="Freeform 249">
              <a:extLst>
                <a:ext uri="{FF2B5EF4-FFF2-40B4-BE49-F238E27FC236}">
                  <a16:creationId xmlns:a16="http://schemas.microsoft.com/office/drawing/2014/main" id="{5A0D5163-A09E-4DE0-90C4-BEB0ED04C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30488" y="-2006600"/>
              <a:ext cx="314325" cy="444500"/>
            </a:xfrm>
            <a:custGeom>
              <a:avLst/>
              <a:gdLst>
                <a:gd name="T0" fmla="*/ 99 w 105"/>
                <a:gd name="T1" fmla="*/ 130 h 149"/>
                <a:gd name="T2" fmla="*/ 105 w 105"/>
                <a:gd name="T3" fmla="*/ 82 h 149"/>
                <a:gd name="T4" fmla="*/ 70 w 105"/>
                <a:gd name="T5" fmla="*/ 23 h 149"/>
                <a:gd name="T6" fmla="*/ 70 w 105"/>
                <a:gd name="T7" fmla="*/ 0 h 149"/>
                <a:gd name="T8" fmla="*/ 52 w 105"/>
                <a:gd name="T9" fmla="*/ 0 h 149"/>
                <a:gd name="T10" fmla="*/ 35 w 105"/>
                <a:gd name="T11" fmla="*/ 0 h 149"/>
                <a:gd name="T12" fmla="*/ 35 w 105"/>
                <a:gd name="T13" fmla="*/ 23 h 149"/>
                <a:gd name="T14" fmla="*/ 0 w 105"/>
                <a:gd name="T15" fmla="*/ 82 h 149"/>
                <a:gd name="T16" fmla="*/ 6 w 105"/>
                <a:gd name="T17" fmla="*/ 130 h 149"/>
                <a:gd name="T18" fmla="*/ 3 w 105"/>
                <a:gd name="T19" fmla="*/ 149 h 149"/>
                <a:gd name="T20" fmla="*/ 102 w 105"/>
                <a:gd name="T21" fmla="*/ 149 h 149"/>
                <a:gd name="T22" fmla="*/ 99 w 105"/>
                <a:gd name="T23" fmla="*/ 1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9">
                  <a:moveTo>
                    <a:pt x="99" y="130"/>
                  </a:moveTo>
                  <a:cubicBezTo>
                    <a:pt x="96" y="113"/>
                    <a:pt x="105" y="99"/>
                    <a:pt x="105" y="82"/>
                  </a:cubicBezTo>
                  <a:cubicBezTo>
                    <a:pt x="105" y="49"/>
                    <a:pt x="70" y="23"/>
                    <a:pt x="70" y="2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0" y="49"/>
                    <a:pt x="0" y="82"/>
                  </a:cubicBezTo>
                  <a:cubicBezTo>
                    <a:pt x="0" y="99"/>
                    <a:pt x="8" y="113"/>
                    <a:pt x="6" y="130"/>
                  </a:cubicBezTo>
                  <a:cubicBezTo>
                    <a:pt x="4" y="137"/>
                    <a:pt x="4" y="143"/>
                    <a:pt x="3" y="149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1" y="143"/>
                    <a:pt x="100" y="137"/>
                    <a:pt x="99" y="13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250">
              <a:extLst>
                <a:ext uri="{FF2B5EF4-FFF2-40B4-BE49-F238E27FC236}">
                  <a16:creationId xmlns:a16="http://schemas.microsoft.com/office/drawing/2014/main" id="{3B95AED6-FFA5-469E-9A95-48B9E913B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30488" y="-1562100"/>
              <a:ext cx="314325" cy="298450"/>
            </a:xfrm>
            <a:custGeom>
              <a:avLst/>
              <a:gdLst>
                <a:gd name="T0" fmla="*/ 102 w 105"/>
                <a:gd name="T1" fmla="*/ 0 h 100"/>
                <a:gd name="T2" fmla="*/ 3 w 105"/>
                <a:gd name="T3" fmla="*/ 0 h 100"/>
                <a:gd name="T4" fmla="*/ 0 w 105"/>
                <a:gd name="T5" fmla="*/ 59 h 100"/>
                <a:gd name="T6" fmla="*/ 0 w 105"/>
                <a:gd name="T7" fmla="*/ 100 h 100"/>
                <a:gd name="T8" fmla="*/ 105 w 105"/>
                <a:gd name="T9" fmla="*/ 100 h 100"/>
                <a:gd name="T10" fmla="*/ 105 w 105"/>
                <a:gd name="T11" fmla="*/ 5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100">
                  <a:moveTo>
                    <a:pt x="102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20"/>
                    <a:pt x="0" y="39"/>
                    <a:pt x="0" y="5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05" y="59"/>
                    <a:pt x="105" y="59"/>
                    <a:pt x="105" y="59"/>
                  </a:cubicBezTo>
                </a:path>
              </a:pathLst>
            </a:custGeom>
            <a:gradFill>
              <a:gsLst>
                <a:gs pos="0">
                  <a:srgbClr val="3B40A3"/>
                </a:gs>
                <a:gs pos="100000">
                  <a:srgbClr val="531B96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Rectangle 251">
              <a:extLst>
                <a:ext uri="{FF2B5EF4-FFF2-40B4-BE49-F238E27FC236}">
                  <a16:creationId xmlns:a16="http://schemas.microsoft.com/office/drawing/2014/main" id="{BE8AB54A-FA73-4244-85D7-DA8727F58E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535238" y="-2019300"/>
              <a:ext cx="122238" cy="74613"/>
            </a:xfrm>
            <a:prstGeom prst="rect">
              <a:avLst/>
            </a:prstGeom>
            <a:gradFill>
              <a:gsLst>
                <a:gs pos="0">
                  <a:srgbClr val="3B40A3"/>
                </a:gs>
                <a:gs pos="100000">
                  <a:srgbClr val="531B96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Line 252">
              <a:extLst>
                <a:ext uri="{FF2B5EF4-FFF2-40B4-BE49-F238E27FC236}">
                  <a16:creationId xmlns:a16="http://schemas.microsoft.com/office/drawing/2014/main" id="{C41FE849-AFFB-43EB-83B4-B66776B453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586038" y="-1803400"/>
              <a:ext cx="219075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Line 253">
              <a:extLst>
                <a:ext uri="{FF2B5EF4-FFF2-40B4-BE49-F238E27FC236}">
                  <a16:creationId xmlns:a16="http://schemas.microsoft.com/office/drawing/2014/main" id="{5CBB8F18-F679-4662-9A82-5C4B0E0E3B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492375" y="-1762125"/>
              <a:ext cx="146050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Line 254">
              <a:extLst>
                <a:ext uri="{FF2B5EF4-FFF2-40B4-BE49-F238E27FC236}">
                  <a16:creationId xmlns:a16="http://schemas.microsoft.com/office/drawing/2014/main" id="{2FA61E03-9DA8-438F-A371-21E77B9B46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568575" y="-1681163"/>
              <a:ext cx="96838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Line 255">
              <a:extLst>
                <a:ext uri="{FF2B5EF4-FFF2-40B4-BE49-F238E27FC236}">
                  <a16:creationId xmlns:a16="http://schemas.microsoft.com/office/drawing/2014/main" id="{BAF2A816-CBE2-4CD8-9118-64A65FA8D4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568575" y="-1203325"/>
              <a:ext cx="147638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Line 256">
              <a:extLst>
                <a:ext uri="{FF2B5EF4-FFF2-40B4-BE49-F238E27FC236}">
                  <a16:creationId xmlns:a16="http://schemas.microsoft.com/office/drawing/2014/main" id="{3CDEA4AD-2154-4C75-8F40-D5C88C0DB1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474913" y="-1179513"/>
              <a:ext cx="115888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57">
              <a:extLst>
                <a:ext uri="{FF2B5EF4-FFF2-40B4-BE49-F238E27FC236}">
                  <a16:creationId xmlns:a16="http://schemas.microsoft.com/office/drawing/2014/main" id="{9B74EE9C-D5E0-4E18-9A43-63F60A453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17825" y="-1490663"/>
              <a:ext cx="409575" cy="376238"/>
            </a:xfrm>
            <a:custGeom>
              <a:avLst/>
              <a:gdLst>
                <a:gd name="T0" fmla="*/ 0 w 137"/>
                <a:gd name="T1" fmla="*/ 63 h 126"/>
                <a:gd name="T2" fmla="*/ 68 w 137"/>
                <a:gd name="T3" fmla="*/ 125 h 126"/>
                <a:gd name="T4" fmla="*/ 137 w 137"/>
                <a:gd name="T5" fmla="*/ 63 h 126"/>
                <a:gd name="T6" fmla="*/ 68 w 137"/>
                <a:gd name="T7" fmla="*/ 0 h 126"/>
                <a:gd name="T8" fmla="*/ 0 w 137"/>
                <a:gd name="T9" fmla="*/ 6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26">
                  <a:moveTo>
                    <a:pt x="0" y="63"/>
                  </a:moveTo>
                  <a:cubicBezTo>
                    <a:pt x="0" y="125"/>
                    <a:pt x="30" y="125"/>
                    <a:pt x="68" y="125"/>
                  </a:cubicBezTo>
                  <a:cubicBezTo>
                    <a:pt x="106" y="125"/>
                    <a:pt x="137" y="126"/>
                    <a:pt x="137" y="63"/>
                  </a:cubicBezTo>
                  <a:cubicBezTo>
                    <a:pt x="137" y="28"/>
                    <a:pt x="106" y="0"/>
                    <a:pt x="68" y="0"/>
                  </a:cubicBezTo>
                  <a:cubicBezTo>
                    <a:pt x="30" y="0"/>
                    <a:pt x="0" y="28"/>
                    <a:pt x="0" y="6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258">
              <a:extLst>
                <a:ext uri="{FF2B5EF4-FFF2-40B4-BE49-F238E27FC236}">
                  <a16:creationId xmlns:a16="http://schemas.microsoft.com/office/drawing/2014/main" id="{56079AF0-4FE8-4153-864B-007E8AEFA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14625" y="-1527175"/>
              <a:ext cx="138113" cy="125413"/>
            </a:xfrm>
            <a:custGeom>
              <a:avLst/>
              <a:gdLst>
                <a:gd name="T0" fmla="*/ 43 w 46"/>
                <a:gd name="T1" fmla="*/ 3 h 42"/>
                <a:gd name="T2" fmla="*/ 0 w 46"/>
                <a:gd name="T3" fmla="*/ 42 h 42"/>
                <a:gd name="T4" fmla="*/ 43 w 46"/>
                <a:gd name="T5" fmla="*/ 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2">
                  <a:moveTo>
                    <a:pt x="43" y="3"/>
                  </a:moveTo>
                  <a:cubicBezTo>
                    <a:pt x="43" y="3"/>
                    <a:pt x="0" y="0"/>
                    <a:pt x="0" y="42"/>
                  </a:cubicBezTo>
                  <a:cubicBezTo>
                    <a:pt x="46" y="42"/>
                    <a:pt x="43" y="3"/>
                    <a:pt x="43" y="3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259">
              <a:extLst>
                <a:ext uri="{FF2B5EF4-FFF2-40B4-BE49-F238E27FC236}">
                  <a16:creationId xmlns:a16="http://schemas.microsoft.com/office/drawing/2014/main" id="{C4EB2BBA-D158-4D5D-B2C9-9574190D3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03813" y="-3795713"/>
              <a:ext cx="403225" cy="487363"/>
            </a:xfrm>
            <a:custGeom>
              <a:avLst/>
              <a:gdLst>
                <a:gd name="T0" fmla="*/ 0 w 135"/>
                <a:gd name="T1" fmla="*/ 0 h 163"/>
                <a:gd name="T2" fmla="*/ 77 w 135"/>
                <a:gd name="T3" fmla="*/ 119 h 163"/>
                <a:gd name="T4" fmla="*/ 0 w 135"/>
                <a:gd name="T5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5" h="163">
                  <a:moveTo>
                    <a:pt x="0" y="0"/>
                  </a:moveTo>
                  <a:cubicBezTo>
                    <a:pt x="0" y="0"/>
                    <a:pt x="135" y="78"/>
                    <a:pt x="77" y="119"/>
                  </a:cubicBezTo>
                  <a:cubicBezTo>
                    <a:pt x="17" y="16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260">
              <a:extLst>
                <a:ext uri="{FF2B5EF4-FFF2-40B4-BE49-F238E27FC236}">
                  <a16:creationId xmlns:a16="http://schemas.microsoft.com/office/drawing/2014/main" id="{642E2525-B0BA-45FE-8B1D-60D882CAE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0175" y="-3395663"/>
              <a:ext cx="346075" cy="325438"/>
            </a:xfrm>
            <a:custGeom>
              <a:avLst/>
              <a:gdLst>
                <a:gd name="T0" fmla="*/ 0 w 116"/>
                <a:gd name="T1" fmla="*/ 26 h 109"/>
                <a:gd name="T2" fmla="*/ 105 w 116"/>
                <a:gd name="T3" fmla="*/ 53 h 109"/>
                <a:gd name="T4" fmla="*/ 0 w 116"/>
                <a:gd name="T5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6" h="109">
                  <a:moveTo>
                    <a:pt x="0" y="26"/>
                  </a:moveTo>
                  <a:cubicBezTo>
                    <a:pt x="0" y="26"/>
                    <a:pt x="116" y="0"/>
                    <a:pt x="105" y="53"/>
                  </a:cubicBezTo>
                  <a:cubicBezTo>
                    <a:pt x="93" y="109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61">
              <a:extLst>
                <a:ext uri="{FF2B5EF4-FFF2-40B4-BE49-F238E27FC236}">
                  <a16:creationId xmlns:a16="http://schemas.microsoft.com/office/drawing/2014/main" id="{1F3DFE10-5506-49B8-8964-4351760FB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32388" y="-3003550"/>
              <a:ext cx="354013" cy="322263"/>
            </a:xfrm>
            <a:custGeom>
              <a:avLst/>
              <a:gdLst>
                <a:gd name="T0" fmla="*/ 0 w 119"/>
                <a:gd name="T1" fmla="*/ 0 h 108"/>
                <a:gd name="T2" fmla="*/ 91 w 119"/>
                <a:gd name="T3" fmla="*/ 59 h 108"/>
                <a:gd name="T4" fmla="*/ 0 w 119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9" h="108">
                  <a:moveTo>
                    <a:pt x="0" y="0"/>
                  </a:moveTo>
                  <a:cubicBezTo>
                    <a:pt x="0" y="0"/>
                    <a:pt x="119" y="11"/>
                    <a:pt x="91" y="59"/>
                  </a:cubicBezTo>
                  <a:cubicBezTo>
                    <a:pt x="63" y="10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262">
              <a:extLst>
                <a:ext uri="{FF2B5EF4-FFF2-40B4-BE49-F238E27FC236}">
                  <a16:creationId xmlns:a16="http://schemas.microsoft.com/office/drawing/2014/main" id="{B0B3D57A-D0B4-4897-9DD4-7456BE497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56150" y="-3257550"/>
              <a:ext cx="373063" cy="298450"/>
            </a:xfrm>
            <a:custGeom>
              <a:avLst/>
              <a:gdLst>
                <a:gd name="T0" fmla="*/ 125 w 125"/>
                <a:gd name="T1" fmla="*/ 0 h 100"/>
                <a:gd name="T2" fmla="*/ 31 w 125"/>
                <a:gd name="T3" fmla="*/ 55 h 100"/>
                <a:gd name="T4" fmla="*/ 125 w 125"/>
                <a:gd name="T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" h="100">
                  <a:moveTo>
                    <a:pt x="125" y="0"/>
                  </a:moveTo>
                  <a:cubicBezTo>
                    <a:pt x="125" y="0"/>
                    <a:pt x="61" y="100"/>
                    <a:pt x="31" y="55"/>
                  </a:cubicBezTo>
                  <a:cubicBezTo>
                    <a:pt x="0" y="7"/>
                    <a:pt x="125" y="0"/>
                    <a:pt x="125" y="0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263">
              <a:extLst>
                <a:ext uri="{FF2B5EF4-FFF2-40B4-BE49-F238E27FC236}">
                  <a16:creationId xmlns:a16="http://schemas.microsoft.com/office/drawing/2014/main" id="{CB93B565-8A3A-473F-84B1-7029490F9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3938" y="-2840038"/>
              <a:ext cx="376238" cy="301625"/>
            </a:xfrm>
            <a:custGeom>
              <a:avLst/>
              <a:gdLst>
                <a:gd name="T0" fmla="*/ 126 w 126"/>
                <a:gd name="T1" fmla="*/ 0 h 101"/>
                <a:gd name="T2" fmla="*/ 32 w 126"/>
                <a:gd name="T3" fmla="*/ 55 h 101"/>
                <a:gd name="T4" fmla="*/ 126 w 126"/>
                <a:gd name="T5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6" h="101">
                  <a:moveTo>
                    <a:pt x="126" y="0"/>
                  </a:moveTo>
                  <a:cubicBezTo>
                    <a:pt x="126" y="0"/>
                    <a:pt x="61" y="101"/>
                    <a:pt x="32" y="55"/>
                  </a:cubicBezTo>
                  <a:cubicBezTo>
                    <a:pt x="0" y="7"/>
                    <a:pt x="126" y="0"/>
                    <a:pt x="126" y="0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264">
              <a:extLst>
                <a:ext uri="{FF2B5EF4-FFF2-40B4-BE49-F238E27FC236}">
                  <a16:creationId xmlns:a16="http://schemas.microsoft.com/office/drawing/2014/main" id="{22FCDE1F-C145-433C-BC3C-63239BA5B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62525" y="-3582988"/>
              <a:ext cx="298450" cy="1035050"/>
            </a:xfrm>
            <a:custGeom>
              <a:avLst/>
              <a:gdLst>
                <a:gd name="T0" fmla="*/ 0 w 100"/>
                <a:gd name="T1" fmla="*/ 0 h 347"/>
                <a:gd name="T2" fmla="*/ 37 w 100"/>
                <a:gd name="T3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0" h="347">
                  <a:moveTo>
                    <a:pt x="0" y="0"/>
                  </a:moveTo>
                  <a:cubicBezTo>
                    <a:pt x="0" y="0"/>
                    <a:pt x="100" y="124"/>
                    <a:pt x="37" y="347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265">
              <a:extLst>
                <a:ext uri="{FF2B5EF4-FFF2-40B4-BE49-F238E27FC236}">
                  <a16:creationId xmlns:a16="http://schemas.microsoft.com/office/drawing/2014/main" id="{6D7478B4-67AB-4447-8C97-2B7EB5274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7113" y="-2717800"/>
              <a:ext cx="166688" cy="119063"/>
            </a:xfrm>
            <a:custGeom>
              <a:avLst/>
              <a:gdLst>
                <a:gd name="T0" fmla="*/ 56 w 56"/>
                <a:gd name="T1" fmla="*/ 0 h 40"/>
                <a:gd name="T2" fmla="*/ 0 w 56"/>
                <a:gd name="T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6" h="40">
                  <a:moveTo>
                    <a:pt x="56" y="0"/>
                  </a:moveTo>
                  <a:cubicBezTo>
                    <a:pt x="56" y="0"/>
                    <a:pt x="20" y="9"/>
                    <a:pt x="0" y="40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266">
              <a:extLst>
                <a:ext uri="{FF2B5EF4-FFF2-40B4-BE49-F238E27FC236}">
                  <a16:creationId xmlns:a16="http://schemas.microsoft.com/office/drawing/2014/main" id="{DEDD1D00-738E-4834-90C3-6D608F58A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51413" y="-3948113"/>
              <a:ext cx="595313" cy="579438"/>
            </a:xfrm>
            <a:custGeom>
              <a:avLst/>
              <a:gdLst>
                <a:gd name="T0" fmla="*/ 199 w 199"/>
                <a:gd name="T1" fmla="*/ 0 h 194"/>
                <a:gd name="T2" fmla="*/ 73 w 199"/>
                <a:gd name="T3" fmla="*/ 134 h 194"/>
                <a:gd name="T4" fmla="*/ 199 w 199"/>
                <a:gd name="T5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9" h="194">
                  <a:moveTo>
                    <a:pt x="199" y="0"/>
                  </a:moveTo>
                  <a:cubicBezTo>
                    <a:pt x="199" y="0"/>
                    <a:pt x="143" y="194"/>
                    <a:pt x="73" y="134"/>
                  </a:cubicBezTo>
                  <a:cubicBezTo>
                    <a:pt x="0" y="72"/>
                    <a:pt x="199" y="0"/>
                    <a:pt x="199" y="0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267">
              <a:extLst>
                <a:ext uri="{FF2B5EF4-FFF2-40B4-BE49-F238E27FC236}">
                  <a16:creationId xmlns:a16="http://schemas.microsoft.com/office/drawing/2014/main" id="{F62947ED-AD3A-4D9B-B907-4F0963592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2663" y="-3154363"/>
              <a:ext cx="212725" cy="257175"/>
            </a:xfrm>
            <a:custGeom>
              <a:avLst/>
              <a:gdLst>
                <a:gd name="T0" fmla="*/ 71 w 71"/>
                <a:gd name="T1" fmla="*/ 0 h 86"/>
                <a:gd name="T2" fmla="*/ 0 w 71"/>
                <a:gd name="T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1" h="86">
                  <a:moveTo>
                    <a:pt x="71" y="0"/>
                  </a:moveTo>
                  <a:cubicBezTo>
                    <a:pt x="71" y="0"/>
                    <a:pt x="18" y="25"/>
                    <a:pt x="0" y="86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268">
              <a:extLst>
                <a:ext uri="{FF2B5EF4-FFF2-40B4-BE49-F238E27FC236}">
                  <a16:creationId xmlns:a16="http://schemas.microsoft.com/office/drawing/2014/main" id="{F3F965D6-752F-4FE0-9ECF-A3B0F2264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0925" y="-3778250"/>
              <a:ext cx="357188" cy="498475"/>
            </a:xfrm>
            <a:custGeom>
              <a:avLst/>
              <a:gdLst>
                <a:gd name="T0" fmla="*/ 120 w 120"/>
                <a:gd name="T1" fmla="*/ 0 h 167"/>
                <a:gd name="T2" fmla="*/ 12 w 120"/>
                <a:gd name="T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0" h="167">
                  <a:moveTo>
                    <a:pt x="120" y="0"/>
                  </a:moveTo>
                  <a:cubicBezTo>
                    <a:pt x="120" y="0"/>
                    <a:pt x="0" y="90"/>
                    <a:pt x="12" y="167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69">
              <a:extLst>
                <a:ext uri="{FF2B5EF4-FFF2-40B4-BE49-F238E27FC236}">
                  <a16:creationId xmlns:a16="http://schemas.microsoft.com/office/drawing/2014/main" id="{7170D8EE-F1A6-41E5-9C34-ACC9D1FE9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05388" y="-3273425"/>
              <a:ext cx="206375" cy="149225"/>
            </a:xfrm>
            <a:custGeom>
              <a:avLst/>
              <a:gdLst>
                <a:gd name="T0" fmla="*/ 0 w 69"/>
                <a:gd name="T1" fmla="*/ 0 h 50"/>
                <a:gd name="T2" fmla="*/ 69 w 69"/>
                <a:gd name="T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9" h="50">
                  <a:moveTo>
                    <a:pt x="0" y="0"/>
                  </a:moveTo>
                  <a:cubicBezTo>
                    <a:pt x="0" y="0"/>
                    <a:pt x="42" y="1"/>
                    <a:pt x="69" y="50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270">
              <a:extLst>
                <a:ext uri="{FF2B5EF4-FFF2-40B4-BE49-F238E27FC236}">
                  <a16:creationId xmlns:a16="http://schemas.microsoft.com/office/drawing/2014/main" id="{0E20C4DF-CCF5-4E3F-905A-20A208C99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54588" y="-2903538"/>
              <a:ext cx="141288" cy="188913"/>
            </a:xfrm>
            <a:custGeom>
              <a:avLst/>
              <a:gdLst>
                <a:gd name="T0" fmla="*/ 0 w 47"/>
                <a:gd name="T1" fmla="*/ 0 h 63"/>
                <a:gd name="T2" fmla="*/ 47 w 47"/>
                <a:gd name="T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7" h="63">
                  <a:moveTo>
                    <a:pt x="0" y="0"/>
                  </a:moveTo>
                  <a:cubicBezTo>
                    <a:pt x="0" y="0"/>
                    <a:pt x="38" y="26"/>
                    <a:pt x="47" y="63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71">
              <a:extLst>
                <a:ext uri="{FF2B5EF4-FFF2-40B4-BE49-F238E27FC236}">
                  <a16:creationId xmlns:a16="http://schemas.microsoft.com/office/drawing/2014/main" id="{2A38B134-48CA-4B8F-B32B-6835920BD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32388" y="-3870325"/>
              <a:ext cx="427038" cy="531813"/>
            </a:xfrm>
            <a:custGeom>
              <a:avLst/>
              <a:gdLst>
                <a:gd name="T0" fmla="*/ 143 w 143"/>
                <a:gd name="T1" fmla="*/ 0 h 178"/>
                <a:gd name="T2" fmla="*/ 65 w 143"/>
                <a:gd name="T3" fmla="*/ 134 h 178"/>
                <a:gd name="T4" fmla="*/ 143 w 143"/>
                <a:gd name="T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3" h="178">
                  <a:moveTo>
                    <a:pt x="143" y="0"/>
                  </a:moveTo>
                  <a:cubicBezTo>
                    <a:pt x="143" y="0"/>
                    <a:pt x="0" y="92"/>
                    <a:pt x="65" y="134"/>
                  </a:cubicBezTo>
                  <a:cubicBezTo>
                    <a:pt x="133" y="178"/>
                    <a:pt x="143" y="0"/>
                    <a:pt x="143" y="0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272">
              <a:extLst>
                <a:ext uri="{FF2B5EF4-FFF2-40B4-BE49-F238E27FC236}">
                  <a16:creationId xmlns:a16="http://schemas.microsoft.com/office/drawing/2014/main" id="{550A8819-5555-4CD5-9878-ADFAA23CA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48238" y="-3422650"/>
              <a:ext cx="385763" cy="352425"/>
            </a:xfrm>
            <a:custGeom>
              <a:avLst/>
              <a:gdLst>
                <a:gd name="T0" fmla="*/ 129 w 129"/>
                <a:gd name="T1" fmla="*/ 22 h 118"/>
                <a:gd name="T2" fmla="*/ 15 w 129"/>
                <a:gd name="T3" fmla="*/ 58 h 118"/>
                <a:gd name="T4" fmla="*/ 129 w 129"/>
                <a:gd name="T5" fmla="*/ 2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" h="118">
                  <a:moveTo>
                    <a:pt x="129" y="22"/>
                  </a:moveTo>
                  <a:cubicBezTo>
                    <a:pt x="129" y="22"/>
                    <a:pt x="0" y="0"/>
                    <a:pt x="15" y="58"/>
                  </a:cubicBezTo>
                  <a:cubicBezTo>
                    <a:pt x="31" y="118"/>
                    <a:pt x="129" y="22"/>
                    <a:pt x="129" y="22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273">
              <a:extLst>
                <a:ext uri="{FF2B5EF4-FFF2-40B4-BE49-F238E27FC236}">
                  <a16:creationId xmlns:a16="http://schemas.microsoft.com/office/drawing/2014/main" id="{9BA4CC9F-8D3D-49A5-A56B-E3F96DB2F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6500" y="-3009900"/>
              <a:ext cx="385763" cy="363538"/>
            </a:xfrm>
            <a:custGeom>
              <a:avLst/>
              <a:gdLst>
                <a:gd name="T0" fmla="*/ 129 w 129"/>
                <a:gd name="T1" fmla="*/ 0 h 122"/>
                <a:gd name="T2" fmla="*/ 32 w 129"/>
                <a:gd name="T3" fmla="*/ 69 h 122"/>
                <a:gd name="T4" fmla="*/ 129 w 129"/>
                <a:gd name="T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" h="122">
                  <a:moveTo>
                    <a:pt x="129" y="0"/>
                  </a:moveTo>
                  <a:cubicBezTo>
                    <a:pt x="129" y="0"/>
                    <a:pt x="0" y="19"/>
                    <a:pt x="32" y="69"/>
                  </a:cubicBezTo>
                  <a:cubicBezTo>
                    <a:pt x="65" y="122"/>
                    <a:pt x="129" y="0"/>
                    <a:pt x="129" y="0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274">
              <a:extLst>
                <a:ext uri="{FF2B5EF4-FFF2-40B4-BE49-F238E27FC236}">
                  <a16:creationId xmlns:a16="http://schemas.microsoft.com/office/drawing/2014/main" id="{73BF0201-333B-40E4-9373-42B01D251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4175" y="-3249613"/>
              <a:ext cx="407988" cy="320675"/>
            </a:xfrm>
            <a:custGeom>
              <a:avLst/>
              <a:gdLst>
                <a:gd name="T0" fmla="*/ 0 w 137"/>
                <a:gd name="T1" fmla="*/ 0 h 107"/>
                <a:gd name="T2" fmla="*/ 106 w 137"/>
                <a:gd name="T3" fmla="*/ 56 h 107"/>
                <a:gd name="T4" fmla="*/ 0 w 137"/>
                <a:gd name="T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7" h="107">
                  <a:moveTo>
                    <a:pt x="0" y="0"/>
                  </a:moveTo>
                  <a:cubicBezTo>
                    <a:pt x="0" y="0"/>
                    <a:pt x="76" y="107"/>
                    <a:pt x="106" y="56"/>
                  </a:cubicBezTo>
                  <a:cubicBezTo>
                    <a:pt x="137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75">
              <a:extLst>
                <a:ext uri="{FF2B5EF4-FFF2-40B4-BE49-F238E27FC236}">
                  <a16:creationId xmlns:a16="http://schemas.microsoft.com/office/drawing/2014/main" id="{E317C53D-C1C5-4666-A4C2-0B87F71AE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59400" y="-2795588"/>
              <a:ext cx="407988" cy="319088"/>
            </a:xfrm>
            <a:custGeom>
              <a:avLst/>
              <a:gdLst>
                <a:gd name="T0" fmla="*/ 0 w 137"/>
                <a:gd name="T1" fmla="*/ 0 h 107"/>
                <a:gd name="T2" fmla="*/ 105 w 137"/>
                <a:gd name="T3" fmla="*/ 55 h 107"/>
                <a:gd name="T4" fmla="*/ 0 w 137"/>
                <a:gd name="T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7" h="107">
                  <a:moveTo>
                    <a:pt x="0" y="0"/>
                  </a:moveTo>
                  <a:cubicBezTo>
                    <a:pt x="0" y="0"/>
                    <a:pt x="75" y="107"/>
                    <a:pt x="105" y="55"/>
                  </a:cubicBezTo>
                  <a:cubicBezTo>
                    <a:pt x="137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276">
              <a:extLst>
                <a:ext uri="{FF2B5EF4-FFF2-40B4-BE49-F238E27FC236}">
                  <a16:creationId xmlns:a16="http://schemas.microsoft.com/office/drawing/2014/main" id="{EFA3A822-1A60-4662-922C-B85ECF0E6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57788" y="-3630613"/>
              <a:ext cx="307975" cy="1133475"/>
            </a:xfrm>
            <a:custGeom>
              <a:avLst/>
              <a:gdLst>
                <a:gd name="T0" fmla="*/ 103 w 103"/>
                <a:gd name="T1" fmla="*/ 0 h 380"/>
                <a:gd name="T2" fmla="*/ 81 w 103"/>
                <a:gd name="T3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3" h="380">
                  <a:moveTo>
                    <a:pt x="103" y="0"/>
                  </a:moveTo>
                  <a:cubicBezTo>
                    <a:pt x="103" y="0"/>
                    <a:pt x="0" y="140"/>
                    <a:pt x="81" y="380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277">
              <a:extLst>
                <a:ext uri="{FF2B5EF4-FFF2-40B4-BE49-F238E27FC236}">
                  <a16:creationId xmlns:a16="http://schemas.microsoft.com/office/drawing/2014/main" id="{B071406B-C2E0-4766-B938-51DF6A3F1DC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24450" y="-2673350"/>
              <a:ext cx="192088" cy="122238"/>
            </a:xfrm>
            <a:custGeom>
              <a:avLst/>
              <a:gdLst>
                <a:gd name="T0" fmla="*/ 0 w 64"/>
                <a:gd name="T1" fmla="*/ 0 h 41"/>
                <a:gd name="T2" fmla="*/ 64 w 64"/>
                <a:gd name="T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41">
                  <a:moveTo>
                    <a:pt x="0" y="0"/>
                  </a:moveTo>
                  <a:cubicBezTo>
                    <a:pt x="0" y="0"/>
                    <a:pt x="39" y="9"/>
                    <a:pt x="64" y="41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278">
              <a:extLst>
                <a:ext uri="{FF2B5EF4-FFF2-40B4-BE49-F238E27FC236}">
                  <a16:creationId xmlns:a16="http://schemas.microsoft.com/office/drawing/2014/main" id="{A3B1BD79-FDBD-4E51-9CAF-836376B44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30850" y="-3998913"/>
              <a:ext cx="660400" cy="623888"/>
            </a:xfrm>
            <a:custGeom>
              <a:avLst/>
              <a:gdLst>
                <a:gd name="T0" fmla="*/ 0 w 221"/>
                <a:gd name="T1" fmla="*/ 0 h 209"/>
                <a:gd name="T2" fmla="*/ 145 w 221"/>
                <a:gd name="T3" fmla="*/ 140 h 209"/>
                <a:gd name="T4" fmla="*/ 0 w 221"/>
                <a:gd name="T5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1" h="209">
                  <a:moveTo>
                    <a:pt x="0" y="0"/>
                  </a:moveTo>
                  <a:cubicBezTo>
                    <a:pt x="0" y="0"/>
                    <a:pt x="71" y="209"/>
                    <a:pt x="145" y="140"/>
                  </a:cubicBezTo>
                  <a:cubicBezTo>
                    <a:pt x="221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79">
              <a:extLst>
                <a:ext uri="{FF2B5EF4-FFF2-40B4-BE49-F238E27FC236}">
                  <a16:creationId xmlns:a16="http://schemas.microsoft.com/office/drawing/2014/main" id="{149BE31A-D393-43B2-9CD8-BA70C81A3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43513" y="-3144838"/>
              <a:ext cx="244475" cy="271463"/>
            </a:xfrm>
            <a:custGeom>
              <a:avLst/>
              <a:gdLst>
                <a:gd name="T0" fmla="*/ 0 w 82"/>
                <a:gd name="T1" fmla="*/ 0 h 91"/>
                <a:gd name="T2" fmla="*/ 82 w 82"/>
                <a:gd name="T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2" h="91">
                  <a:moveTo>
                    <a:pt x="0" y="0"/>
                  </a:moveTo>
                  <a:cubicBezTo>
                    <a:pt x="0" y="0"/>
                    <a:pt x="60" y="25"/>
                    <a:pt x="82" y="91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280">
              <a:extLst>
                <a:ext uri="{FF2B5EF4-FFF2-40B4-BE49-F238E27FC236}">
                  <a16:creationId xmlns:a16="http://schemas.microsoft.com/office/drawing/2014/main" id="{8647B94D-00D4-446F-AE76-1BBEB2992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59400" y="-3819525"/>
              <a:ext cx="403225" cy="528638"/>
            </a:xfrm>
            <a:custGeom>
              <a:avLst/>
              <a:gdLst>
                <a:gd name="T0" fmla="*/ 0 w 135"/>
                <a:gd name="T1" fmla="*/ 0 h 177"/>
                <a:gd name="T2" fmla="*/ 127 w 135"/>
                <a:gd name="T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5" h="177">
                  <a:moveTo>
                    <a:pt x="0" y="0"/>
                  </a:moveTo>
                  <a:cubicBezTo>
                    <a:pt x="0" y="0"/>
                    <a:pt x="135" y="92"/>
                    <a:pt x="127" y="177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281">
              <a:extLst>
                <a:ext uri="{FF2B5EF4-FFF2-40B4-BE49-F238E27FC236}">
                  <a16:creationId xmlns:a16="http://schemas.microsoft.com/office/drawing/2014/main" id="{E494763E-2C68-45FE-BA41-0F15A957A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05388" y="-3297238"/>
              <a:ext cx="219075" cy="176213"/>
            </a:xfrm>
            <a:custGeom>
              <a:avLst/>
              <a:gdLst>
                <a:gd name="T0" fmla="*/ 73 w 73"/>
                <a:gd name="T1" fmla="*/ 0 h 59"/>
                <a:gd name="T2" fmla="*/ 0 w 73"/>
                <a:gd name="T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3" h="59">
                  <a:moveTo>
                    <a:pt x="73" y="0"/>
                  </a:moveTo>
                  <a:cubicBezTo>
                    <a:pt x="73" y="0"/>
                    <a:pt x="28" y="4"/>
                    <a:pt x="0" y="59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282">
              <a:extLst>
                <a:ext uri="{FF2B5EF4-FFF2-40B4-BE49-F238E27FC236}">
                  <a16:creationId xmlns:a16="http://schemas.microsoft.com/office/drawing/2014/main" id="{AA0B868E-490B-4BA3-B4B4-63364B949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65700" y="-2887663"/>
              <a:ext cx="142875" cy="211138"/>
            </a:xfrm>
            <a:custGeom>
              <a:avLst/>
              <a:gdLst>
                <a:gd name="T0" fmla="*/ 48 w 48"/>
                <a:gd name="T1" fmla="*/ 0 h 71"/>
                <a:gd name="T2" fmla="*/ 0 w 48"/>
                <a:gd name="T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" h="71">
                  <a:moveTo>
                    <a:pt x="48" y="0"/>
                  </a:moveTo>
                  <a:cubicBezTo>
                    <a:pt x="48" y="0"/>
                    <a:pt x="7" y="31"/>
                    <a:pt x="0" y="71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83">
              <a:extLst>
                <a:ext uri="{FF2B5EF4-FFF2-40B4-BE49-F238E27FC236}">
                  <a16:creationId xmlns:a16="http://schemas.microsoft.com/office/drawing/2014/main" id="{3FF209E6-5308-4178-9483-F5C7C2D4B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78425" y="-2547938"/>
              <a:ext cx="574675" cy="573088"/>
            </a:xfrm>
            <a:custGeom>
              <a:avLst/>
              <a:gdLst>
                <a:gd name="T0" fmla="*/ 47 w 362"/>
                <a:gd name="T1" fmla="*/ 361 h 361"/>
                <a:gd name="T2" fmla="*/ 314 w 362"/>
                <a:gd name="T3" fmla="*/ 361 h 361"/>
                <a:gd name="T4" fmla="*/ 362 w 362"/>
                <a:gd name="T5" fmla="*/ 0 h 361"/>
                <a:gd name="T6" fmla="*/ 0 w 362"/>
                <a:gd name="T7" fmla="*/ 0 h 361"/>
                <a:gd name="T8" fmla="*/ 47 w 362"/>
                <a:gd name="T9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2" h="361">
                  <a:moveTo>
                    <a:pt x="47" y="361"/>
                  </a:moveTo>
                  <a:lnTo>
                    <a:pt x="314" y="361"/>
                  </a:lnTo>
                  <a:lnTo>
                    <a:pt x="362" y="0"/>
                  </a:lnTo>
                  <a:lnTo>
                    <a:pt x="0" y="0"/>
                  </a:lnTo>
                  <a:lnTo>
                    <a:pt x="47" y="361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Rectangle 284">
              <a:extLst>
                <a:ext uri="{FF2B5EF4-FFF2-40B4-BE49-F238E27FC236}">
                  <a16:creationId xmlns:a16="http://schemas.microsoft.com/office/drawing/2014/main" id="{036EE5B3-23E4-4B82-9F8E-CC3B0E47EB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205413" y="-2547938"/>
              <a:ext cx="615950" cy="13493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Line 286">
              <a:extLst>
                <a:ext uri="{FF2B5EF4-FFF2-40B4-BE49-F238E27FC236}">
                  <a16:creationId xmlns:a16="http://schemas.microsoft.com/office/drawing/2014/main" id="{74942C50-2AAA-4832-905D-56F50C2C09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4870450" y="-1720850"/>
              <a:ext cx="0" cy="26670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287">
              <a:extLst>
                <a:ext uri="{FF2B5EF4-FFF2-40B4-BE49-F238E27FC236}">
                  <a16:creationId xmlns:a16="http://schemas.microsoft.com/office/drawing/2014/main" id="{7F7DDAFC-2B43-43D2-9642-4295B075F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52725" y="-1433513"/>
              <a:ext cx="92075" cy="50800"/>
            </a:xfrm>
            <a:custGeom>
              <a:avLst/>
              <a:gdLst>
                <a:gd name="T0" fmla="*/ 0 w 31"/>
                <a:gd name="T1" fmla="*/ 0 h 17"/>
                <a:gd name="T2" fmla="*/ 31 w 31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1" h="17">
                  <a:moveTo>
                    <a:pt x="0" y="0"/>
                  </a:moveTo>
                  <a:cubicBezTo>
                    <a:pt x="0" y="0"/>
                    <a:pt x="9" y="13"/>
                    <a:pt x="31" y="17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288">
              <a:extLst>
                <a:ext uri="{FF2B5EF4-FFF2-40B4-BE49-F238E27FC236}">
                  <a16:creationId xmlns:a16="http://schemas.microsoft.com/office/drawing/2014/main" id="{DB00DC6A-85AC-4487-A16A-4DAFCF581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19363" y="-3494088"/>
              <a:ext cx="1376363" cy="1776413"/>
            </a:xfrm>
            <a:custGeom>
              <a:avLst/>
              <a:gdLst>
                <a:gd name="T0" fmla="*/ 0 w 461"/>
                <a:gd name="T1" fmla="*/ 135 h 595"/>
                <a:gd name="T2" fmla="*/ 357 w 461"/>
                <a:gd name="T3" fmla="*/ 192 h 595"/>
                <a:gd name="T4" fmla="*/ 256 w 461"/>
                <a:gd name="T5" fmla="*/ 595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1" h="595">
                  <a:moveTo>
                    <a:pt x="0" y="135"/>
                  </a:moveTo>
                  <a:cubicBezTo>
                    <a:pt x="0" y="135"/>
                    <a:pt x="189" y="0"/>
                    <a:pt x="357" y="192"/>
                  </a:cubicBezTo>
                  <a:cubicBezTo>
                    <a:pt x="461" y="327"/>
                    <a:pt x="422" y="513"/>
                    <a:pt x="256" y="595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09" name="Oval 1308">
            <a:extLst>
              <a:ext uri="{FF2B5EF4-FFF2-40B4-BE49-F238E27FC236}">
                <a16:creationId xmlns:a16="http://schemas.microsoft.com/office/drawing/2014/main" id="{18802491-FFCF-42FE-9B5A-961493CEB01A}"/>
              </a:ext>
            </a:extLst>
          </p:cNvPr>
          <p:cNvSpPr>
            <a:spLocks noChangeAspect="1"/>
          </p:cNvSpPr>
          <p:nvPr/>
        </p:nvSpPr>
        <p:spPr>
          <a:xfrm>
            <a:off x="10943933" y="823753"/>
            <a:ext cx="119011" cy="119008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9" name="Freeform 298">
            <a:extLst>
              <a:ext uri="{FF2B5EF4-FFF2-40B4-BE49-F238E27FC236}">
                <a16:creationId xmlns:a16="http://schemas.microsoft.com/office/drawing/2014/main" id="{3D353559-3137-4741-8946-25932564C9C8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8457321" y="1161164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CFCFBFE4-8909-4E01-AA8A-0CDBBC9C5D26}"/>
              </a:ext>
            </a:extLst>
          </p:cNvPr>
          <p:cNvSpPr>
            <a:spLocks noChangeAspect="1"/>
          </p:cNvSpPr>
          <p:nvPr/>
        </p:nvSpPr>
        <p:spPr>
          <a:xfrm>
            <a:off x="3210444" y="5483302"/>
            <a:ext cx="119011" cy="119008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4" name="Oval 333">
            <a:extLst>
              <a:ext uri="{FF2B5EF4-FFF2-40B4-BE49-F238E27FC236}">
                <a16:creationId xmlns:a16="http://schemas.microsoft.com/office/drawing/2014/main" id="{820FB32B-2EB2-4205-A826-AD62319BF259}"/>
              </a:ext>
            </a:extLst>
          </p:cNvPr>
          <p:cNvSpPr>
            <a:spLocks noChangeAspect="1"/>
          </p:cNvSpPr>
          <p:nvPr/>
        </p:nvSpPr>
        <p:spPr>
          <a:xfrm>
            <a:off x="593704" y="697294"/>
            <a:ext cx="119011" cy="119008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5" name="Oval 334">
            <a:extLst>
              <a:ext uri="{FF2B5EF4-FFF2-40B4-BE49-F238E27FC236}">
                <a16:creationId xmlns:a16="http://schemas.microsoft.com/office/drawing/2014/main" id="{48207054-844F-40E9-A59C-ADCAA08FCB92}"/>
              </a:ext>
            </a:extLst>
          </p:cNvPr>
          <p:cNvSpPr>
            <a:spLocks noChangeAspect="1"/>
          </p:cNvSpPr>
          <p:nvPr/>
        </p:nvSpPr>
        <p:spPr>
          <a:xfrm>
            <a:off x="11488682" y="4753728"/>
            <a:ext cx="119011" cy="119008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6" name="Freeform 298">
            <a:extLst>
              <a:ext uri="{FF2B5EF4-FFF2-40B4-BE49-F238E27FC236}">
                <a16:creationId xmlns:a16="http://schemas.microsoft.com/office/drawing/2014/main" id="{1599650D-8729-4D4F-A7C5-170A8F2D523F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1832785" y="1122253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" name="Freeform 298">
            <a:extLst>
              <a:ext uri="{FF2B5EF4-FFF2-40B4-BE49-F238E27FC236}">
                <a16:creationId xmlns:a16="http://schemas.microsoft.com/office/drawing/2014/main" id="{0D599392-771A-4036-9E6B-C176942E0025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860019" y="6151453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" name="Freeform 298">
            <a:extLst>
              <a:ext uri="{FF2B5EF4-FFF2-40B4-BE49-F238E27FC236}">
                <a16:creationId xmlns:a16="http://schemas.microsoft.com/office/drawing/2014/main" id="{8DEDB4D5-46A8-4B37-910E-8B382A15EFEF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11239432" y="4001641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" name="Freeform 298">
            <a:extLst>
              <a:ext uri="{FF2B5EF4-FFF2-40B4-BE49-F238E27FC236}">
                <a16:creationId xmlns:a16="http://schemas.microsoft.com/office/drawing/2014/main" id="{88CC9EFC-3E28-4D48-AE3C-84D7009A60A1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6103228" y="2007470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" name="Freeform 298">
            <a:extLst>
              <a:ext uri="{FF2B5EF4-FFF2-40B4-BE49-F238E27FC236}">
                <a16:creationId xmlns:a16="http://schemas.microsoft.com/office/drawing/2014/main" id="{FB2ACBED-79A4-481B-BB3F-0FDB5A855F5E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4410615" y="3836270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93" name="Group 292">
            <a:extLst>
              <a:ext uri="{FF2B5EF4-FFF2-40B4-BE49-F238E27FC236}">
                <a16:creationId xmlns:a16="http://schemas.microsoft.com/office/drawing/2014/main" id="{E90C16BA-DC56-4CAD-AD59-937C10122922}"/>
              </a:ext>
            </a:extLst>
          </p:cNvPr>
          <p:cNvGrpSpPr/>
          <p:nvPr/>
        </p:nvGrpSpPr>
        <p:grpSpPr>
          <a:xfrm>
            <a:off x="467372" y="1241083"/>
            <a:ext cx="4599263" cy="3184079"/>
            <a:chOff x="467372" y="1048085"/>
            <a:chExt cx="4599263" cy="3184079"/>
          </a:xfrm>
        </p:grpSpPr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093A75B5-AD7B-4468-9BB8-93EBD7C100D1}"/>
                </a:ext>
              </a:extLst>
            </p:cNvPr>
            <p:cNvSpPr txBox="1"/>
            <p:nvPr/>
          </p:nvSpPr>
          <p:spPr>
            <a:xfrm>
              <a:off x="467372" y="1048085"/>
              <a:ext cx="4599263" cy="22159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Опыт использования образовательных платформ в онлайн-обучении</a:t>
              </a:r>
              <a:endPara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grpSp>
          <p:nvGrpSpPr>
            <p:cNvPr id="292" name="Group 291">
              <a:extLst>
                <a:ext uri="{FF2B5EF4-FFF2-40B4-BE49-F238E27FC236}">
                  <a16:creationId xmlns:a16="http://schemas.microsoft.com/office/drawing/2014/main" id="{024AADD3-3E76-4079-8D8A-954CFB67BAE1}"/>
                </a:ext>
              </a:extLst>
            </p:cNvPr>
            <p:cNvGrpSpPr/>
            <p:nvPr/>
          </p:nvGrpSpPr>
          <p:grpSpPr>
            <a:xfrm>
              <a:off x="507538" y="3311281"/>
              <a:ext cx="815845" cy="116368"/>
              <a:chOff x="507538" y="3856956"/>
              <a:chExt cx="1171415" cy="154886"/>
            </a:xfrm>
          </p:grpSpPr>
          <p:sp>
            <p:nvSpPr>
              <p:cNvPr id="291" name="Rectangle: Rounded Corners 290">
                <a:extLst>
                  <a:ext uri="{FF2B5EF4-FFF2-40B4-BE49-F238E27FC236}">
                    <a16:creationId xmlns:a16="http://schemas.microsoft.com/office/drawing/2014/main" id="{B4FBE7C8-AAF4-4E3E-B736-A22F82496514}"/>
                  </a:ext>
                </a:extLst>
              </p:cNvPr>
              <p:cNvSpPr/>
              <p:nvPr/>
            </p:nvSpPr>
            <p:spPr>
              <a:xfrm>
                <a:off x="507538" y="3856956"/>
                <a:ext cx="809465" cy="154886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F5748A"/>
                  </a:gs>
                  <a:gs pos="100000">
                    <a:srgbClr val="531B96"/>
                  </a:gs>
                </a:gsLst>
                <a:lin ang="2700000" scaled="0"/>
              </a:gradFill>
              <a:ln>
                <a:noFill/>
              </a:ln>
              <a:effectLst>
                <a:outerShdw blurRad="177800" dist="38100" dir="5400000" algn="t" rotWithShape="0">
                  <a:schemeClr val="accent3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3" name="Rectangle: Rounded Corners 342">
                <a:extLst>
                  <a:ext uri="{FF2B5EF4-FFF2-40B4-BE49-F238E27FC236}">
                    <a16:creationId xmlns:a16="http://schemas.microsoft.com/office/drawing/2014/main" id="{5B55FDEC-5E5A-4A2B-874F-098FD30BE19A}"/>
                  </a:ext>
                </a:extLst>
              </p:cNvPr>
              <p:cNvSpPr/>
              <p:nvPr/>
            </p:nvSpPr>
            <p:spPr>
              <a:xfrm>
                <a:off x="869488" y="3856956"/>
                <a:ext cx="809465" cy="154886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A9CDFF"/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177800" dist="38100" dir="5400000" algn="t" rotWithShape="0">
                  <a:schemeClr val="accent3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345" name="Rectangle 344">
              <a:extLst>
                <a:ext uri="{FF2B5EF4-FFF2-40B4-BE49-F238E27FC236}">
                  <a16:creationId xmlns:a16="http://schemas.microsoft.com/office/drawing/2014/main" id="{325DE9DB-BFDF-4095-A417-CE0B0A7E65FC}"/>
                </a:ext>
              </a:extLst>
            </p:cNvPr>
            <p:cNvSpPr/>
            <p:nvPr/>
          </p:nvSpPr>
          <p:spPr>
            <a:xfrm>
              <a:off x="522066" y="3462723"/>
              <a:ext cx="3447095" cy="76944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Полезные сервисы для преподавателя</a:t>
              </a:r>
            </a:p>
          </p:txBody>
        </p:sp>
      </p:grpSp>
      <p:sp>
        <p:nvSpPr>
          <p:cNvPr id="294" name="Slide Number Placeholder 293">
            <a:extLst>
              <a:ext uri="{FF2B5EF4-FFF2-40B4-BE49-F238E27FC236}">
                <a16:creationId xmlns:a16="http://schemas.microsoft.com/office/drawing/2014/main" id="{28918DA5-DA4E-4795-8F95-52DFB50FF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409F94-D0DA-4FE9-B158-B846944F9E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2" name="Google Shape;198;p27">
            <a:extLst>
              <a:ext uri="{FF2B5EF4-FFF2-40B4-BE49-F238E27FC236}">
                <a16:creationId xmlns:a16="http://schemas.microsoft.com/office/drawing/2014/main" id="{DEA50B32-75FA-453B-8320-85DA19D97ED6}"/>
              </a:ext>
            </a:extLst>
          </p:cNvPr>
          <p:cNvSpPr txBox="1">
            <a:spLocks/>
          </p:cNvSpPr>
          <p:nvPr/>
        </p:nvSpPr>
        <p:spPr>
          <a:xfrm>
            <a:off x="4478244" y="5511378"/>
            <a:ext cx="8898171" cy="130000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2500" dirty="0">
                <a:solidFill>
                  <a:schemeClr val="bg1"/>
                </a:solidFill>
              </a:rPr>
              <a:t>Очаковская Н.С., 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2500" dirty="0">
                <a:solidFill>
                  <a:schemeClr val="bg1"/>
                </a:solidFill>
              </a:rPr>
              <a:t>учитель русского языка и литературы</a:t>
            </a:r>
            <a:br>
              <a:rPr lang="ru-RU" sz="2500" dirty="0">
                <a:solidFill>
                  <a:schemeClr val="bg1"/>
                </a:solidFill>
              </a:rPr>
            </a:br>
            <a:r>
              <a:rPr lang="ru-RU" sz="2500" dirty="0">
                <a:solidFill>
                  <a:schemeClr val="bg1"/>
                </a:solidFill>
              </a:rPr>
              <a:t>МАОУ Гимназии № 4 г. Красноярска</a:t>
            </a:r>
          </a:p>
        </p:txBody>
      </p:sp>
    </p:spTree>
    <p:extLst>
      <p:ext uri="{BB962C8B-B14F-4D97-AF65-F5344CB8AC3E}">
        <p14:creationId xmlns:p14="http://schemas.microsoft.com/office/powerpoint/2010/main" val="36017074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8C65F9-9064-40D0-8147-1B957E7AC2C4}"/>
              </a:ext>
            </a:extLst>
          </p:cNvPr>
          <p:cNvSpPr/>
          <p:nvPr/>
        </p:nvSpPr>
        <p:spPr>
          <a:xfrm>
            <a:off x="0" y="0"/>
            <a:ext cx="12191996" cy="2943224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5" name="Graphic 2">
            <a:extLst>
              <a:ext uri="{FF2B5EF4-FFF2-40B4-BE49-F238E27FC236}">
                <a16:creationId xmlns:a16="http://schemas.microsoft.com/office/drawing/2014/main" id="{D8D77915-D895-4408-836D-BC5D45371753}"/>
              </a:ext>
            </a:extLst>
          </p:cNvPr>
          <p:cNvGrpSpPr/>
          <p:nvPr/>
        </p:nvGrpSpPr>
        <p:grpSpPr>
          <a:xfrm>
            <a:off x="0" y="-91644"/>
            <a:ext cx="12184441" cy="3584691"/>
            <a:chOff x="0" y="-91644"/>
            <a:chExt cx="12184441" cy="3584691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27AF5C6-5287-464C-A94F-BFF5E8D34F67}"/>
                </a:ext>
              </a:extLst>
            </p:cNvPr>
            <p:cNvSpPr/>
            <p:nvPr/>
          </p:nvSpPr>
          <p:spPr>
            <a:xfrm>
              <a:off x="8765561" y="1049728"/>
              <a:ext cx="3413760" cy="2243327"/>
            </a:xfrm>
            <a:custGeom>
              <a:avLst/>
              <a:gdLst>
                <a:gd name="connsiteX0" fmla="*/ 0 w 3413760"/>
                <a:gd name="connsiteY0" fmla="*/ 2258489 h 2243327"/>
                <a:gd name="connsiteX1" fmla="*/ 3426440 w 3413760"/>
                <a:gd name="connsiteY1" fmla="*/ 2258489 h 2243327"/>
                <a:gd name="connsiteX2" fmla="*/ 3426440 w 3413760"/>
                <a:gd name="connsiteY2" fmla="*/ 498208 h 2243327"/>
                <a:gd name="connsiteX3" fmla="*/ 2979724 w 3413760"/>
                <a:gd name="connsiteY3" fmla="*/ 788134 h 2243327"/>
                <a:gd name="connsiteX4" fmla="*/ 2471806 w 3413760"/>
                <a:gd name="connsiteY4" fmla="*/ 43 h 2243327"/>
                <a:gd name="connsiteX5" fmla="*/ 1867814 w 3413760"/>
                <a:gd name="connsiteY5" fmla="*/ 932243 h 2243327"/>
                <a:gd name="connsiteX6" fmla="*/ 1078016 w 3413760"/>
                <a:gd name="connsiteY6" fmla="*/ 932243 h 2243327"/>
                <a:gd name="connsiteX7" fmla="*/ 753465 w 3413760"/>
                <a:gd name="connsiteY7" fmla="*/ 1722528 h 2243327"/>
                <a:gd name="connsiteX8" fmla="*/ 0 w 3413760"/>
                <a:gd name="connsiteY8" fmla="*/ 2258489 h 22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13760" h="2243327">
                  <a:moveTo>
                    <a:pt x="0" y="2258489"/>
                  </a:moveTo>
                  <a:lnTo>
                    <a:pt x="3426440" y="2258489"/>
                  </a:lnTo>
                  <a:lnTo>
                    <a:pt x="3426440" y="498208"/>
                  </a:lnTo>
                  <a:cubicBezTo>
                    <a:pt x="3213080" y="466997"/>
                    <a:pt x="3150412" y="779843"/>
                    <a:pt x="2979724" y="788134"/>
                  </a:cubicBezTo>
                  <a:cubicBezTo>
                    <a:pt x="2774655" y="797887"/>
                    <a:pt x="2735397" y="-6784"/>
                    <a:pt x="2471806" y="43"/>
                  </a:cubicBezTo>
                  <a:cubicBezTo>
                    <a:pt x="2207971" y="6627"/>
                    <a:pt x="2143354" y="812274"/>
                    <a:pt x="1867814" y="932243"/>
                  </a:cubicBezTo>
                  <a:cubicBezTo>
                    <a:pt x="1592519" y="1051969"/>
                    <a:pt x="1247242" y="656216"/>
                    <a:pt x="1078016" y="932243"/>
                  </a:cubicBezTo>
                  <a:cubicBezTo>
                    <a:pt x="908547" y="1208270"/>
                    <a:pt x="1047781" y="1728624"/>
                    <a:pt x="753465" y="1722528"/>
                  </a:cubicBezTo>
                  <a:cubicBezTo>
                    <a:pt x="459150" y="1716189"/>
                    <a:pt x="19507" y="1608899"/>
                    <a:pt x="0" y="2258489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7D986F0-928E-4E29-A80C-AEE9EFDA257C}"/>
                </a:ext>
              </a:extLst>
            </p:cNvPr>
            <p:cNvSpPr/>
            <p:nvPr/>
          </p:nvSpPr>
          <p:spPr>
            <a:xfrm>
              <a:off x="11243706" y="1357009"/>
              <a:ext cx="48768" cy="1950719"/>
            </a:xfrm>
            <a:custGeom>
              <a:avLst/>
              <a:gdLst>
                <a:gd name="connsiteX0" fmla="*/ 0 w 48768"/>
                <a:gd name="connsiteY0" fmla="*/ 0 h 1950719"/>
                <a:gd name="connsiteX1" fmla="*/ 13168 w 48768"/>
                <a:gd name="connsiteY1" fmla="*/ 1952914 h 1950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950719">
                  <a:moveTo>
                    <a:pt x="0" y="0"/>
                  </a:moveTo>
                  <a:cubicBezTo>
                    <a:pt x="0" y="0"/>
                    <a:pt x="100950" y="1157508"/>
                    <a:pt x="13168" y="1952914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C785E83-F6A5-4C2D-95FA-712DF75BD973}"/>
                </a:ext>
              </a:extLst>
            </p:cNvPr>
            <p:cNvSpPr/>
            <p:nvPr/>
          </p:nvSpPr>
          <p:spPr>
            <a:xfrm>
              <a:off x="12126163" y="3071691"/>
              <a:ext cx="48768" cy="219456"/>
            </a:xfrm>
            <a:custGeom>
              <a:avLst/>
              <a:gdLst>
                <a:gd name="connsiteX0" fmla="*/ 65837 w 48768"/>
                <a:gd name="connsiteY0" fmla="*/ 0 h 219455"/>
                <a:gd name="connsiteX1" fmla="*/ 0 w 48768"/>
                <a:gd name="connsiteY1" fmla="*/ 231648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219455">
                  <a:moveTo>
                    <a:pt x="65837" y="0"/>
                  </a:moveTo>
                  <a:cubicBezTo>
                    <a:pt x="49012" y="86807"/>
                    <a:pt x="27554" y="165811"/>
                    <a:pt x="0" y="23164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929AC63-569D-4B72-9302-2C207AB18971}"/>
                </a:ext>
              </a:extLst>
            </p:cNvPr>
            <p:cNvSpPr/>
            <p:nvPr/>
          </p:nvSpPr>
          <p:spPr>
            <a:xfrm>
              <a:off x="12101779" y="1886629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90221 w 73152"/>
                <a:gd name="connsiteY1" fmla="*/ 87782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90221" y="877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ED061E2-DB6C-4619-8FF7-25D4C1E3577F}"/>
                </a:ext>
              </a:extLst>
            </p:cNvPr>
            <p:cNvSpPr/>
            <p:nvPr/>
          </p:nvSpPr>
          <p:spPr>
            <a:xfrm>
              <a:off x="12035942" y="2214594"/>
              <a:ext cx="146304" cy="97536"/>
            </a:xfrm>
            <a:custGeom>
              <a:avLst/>
              <a:gdLst>
                <a:gd name="connsiteX0" fmla="*/ 0 w 146304"/>
                <a:gd name="connsiteY0" fmla="*/ 0 h 97535"/>
                <a:gd name="connsiteX1" fmla="*/ 156058 w 146304"/>
                <a:gd name="connsiteY1" fmla="*/ 118262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97535">
                  <a:moveTo>
                    <a:pt x="0" y="0"/>
                  </a:moveTo>
                  <a:lnTo>
                    <a:pt x="156058" y="11826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1A7E89C-D70A-4B03-B62C-F000EE899C99}"/>
                </a:ext>
              </a:extLst>
            </p:cNvPr>
            <p:cNvSpPr/>
            <p:nvPr/>
          </p:nvSpPr>
          <p:spPr>
            <a:xfrm>
              <a:off x="11989369" y="2507934"/>
              <a:ext cx="195072" cy="146304"/>
            </a:xfrm>
            <a:custGeom>
              <a:avLst/>
              <a:gdLst>
                <a:gd name="connsiteX0" fmla="*/ 0 w 195072"/>
                <a:gd name="connsiteY0" fmla="*/ 0 h 146303"/>
                <a:gd name="connsiteX1" fmla="*/ 202631 w 195072"/>
                <a:gd name="connsiteY1" fmla="*/ 15947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46303">
                  <a:moveTo>
                    <a:pt x="0" y="0"/>
                  </a:moveTo>
                  <a:lnTo>
                    <a:pt x="202631" y="15947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AFF682B-0D2A-454C-A62A-1F1748367914}"/>
                </a:ext>
              </a:extLst>
            </p:cNvPr>
            <p:cNvSpPr/>
            <p:nvPr/>
          </p:nvSpPr>
          <p:spPr>
            <a:xfrm>
              <a:off x="11261019" y="1433819"/>
              <a:ext cx="97536" cy="146304"/>
            </a:xfrm>
            <a:custGeom>
              <a:avLst/>
              <a:gdLst>
                <a:gd name="connsiteX0" fmla="*/ 116068 w 97536"/>
                <a:gd name="connsiteY0" fmla="*/ 0 h 146303"/>
                <a:gd name="connsiteX1" fmla="*/ 0 w 97536"/>
                <a:gd name="connsiteY1" fmla="*/ 16312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16068" y="0"/>
                  </a:moveTo>
                  <a:lnTo>
                    <a:pt x="0" y="16312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6629E6-15BE-4150-A207-A9E00FC54C4B}"/>
                </a:ext>
              </a:extLst>
            </p:cNvPr>
            <p:cNvSpPr/>
            <p:nvPr/>
          </p:nvSpPr>
          <p:spPr>
            <a:xfrm>
              <a:off x="11038637" y="1534281"/>
              <a:ext cx="219456" cy="219456"/>
            </a:xfrm>
            <a:custGeom>
              <a:avLst/>
              <a:gdLst>
                <a:gd name="connsiteX0" fmla="*/ 0 w 219456"/>
                <a:gd name="connsiteY0" fmla="*/ 0 h 219455"/>
                <a:gd name="connsiteX1" fmla="*/ 231892 w 219456"/>
                <a:gd name="connsiteY1" fmla="*/ 223357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19455">
                  <a:moveTo>
                    <a:pt x="0" y="0"/>
                  </a:moveTo>
                  <a:lnTo>
                    <a:pt x="231892" y="2233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387AFEB-E764-4BDD-BD02-9F754F07238E}"/>
                </a:ext>
              </a:extLst>
            </p:cNvPr>
            <p:cNvSpPr/>
            <p:nvPr/>
          </p:nvSpPr>
          <p:spPr>
            <a:xfrm>
              <a:off x="11285403" y="1829815"/>
              <a:ext cx="243840" cy="268224"/>
            </a:xfrm>
            <a:custGeom>
              <a:avLst/>
              <a:gdLst>
                <a:gd name="connsiteX0" fmla="*/ 244815 w 243840"/>
                <a:gd name="connsiteY0" fmla="*/ 0 h 268223"/>
                <a:gd name="connsiteX1" fmla="*/ 0 w 243840"/>
                <a:gd name="connsiteY1" fmla="*/ 272857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68223">
                  <a:moveTo>
                    <a:pt x="244815" y="0"/>
                  </a:moveTo>
                  <a:lnTo>
                    <a:pt x="0" y="2728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33F58C6-1A25-40DF-AF74-FE9627A7E967}"/>
                </a:ext>
              </a:extLst>
            </p:cNvPr>
            <p:cNvSpPr/>
            <p:nvPr/>
          </p:nvSpPr>
          <p:spPr>
            <a:xfrm>
              <a:off x="10918180" y="1966121"/>
              <a:ext cx="365760" cy="365760"/>
            </a:xfrm>
            <a:custGeom>
              <a:avLst/>
              <a:gdLst>
                <a:gd name="connsiteX0" fmla="*/ 0 w 365760"/>
                <a:gd name="connsiteY0" fmla="*/ 0 h 365759"/>
                <a:gd name="connsiteX1" fmla="*/ 374538 w 365760"/>
                <a:gd name="connsiteY1" fmla="*/ 367223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760" h="365759">
                  <a:moveTo>
                    <a:pt x="0" y="0"/>
                  </a:moveTo>
                  <a:lnTo>
                    <a:pt x="374538" y="367223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05A9F5-E3FD-47DF-A624-5B1166595FB9}"/>
                </a:ext>
              </a:extLst>
            </p:cNvPr>
            <p:cNvSpPr/>
            <p:nvPr/>
          </p:nvSpPr>
          <p:spPr>
            <a:xfrm>
              <a:off x="11292474" y="2149733"/>
              <a:ext cx="438912" cy="414528"/>
            </a:xfrm>
            <a:custGeom>
              <a:avLst/>
              <a:gdLst>
                <a:gd name="connsiteX0" fmla="*/ 443057 w 438912"/>
                <a:gd name="connsiteY0" fmla="*/ 0 h 414527"/>
                <a:gd name="connsiteX1" fmla="*/ 0 w 438912"/>
                <a:gd name="connsiteY1" fmla="*/ 427451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8912" h="414527">
                  <a:moveTo>
                    <a:pt x="443057" y="0"/>
                  </a:moveTo>
                  <a:lnTo>
                    <a:pt x="0" y="4274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FA883DC-092C-4BA7-903B-CE206E5B5165}"/>
                </a:ext>
              </a:extLst>
            </p:cNvPr>
            <p:cNvSpPr/>
            <p:nvPr/>
          </p:nvSpPr>
          <p:spPr>
            <a:xfrm>
              <a:off x="10797479" y="2428686"/>
              <a:ext cx="487680" cy="438912"/>
            </a:xfrm>
            <a:custGeom>
              <a:avLst/>
              <a:gdLst>
                <a:gd name="connsiteX0" fmla="*/ 0 w 487680"/>
                <a:gd name="connsiteY0" fmla="*/ 0 h 438911"/>
                <a:gd name="connsiteX1" fmla="*/ 489143 w 487680"/>
                <a:gd name="connsiteY1" fmla="*/ 448422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0" h="438911">
                  <a:moveTo>
                    <a:pt x="0" y="0"/>
                  </a:moveTo>
                  <a:lnTo>
                    <a:pt x="489143" y="44842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20362A7-DEF4-4AF5-9222-C2CAEF4355C4}"/>
                </a:ext>
              </a:extLst>
            </p:cNvPr>
            <p:cNvSpPr/>
            <p:nvPr/>
          </p:nvSpPr>
          <p:spPr>
            <a:xfrm>
              <a:off x="11278819" y="2679109"/>
              <a:ext cx="512064" cy="341376"/>
            </a:xfrm>
            <a:custGeom>
              <a:avLst/>
              <a:gdLst>
                <a:gd name="connsiteX0" fmla="*/ 524987 w 512064"/>
                <a:gd name="connsiteY0" fmla="*/ 0 h 341375"/>
                <a:gd name="connsiteX1" fmla="*/ 0 w 512064"/>
                <a:gd name="connsiteY1" fmla="*/ 36454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2064" h="341375">
                  <a:moveTo>
                    <a:pt x="524987" y="0"/>
                  </a:moveTo>
                  <a:lnTo>
                    <a:pt x="0" y="3645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E96689F-A080-4032-AF87-666EE826E4F1}"/>
                </a:ext>
              </a:extLst>
            </p:cNvPr>
            <p:cNvSpPr/>
            <p:nvPr/>
          </p:nvSpPr>
          <p:spPr>
            <a:xfrm>
              <a:off x="10056206" y="2149733"/>
              <a:ext cx="195072" cy="1146048"/>
            </a:xfrm>
            <a:custGeom>
              <a:avLst/>
              <a:gdLst>
                <a:gd name="connsiteX0" fmla="*/ 0 w 195072"/>
                <a:gd name="connsiteY0" fmla="*/ 0 h 1146047"/>
                <a:gd name="connsiteX1" fmla="*/ 208483 w 195072"/>
                <a:gd name="connsiteY1" fmla="*/ 1159947 h 114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146047">
                  <a:moveTo>
                    <a:pt x="0" y="0"/>
                  </a:moveTo>
                  <a:cubicBezTo>
                    <a:pt x="0" y="0"/>
                    <a:pt x="192146" y="592531"/>
                    <a:pt x="208483" y="115994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52B809-45E2-4DEB-8D43-0746B47A7242}"/>
                </a:ext>
              </a:extLst>
            </p:cNvPr>
            <p:cNvSpPr/>
            <p:nvPr/>
          </p:nvSpPr>
          <p:spPr>
            <a:xfrm>
              <a:off x="10122774" y="2200208"/>
              <a:ext cx="48768" cy="170688"/>
            </a:xfrm>
            <a:custGeom>
              <a:avLst/>
              <a:gdLst>
                <a:gd name="connsiteX0" fmla="*/ 70226 w 48768"/>
                <a:gd name="connsiteY0" fmla="*/ 0 h 170687"/>
                <a:gd name="connsiteX1" fmla="*/ 0 w 48768"/>
                <a:gd name="connsiteY1" fmla="*/ 186294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70687">
                  <a:moveTo>
                    <a:pt x="70226" y="0"/>
                  </a:moveTo>
                  <a:lnTo>
                    <a:pt x="0" y="18629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4132E27-5C8B-4140-AF2C-0DA11251F028}"/>
                </a:ext>
              </a:extLst>
            </p:cNvPr>
            <p:cNvSpPr/>
            <p:nvPr/>
          </p:nvSpPr>
          <p:spPr>
            <a:xfrm>
              <a:off x="10202509" y="2294086"/>
              <a:ext cx="195072" cy="438912"/>
            </a:xfrm>
            <a:custGeom>
              <a:avLst/>
              <a:gdLst>
                <a:gd name="connsiteX0" fmla="*/ 218481 w 195072"/>
                <a:gd name="connsiteY0" fmla="*/ 0 h 438911"/>
                <a:gd name="connsiteX1" fmla="*/ 0 w 195072"/>
                <a:gd name="connsiteY1" fmla="*/ 457688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438911">
                  <a:moveTo>
                    <a:pt x="218481" y="0"/>
                  </a:moveTo>
                  <a:lnTo>
                    <a:pt x="0" y="45768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3510742-BEC5-4745-824F-1E8880BC88E6}"/>
                </a:ext>
              </a:extLst>
            </p:cNvPr>
            <p:cNvSpPr/>
            <p:nvPr/>
          </p:nvSpPr>
          <p:spPr>
            <a:xfrm>
              <a:off x="10249571" y="2698616"/>
              <a:ext cx="219456" cy="365760"/>
            </a:xfrm>
            <a:custGeom>
              <a:avLst/>
              <a:gdLst>
                <a:gd name="connsiteX0" fmla="*/ 233355 w 219456"/>
                <a:gd name="connsiteY0" fmla="*/ 0 h 365759"/>
                <a:gd name="connsiteX1" fmla="*/ 0 w 219456"/>
                <a:gd name="connsiteY1" fmla="*/ 384292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365759">
                  <a:moveTo>
                    <a:pt x="233355" y="0"/>
                  </a:moveTo>
                  <a:lnTo>
                    <a:pt x="0" y="38429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1277AEB-7279-47B5-A074-F309964A3D57}"/>
                </a:ext>
              </a:extLst>
            </p:cNvPr>
            <p:cNvSpPr/>
            <p:nvPr/>
          </p:nvSpPr>
          <p:spPr>
            <a:xfrm>
              <a:off x="9968423" y="2373822"/>
              <a:ext cx="170688" cy="73152"/>
            </a:xfrm>
            <a:custGeom>
              <a:avLst/>
              <a:gdLst>
                <a:gd name="connsiteX0" fmla="*/ 0 w 170688"/>
                <a:gd name="connsiteY0" fmla="*/ 0 h 73151"/>
                <a:gd name="connsiteX1" fmla="*/ 172882 w 170688"/>
                <a:gd name="connsiteY1" fmla="*/ 8705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73151">
                  <a:moveTo>
                    <a:pt x="0" y="0"/>
                  </a:moveTo>
                  <a:lnTo>
                    <a:pt x="172882" y="870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C664493-5E34-456F-A6DE-D0E8AE23B777}"/>
                </a:ext>
              </a:extLst>
            </p:cNvPr>
            <p:cNvSpPr/>
            <p:nvPr/>
          </p:nvSpPr>
          <p:spPr>
            <a:xfrm>
              <a:off x="9874057" y="2652774"/>
              <a:ext cx="316992" cy="146304"/>
            </a:xfrm>
            <a:custGeom>
              <a:avLst/>
              <a:gdLst>
                <a:gd name="connsiteX0" fmla="*/ 0 w 316992"/>
                <a:gd name="connsiteY0" fmla="*/ 0 h 146303"/>
                <a:gd name="connsiteX1" fmla="*/ 340889 w 316992"/>
                <a:gd name="connsiteY1" fmla="*/ 170200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146303">
                  <a:moveTo>
                    <a:pt x="0" y="0"/>
                  </a:moveTo>
                  <a:lnTo>
                    <a:pt x="340889" y="1702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6D0E4E7-13F0-4DB2-9F5B-06A6C8D0D914}"/>
                </a:ext>
              </a:extLst>
            </p:cNvPr>
            <p:cNvSpPr/>
            <p:nvPr/>
          </p:nvSpPr>
          <p:spPr>
            <a:xfrm>
              <a:off x="9947453" y="3009756"/>
              <a:ext cx="292608" cy="97536"/>
            </a:xfrm>
            <a:custGeom>
              <a:avLst/>
              <a:gdLst>
                <a:gd name="connsiteX0" fmla="*/ 0 w 292608"/>
                <a:gd name="connsiteY0" fmla="*/ 0 h 97535"/>
                <a:gd name="connsiteX1" fmla="*/ 306507 w 292608"/>
                <a:gd name="connsiteY1" fmla="*/ 118750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608" h="97535">
                  <a:moveTo>
                    <a:pt x="0" y="0"/>
                  </a:moveTo>
                  <a:lnTo>
                    <a:pt x="306507" y="11875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749D8B2-2519-4E11-BE5E-3F8BB8C102FB}"/>
                </a:ext>
              </a:extLst>
            </p:cNvPr>
            <p:cNvSpPr/>
            <p:nvPr/>
          </p:nvSpPr>
          <p:spPr>
            <a:xfrm>
              <a:off x="8722347" y="1691694"/>
              <a:ext cx="1560576" cy="1609344"/>
            </a:xfrm>
            <a:custGeom>
              <a:avLst/>
              <a:gdLst>
                <a:gd name="connsiteX0" fmla="*/ 1563068 w 1560576"/>
                <a:gd name="connsiteY0" fmla="*/ 1616522 h 1609343"/>
                <a:gd name="connsiteX1" fmla="*/ 1304597 w 1560576"/>
                <a:gd name="connsiteY1" fmla="*/ 917920 h 1609343"/>
                <a:gd name="connsiteX2" fmla="*/ 951760 w 1560576"/>
                <a:gd name="connsiteY2" fmla="*/ 537286 h 1609343"/>
                <a:gd name="connsiteX3" fmla="*/ 665493 w 1560576"/>
                <a:gd name="connsiteY3" fmla="*/ 3277 h 1609343"/>
                <a:gd name="connsiteX4" fmla="*/ 379225 w 1560576"/>
                <a:gd name="connsiteY4" fmla="*/ 584347 h 1609343"/>
                <a:gd name="connsiteX5" fmla="*/ 67840 w 1560576"/>
                <a:gd name="connsiteY5" fmla="*/ 955472 h 1609343"/>
                <a:gd name="connsiteX6" fmla="*/ 77838 w 1560576"/>
                <a:gd name="connsiteY6" fmla="*/ 1616278 h 1609343"/>
                <a:gd name="connsiteX7" fmla="*/ 1563068 w 1560576"/>
                <a:gd name="connsiteY7" fmla="*/ 1616278 h 160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0576" h="1609343">
                  <a:moveTo>
                    <a:pt x="1563068" y="1616522"/>
                  </a:moveTo>
                  <a:cubicBezTo>
                    <a:pt x="1624272" y="1197605"/>
                    <a:pt x="1478211" y="948888"/>
                    <a:pt x="1304597" y="917920"/>
                  </a:cubicBezTo>
                  <a:cubicBezTo>
                    <a:pt x="1126107" y="886221"/>
                    <a:pt x="1005650" y="820872"/>
                    <a:pt x="951760" y="537286"/>
                  </a:cubicBezTo>
                  <a:cubicBezTo>
                    <a:pt x="897872" y="253700"/>
                    <a:pt x="864710" y="-34031"/>
                    <a:pt x="665493" y="3277"/>
                  </a:cubicBezTo>
                  <a:cubicBezTo>
                    <a:pt x="466275" y="40584"/>
                    <a:pt x="395806" y="293690"/>
                    <a:pt x="379225" y="584347"/>
                  </a:cubicBezTo>
                  <a:cubicBezTo>
                    <a:pt x="362643" y="874761"/>
                    <a:pt x="238041" y="841599"/>
                    <a:pt x="67840" y="955472"/>
                  </a:cubicBezTo>
                  <a:cubicBezTo>
                    <a:pt x="-65052" y="1044473"/>
                    <a:pt x="30046" y="1445346"/>
                    <a:pt x="77838" y="1616278"/>
                  </a:cubicBezTo>
                  <a:lnTo>
                    <a:pt x="1563068" y="1616278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3247B0A-CDBA-414B-95FF-54A552364396}"/>
                </a:ext>
              </a:extLst>
            </p:cNvPr>
            <p:cNvSpPr/>
            <p:nvPr/>
          </p:nvSpPr>
          <p:spPr>
            <a:xfrm>
              <a:off x="8819326" y="2604982"/>
              <a:ext cx="1292352" cy="682752"/>
            </a:xfrm>
            <a:custGeom>
              <a:avLst/>
              <a:gdLst>
                <a:gd name="connsiteX0" fmla="*/ 1272724 w 1292352"/>
                <a:gd name="connsiteY0" fmla="*/ 379415 h 682751"/>
                <a:gd name="connsiteX1" fmla="*/ 897211 w 1292352"/>
                <a:gd name="connsiteY1" fmla="*/ 421356 h 682751"/>
                <a:gd name="connsiteX2" fmla="*/ 617038 w 1292352"/>
                <a:gd name="connsiteY2" fmla="*/ 0 h 682751"/>
                <a:gd name="connsiteX3" fmla="*/ 303704 w 1292352"/>
                <a:gd name="connsiteY3" fmla="*/ 466954 h 682751"/>
                <a:gd name="connsiteX4" fmla="*/ 52549 w 1292352"/>
                <a:gd name="connsiteY4" fmla="*/ 333573 h 682751"/>
                <a:gd name="connsiteX5" fmla="*/ 43527 w 1292352"/>
                <a:gd name="connsiteY5" fmla="*/ 703234 h 682751"/>
                <a:gd name="connsiteX6" fmla="*/ 1220055 w 1292352"/>
                <a:gd name="connsiteY6" fmla="*/ 703234 h 682751"/>
                <a:gd name="connsiteX7" fmla="*/ 1272724 w 1292352"/>
                <a:gd name="connsiteY7" fmla="*/ 379415 h 68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2352" h="682751">
                  <a:moveTo>
                    <a:pt x="1272724" y="379415"/>
                  </a:moveTo>
                  <a:cubicBezTo>
                    <a:pt x="1191769" y="322844"/>
                    <a:pt x="1027909" y="435986"/>
                    <a:pt x="897211" y="421356"/>
                  </a:cubicBezTo>
                  <a:cubicBezTo>
                    <a:pt x="766512" y="406725"/>
                    <a:pt x="799675" y="0"/>
                    <a:pt x="617038" y="0"/>
                  </a:cubicBezTo>
                  <a:cubicBezTo>
                    <a:pt x="434402" y="0"/>
                    <a:pt x="449033" y="464759"/>
                    <a:pt x="303704" y="466954"/>
                  </a:cubicBezTo>
                  <a:cubicBezTo>
                    <a:pt x="158375" y="468904"/>
                    <a:pt x="170811" y="265786"/>
                    <a:pt x="52549" y="333573"/>
                  </a:cubicBezTo>
                  <a:cubicBezTo>
                    <a:pt x="-44987" y="389412"/>
                    <a:pt x="18411" y="623011"/>
                    <a:pt x="43527" y="703234"/>
                  </a:cubicBezTo>
                  <a:lnTo>
                    <a:pt x="1220055" y="703234"/>
                  </a:lnTo>
                  <a:cubicBezTo>
                    <a:pt x="1264921" y="596676"/>
                    <a:pt x="1328564" y="418429"/>
                    <a:pt x="1272724" y="379415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F9F39C0-3E48-41B4-8969-4C09A54EE9C7}"/>
                </a:ext>
              </a:extLst>
            </p:cNvPr>
            <p:cNvSpPr/>
            <p:nvPr/>
          </p:nvSpPr>
          <p:spPr>
            <a:xfrm>
              <a:off x="9403202" y="1904917"/>
              <a:ext cx="24384" cy="1389888"/>
            </a:xfrm>
            <a:custGeom>
              <a:avLst/>
              <a:gdLst>
                <a:gd name="connsiteX0" fmla="*/ 0 w 24384"/>
                <a:gd name="connsiteY0" fmla="*/ 0 h 1389887"/>
                <a:gd name="connsiteX1" fmla="*/ 9266 w 24384"/>
                <a:gd name="connsiteY1" fmla="*/ 1403543 h 138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389887">
                  <a:moveTo>
                    <a:pt x="0" y="0"/>
                  </a:moveTo>
                  <a:cubicBezTo>
                    <a:pt x="0" y="0"/>
                    <a:pt x="72421" y="831738"/>
                    <a:pt x="9266" y="140354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70CF274-641A-4F42-8DF5-C5C25ED1D035}"/>
                </a:ext>
              </a:extLst>
            </p:cNvPr>
            <p:cNvSpPr/>
            <p:nvPr/>
          </p:nvSpPr>
          <p:spPr>
            <a:xfrm>
              <a:off x="9415638" y="1960025"/>
              <a:ext cx="73152" cy="97536"/>
            </a:xfrm>
            <a:custGeom>
              <a:avLst/>
              <a:gdLst>
                <a:gd name="connsiteX0" fmla="*/ 83393 w 73152"/>
                <a:gd name="connsiteY0" fmla="*/ 0 h 97535"/>
                <a:gd name="connsiteX1" fmla="*/ 0 w 73152"/>
                <a:gd name="connsiteY1" fmla="*/ 117287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97535">
                  <a:moveTo>
                    <a:pt x="83393" y="0"/>
                  </a:moveTo>
                  <a:lnTo>
                    <a:pt x="0" y="1172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6C95E72-EBA8-4693-82DE-A741C633D29D}"/>
                </a:ext>
              </a:extLst>
            </p:cNvPr>
            <p:cNvSpPr/>
            <p:nvPr/>
          </p:nvSpPr>
          <p:spPr>
            <a:xfrm>
              <a:off x="9255679" y="2032202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66787 w 146304"/>
                <a:gd name="connsiteY1" fmla="*/ 16069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66787" y="1606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5D88DC9-557C-4A0A-891D-77BF05E00DFB}"/>
                </a:ext>
              </a:extLst>
            </p:cNvPr>
            <p:cNvSpPr/>
            <p:nvPr/>
          </p:nvSpPr>
          <p:spPr>
            <a:xfrm>
              <a:off x="9433194" y="2244586"/>
              <a:ext cx="170688" cy="195072"/>
            </a:xfrm>
            <a:custGeom>
              <a:avLst/>
              <a:gdLst>
                <a:gd name="connsiteX0" fmla="*/ 175809 w 170688"/>
                <a:gd name="connsiteY0" fmla="*/ 0 h 195071"/>
                <a:gd name="connsiteX1" fmla="*/ 0 w 170688"/>
                <a:gd name="connsiteY1" fmla="*/ 19604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95071">
                  <a:moveTo>
                    <a:pt x="175809" y="0"/>
                  </a:moveTo>
                  <a:lnTo>
                    <a:pt x="0" y="19604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77138AE-FBDA-48C8-A631-CEA0D4AFD4F4}"/>
                </a:ext>
              </a:extLst>
            </p:cNvPr>
            <p:cNvSpPr/>
            <p:nvPr/>
          </p:nvSpPr>
          <p:spPr>
            <a:xfrm>
              <a:off x="9169116" y="2342610"/>
              <a:ext cx="268224" cy="243840"/>
            </a:xfrm>
            <a:custGeom>
              <a:avLst/>
              <a:gdLst>
                <a:gd name="connsiteX0" fmla="*/ 0 w 268224"/>
                <a:gd name="connsiteY0" fmla="*/ 0 h 243839"/>
                <a:gd name="connsiteX1" fmla="*/ 269200 w 268224"/>
                <a:gd name="connsiteY1" fmla="*/ 263835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43839">
                  <a:moveTo>
                    <a:pt x="0" y="0"/>
                  </a:moveTo>
                  <a:lnTo>
                    <a:pt x="269200" y="26383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3024CDF-1985-429D-9786-19754090781B}"/>
                </a:ext>
              </a:extLst>
            </p:cNvPr>
            <p:cNvSpPr/>
            <p:nvPr/>
          </p:nvSpPr>
          <p:spPr>
            <a:xfrm>
              <a:off x="9438071" y="2474527"/>
              <a:ext cx="316992" cy="292608"/>
            </a:xfrm>
            <a:custGeom>
              <a:avLst/>
              <a:gdLst>
                <a:gd name="connsiteX0" fmla="*/ 318455 w 316992"/>
                <a:gd name="connsiteY0" fmla="*/ 0 h 292607"/>
                <a:gd name="connsiteX1" fmla="*/ 0 w 316992"/>
                <a:gd name="connsiteY1" fmla="*/ 307238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292607">
                  <a:moveTo>
                    <a:pt x="318455" y="0"/>
                  </a:moveTo>
                  <a:lnTo>
                    <a:pt x="0" y="3072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70D8454-7703-4ADF-849A-3322284F0DDB}"/>
                </a:ext>
              </a:extLst>
            </p:cNvPr>
            <p:cNvSpPr/>
            <p:nvPr/>
          </p:nvSpPr>
          <p:spPr>
            <a:xfrm>
              <a:off x="9246413" y="2812733"/>
              <a:ext cx="170688" cy="170688"/>
            </a:xfrm>
            <a:custGeom>
              <a:avLst/>
              <a:gdLst>
                <a:gd name="connsiteX0" fmla="*/ 0 w 170688"/>
                <a:gd name="connsiteY0" fmla="*/ 0 h 170687"/>
                <a:gd name="connsiteX1" fmla="*/ 187513 w 170688"/>
                <a:gd name="connsiteY1" fmla="*/ 18458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70687">
                  <a:moveTo>
                    <a:pt x="0" y="0"/>
                  </a:moveTo>
                  <a:lnTo>
                    <a:pt x="187513" y="1845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630D5F5-671A-4B54-8639-1817C42EC345}"/>
                </a:ext>
              </a:extLst>
            </p:cNvPr>
            <p:cNvSpPr/>
            <p:nvPr/>
          </p:nvSpPr>
          <p:spPr>
            <a:xfrm>
              <a:off x="9428317" y="2861989"/>
              <a:ext cx="219456" cy="243840"/>
            </a:xfrm>
            <a:custGeom>
              <a:avLst/>
              <a:gdLst>
                <a:gd name="connsiteX0" fmla="*/ 241157 w 219456"/>
                <a:gd name="connsiteY0" fmla="*/ 0 h 243839"/>
                <a:gd name="connsiteX1" fmla="*/ 0 w 219456"/>
                <a:gd name="connsiteY1" fmla="*/ 255056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43839">
                  <a:moveTo>
                    <a:pt x="241157" y="0"/>
                  </a:moveTo>
                  <a:lnTo>
                    <a:pt x="0" y="25505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9D2BAD05-FE19-45AC-BDA9-748B15C039A5}"/>
                </a:ext>
              </a:extLst>
            </p:cNvPr>
            <p:cNvSpPr/>
            <p:nvPr/>
          </p:nvSpPr>
          <p:spPr>
            <a:xfrm>
              <a:off x="8950878" y="2781278"/>
              <a:ext cx="73152" cy="512064"/>
            </a:xfrm>
            <a:custGeom>
              <a:avLst/>
              <a:gdLst>
                <a:gd name="connsiteX0" fmla="*/ 0 w 73152"/>
                <a:gd name="connsiteY0" fmla="*/ 0 h 512063"/>
                <a:gd name="connsiteX1" fmla="*/ 84369 w 73152"/>
                <a:gd name="connsiteY1" fmla="*/ 527182 h 51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12063">
                  <a:moveTo>
                    <a:pt x="0" y="0"/>
                  </a:moveTo>
                  <a:cubicBezTo>
                    <a:pt x="0" y="0"/>
                    <a:pt x="72665" y="119238"/>
                    <a:pt x="84369" y="52718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94E8627-6C5A-4F01-A9DC-9F1B0D0568DA}"/>
                </a:ext>
              </a:extLst>
            </p:cNvPr>
            <p:cNvSpPr/>
            <p:nvPr/>
          </p:nvSpPr>
          <p:spPr>
            <a:xfrm>
              <a:off x="9024518" y="2976106"/>
              <a:ext cx="97536" cy="146304"/>
            </a:xfrm>
            <a:custGeom>
              <a:avLst/>
              <a:gdLst>
                <a:gd name="connsiteX0" fmla="*/ 102413 w 97536"/>
                <a:gd name="connsiteY0" fmla="*/ 0 h 146303"/>
                <a:gd name="connsiteX1" fmla="*/ 0 w 97536"/>
                <a:gd name="connsiteY1" fmla="*/ 16922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02413" y="0"/>
                  </a:moveTo>
                  <a:lnTo>
                    <a:pt x="0" y="16922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83B00FA-A029-440F-960F-654E67EA43BA}"/>
                </a:ext>
              </a:extLst>
            </p:cNvPr>
            <p:cNvSpPr/>
            <p:nvPr/>
          </p:nvSpPr>
          <p:spPr>
            <a:xfrm>
              <a:off x="8807257" y="3092662"/>
              <a:ext cx="219456" cy="73152"/>
            </a:xfrm>
            <a:custGeom>
              <a:avLst/>
              <a:gdLst>
                <a:gd name="connsiteX0" fmla="*/ 0 w 219456"/>
                <a:gd name="connsiteY0" fmla="*/ 0 h 73151"/>
                <a:gd name="connsiteX1" fmla="*/ 220188 w 219456"/>
                <a:gd name="connsiteY1" fmla="*/ 85344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0" y="0"/>
                  </a:moveTo>
                  <a:lnTo>
                    <a:pt x="220188" y="8534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7D1F5D6-1927-4BC3-8D78-DE512966E327}"/>
                </a:ext>
              </a:extLst>
            </p:cNvPr>
            <p:cNvSpPr/>
            <p:nvPr/>
          </p:nvSpPr>
          <p:spPr>
            <a:xfrm>
              <a:off x="9941357" y="2872962"/>
              <a:ext cx="48768" cy="414528"/>
            </a:xfrm>
            <a:custGeom>
              <a:avLst/>
              <a:gdLst>
                <a:gd name="connsiteX0" fmla="*/ 49011 w 48768"/>
                <a:gd name="connsiteY0" fmla="*/ 0 h 414527"/>
                <a:gd name="connsiteX1" fmla="*/ 0 w 48768"/>
                <a:gd name="connsiteY1" fmla="*/ 435498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49011" y="0"/>
                  </a:moveTo>
                  <a:cubicBezTo>
                    <a:pt x="49011" y="0"/>
                    <a:pt x="11704" y="27554"/>
                    <a:pt x="0" y="43549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0F07BD1-D852-4702-A0F2-FE23DFE653D5}"/>
                </a:ext>
              </a:extLst>
            </p:cNvPr>
            <p:cNvSpPr/>
            <p:nvPr/>
          </p:nvSpPr>
          <p:spPr>
            <a:xfrm>
              <a:off x="9849917" y="2976594"/>
              <a:ext cx="97536" cy="146304"/>
            </a:xfrm>
            <a:custGeom>
              <a:avLst/>
              <a:gdLst>
                <a:gd name="connsiteX0" fmla="*/ 0 w 97536"/>
                <a:gd name="connsiteY0" fmla="*/ 0 h 146303"/>
                <a:gd name="connsiteX1" fmla="*/ 102169 w 97536"/>
                <a:gd name="connsiteY1" fmla="*/ 168737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0" y="0"/>
                  </a:moveTo>
                  <a:lnTo>
                    <a:pt x="102169" y="16873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A7D0A88-7EF5-41F2-9BA6-AEB4EEFE415B}"/>
                </a:ext>
              </a:extLst>
            </p:cNvPr>
            <p:cNvSpPr/>
            <p:nvPr/>
          </p:nvSpPr>
          <p:spPr>
            <a:xfrm>
              <a:off x="9949160" y="3117777"/>
              <a:ext cx="146304" cy="48768"/>
            </a:xfrm>
            <a:custGeom>
              <a:avLst/>
              <a:gdLst>
                <a:gd name="connsiteX0" fmla="*/ 155082 w 146304"/>
                <a:gd name="connsiteY0" fmla="*/ 0 h 48767"/>
                <a:gd name="connsiteX1" fmla="*/ 0 w 146304"/>
                <a:gd name="connsiteY1" fmla="*/ 6022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48767">
                  <a:moveTo>
                    <a:pt x="155082" y="0"/>
                  </a:moveTo>
                  <a:lnTo>
                    <a:pt x="0" y="6022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60660E3-3D13-4E53-BED2-4D0B847F8DF7}"/>
                </a:ext>
              </a:extLst>
            </p:cNvPr>
            <p:cNvSpPr/>
            <p:nvPr/>
          </p:nvSpPr>
          <p:spPr>
            <a:xfrm>
              <a:off x="7475159" y="2195962"/>
              <a:ext cx="1463040" cy="1097280"/>
            </a:xfrm>
            <a:custGeom>
              <a:avLst/>
              <a:gdLst>
                <a:gd name="connsiteX0" fmla="*/ 1449385 w 1463040"/>
                <a:gd name="connsiteY0" fmla="*/ 1110791 h 1097279"/>
                <a:gd name="connsiteX1" fmla="*/ 1342827 w 1463040"/>
                <a:gd name="connsiteY1" fmla="*/ 832 h 1097279"/>
                <a:gd name="connsiteX2" fmla="*/ 998037 w 1463040"/>
                <a:gd name="connsiteY2" fmla="*/ 451692 h 1097279"/>
                <a:gd name="connsiteX3" fmla="*/ 637398 w 1463040"/>
                <a:gd name="connsiteY3" fmla="*/ 459495 h 1097279"/>
                <a:gd name="connsiteX4" fmla="*/ 403799 w 1463040"/>
                <a:gd name="connsiteY4" fmla="*/ 743325 h 1097279"/>
                <a:gd name="connsiteX5" fmla="*/ 0 w 1463040"/>
                <a:gd name="connsiteY5" fmla="*/ 1110548 h 1097279"/>
                <a:gd name="connsiteX6" fmla="*/ 1449385 w 1463040"/>
                <a:gd name="connsiteY6" fmla="*/ 1110548 h 109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3040" h="1097279">
                  <a:moveTo>
                    <a:pt x="1449385" y="1110791"/>
                  </a:moveTo>
                  <a:cubicBezTo>
                    <a:pt x="1449385" y="1110791"/>
                    <a:pt x="1532291" y="24241"/>
                    <a:pt x="1342827" y="832"/>
                  </a:cubicBezTo>
                  <a:cubicBezTo>
                    <a:pt x="1153120" y="-22577"/>
                    <a:pt x="1186770" y="455837"/>
                    <a:pt x="998037" y="451692"/>
                  </a:cubicBezTo>
                  <a:cubicBezTo>
                    <a:pt x="809549" y="447547"/>
                    <a:pt x="706405" y="289782"/>
                    <a:pt x="637398" y="459495"/>
                  </a:cubicBezTo>
                  <a:cubicBezTo>
                    <a:pt x="568391" y="629208"/>
                    <a:pt x="566684" y="794287"/>
                    <a:pt x="403799" y="743325"/>
                  </a:cubicBezTo>
                  <a:cubicBezTo>
                    <a:pt x="240670" y="692362"/>
                    <a:pt x="0" y="1110548"/>
                    <a:pt x="0" y="1110548"/>
                  </a:cubicBezTo>
                  <a:lnTo>
                    <a:pt x="1449385" y="1110548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5D14979D-D615-498E-8096-9A6471B1BF57}"/>
                </a:ext>
              </a:extLst>
            </p:cNvPr>
            <p:cNvSpPr/>
            <p:nvPr/>
          </p:nvSpPr>
          <p:spPr>
            <a:xfrm>
              <a:off x="7474672" y="2577151"/>
              <a:ext cx="902208" cy="707136"/>
            </a:xfrm>
            <a:custGeom>
              <a:avLst/>
              <a:gdLst>
                <a:gd name="connsiteX0" fmla="*/ 404042 w 902208"/>
                <a:gd name="connsiteY0" fmla="*/ 362379 h 707135"/>
                <a:gd name="connsiteX1" fmla="*/ 637641 w 902208"/>
                <a:gd name="connsiteY1" fmla="*/ 78549 h 707135"/>
                <a:gd name="connsiteX2" fmla="*/ 916839 w 902208"/>
                <a:gd name="connsiteY2" fmla="*/ 59530 h 707135"/>
                <a:gd name="connsiteX3" fmla="*/ 916839 w 902208"/>
                <a:gd name="connsiteY3" fmla="*/ 729602 h 707135"/>
                <a:gd name="connsiteX4" fmla="*/ 0 w 902208"/>
                <a:gd name="connsiteY4" fmla="*/ 729602 h 707135"/>
                <a:gd name="connsiteX5" fmla="*/ 404042 w 902208"/>
                <a:gd name="connsiteY5" fmla="*/ 362379 h 70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2208" h="707135">
                  <a:moveTo>
                    <a:pt x="404042" y="362379"/>
                  </a:moveTo>
                  <a:cubicBezTo>
                    <a:pt x="567171" y="413341"/>
                    <a:pt x="568878" y="248262"/>
                    <a:pt x="637641" y="78549"/>
                  </a:cubicBezTo>
                  <a:cubicBezTo>
                    <a:pt x="695919" y="-65073"/>
                    <a:pt x="778825" y="25636"/>
                    <a:pt x="916839" y="59530"/>
                  </a:cubicBezTo>
                  <a:lnTo>
                    <a:pt x="916839" y="729602"/>
                  </a:lnTo>
                  <a:lnTo>
                    <a:pt x="0" y="729602"/>
                  </a:lnTo>
                  <a:cubicBezTo>
                    <a:pt x="243" y="729602"/>
                    <a:pt x="240914" y="311416"/>
                    <a:pt x="404042" y="362379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9EFD81-A786-4276-A7F5-6F81A59C13A8}"/>
                </a:ext>
              </a:extLst>
            </p:cNvPr>
            <p:cNvSpPr/>
            <p:nvPr/>
          </p:nvSpPr>
          <p:spPr>
            <a:xfrm>
              <a:off x="0" y="1601012"/>
              <a:ext cx="2584704" cy="1706880"/>
            </a:xfrm>
            <a:custGeom>
              <a:avLst/>
              <a:gdLst>
                <a:gd name="connsiteX0" fmla="*/ 2605430 w 2584704"/>
                <a:gd name="connsiteY0" fmla="*/ 1707204 h 1706879"/>
                <a:gd name="connsiteX1" fmla="*/ 0 w 2584704"/>
                <a:gd name="connsiteY1" fmla="*/ 1707204 h 1706879"/>
                <a:gd name="connsiteX2" fmla="*/ 0 w 2584704"/>
                <a:gd name="connsiteY2" fmla="*/ 543844 h 1706879"/>
                <a:gd name="connsiteX3" fmla="*/ 283830 w 2584704"/>
                <a:gd name="connsiteY3" fmla="*/ 324 h 1706879"/>
                <a:gd name="connsiteX4" fmla="*/ 1247729 w 2584704"/>
                <a:gd name="connsiteY4" fmla="*/ 896680 h 1706879"/>
                <a:gd name="connsiteX5" fmla="*/ 2605430 w 2584704"/>
                <a:gd name="connsiteY5" fmla="*/ 1271706 h 1706879"/>
                <a:gd name="connsiteX6" fmla="*/ 2605430 w 2584704"/>
                <a:gd name="connsiteY6" fmla="*/ 1707204 h 1706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4704" h="1706879">
                  <a:moveTo>
                    <a:pt x="2605430" y="1707204"/>
                  </a:moveTo>
                  <a:lnTo>
                    <a:pt x="0" y="1707204"/>
                  </a:lnTo>
                  <a:lnTo>
                    <a:pt x="0" y="543844"/>
                  </a:lnTo>
                  <a:cubicBezTo>
                    <a:pt x="53889" y="247090"/>
                    <a:pt x="141427" y="8127"/>
                    <a:pt x="283830" y="324"/>
                  </a:cubicBezTo>
                  <a:cubicBezTo>
                    <a:pt x="665927" y="-20402"/>
                    <a:pt x="682996" y="959590"/>
                    <a:pt x="1247729" y="896680"/>
                  </a:cubicBezTo>
                  <a:cubicBezTo>
                    <a:pt x="1691030" y="847424"/>
                    <a:pt x="2274296" y="859860"/>
                    <a:pt x="2605430" y="1271706"/>
                  </a:cubicBezTo>
                  <a:lnTo>
                    <a:pt x="2605430" y="1707204"/>
                  </a:ln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2183445-C60C-4DF9-98DF-E5C889C915B2}"/>
                </a:ext>
              </a:extLst>
            </p:cNvPr>
            <p:cNvSpPr/>
            <p:nvPr/>
          </p:nvSpPr>
          <p:spPr>
            <a:xfrm>
              <a:off x="985995" y="1772592"/>
              <a:ext cx="2023872" cy="1511808"/>
            </a:xfrm>
            <a:custGeom>
              <a:avLst/>
              <a:gdLst>
                <a:gd name="connsiteX0" fmla="*/ 24965 w 2023872"/>
                <a:gd name="connsiteY0" fmla="*/ 1534161 h 1511807"/>
                <a:gd name="connsiteX1" fmla="*/ 172245 w 2023872"/>
                <a:gd name="connsiteY1" fmla="*/ 1139 h 1511807"/>
                <a:gd name="connsiteX2" fmla="*/ 648464 w 2023872"/>
                <a:gd name="connsiteY2" fmla="*/ 623907 h 1511807"/>
                <a:gd name="connsiteX3" fmla="*/ 1146630 w 2023872"/>
                <a:gd name="connsiteY3" fmla="*/ 634636 h 1511807"/>
                <a:gd name="connsiteX4" fmla="*/ 1469474 w 2023872"/>
                <a:gd name="connsiteY4" fmla="*/ 1026730 h 1511807"/>
                <a:gd name="connsiteX5" fmla="*/ 2027380 w 2023872"/>
                <a:gd name="connsiteY5" fmla="*/ 1534161 h 1511807"/>
                <a:gd name="connsiteX6" fmla="*/ 24965 w 2023872"/>
                <a:gd name="connsiteY6" fmla="*/ 1534161 h 151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23872" h="1511807">
                  <a:moveTo>
                    <a:pt x="24965" y="1534161"/>
                  </a:moveTo>
                  <a:cubicBezTo>
                    <a:pt x="24965" y="1534161"/>
                    <a:pt x="-89639" y="33326"/>
                    <a:pt x="172245" y="1139"/>
                  </a:cubicBezTo>
                  <a:cubicBezTo>
                    <a:pt x="434129" y="-31048"/>
                    <a:pt x="387799" y="629515"/>
                    <a:pt x="648464" y="623907"/>
                  </a:cubicBezTo>
                  <a:cubicBezTo>
                    <a:pt x="908885" y="618298"/>
                    <a:pt x="1051288" y="400305"/>
                    <a:pt x="1146630" y="634636"/>
                  </a:cubicBezTo>
                  <a:cubicBezTo>
                    <a:pt x="1241727" y="869209"/>
                    <a:pt x="1244166" y="1097200"/>
                    <a:pt x="1469474" y="1026730"/>
                  </a:cubicBezTo>
                  <a:cubicBezTo>
                    <a:pt x="1694782" y="956260"/>
                    <a:pt x="2027380" y="1534161"/>
                    <a:pt x="2027380" y="1534161"/>
                  </a:cubicBezTo>
                  <a:lnTo>
                    <a:pt x="24965" y="1534161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9D2F756-A6F0-4469-AA1E-B615D3811F82}"/>
                </a:ext>
              </a:extLst>
            </p:cNvPr>
            <p:cNvSpPr/>
            <p:nvPr/>
          </p:nvSpPr>
          <p:spPr>
            <a:xfrm>
              <a:off x="1746870" y="2298856"/>
              <a:ext cx="1243584" cy="999744"/>
            </a:xfrm>
            <a:custGeom>
              <a:avLst/>
              <a:gdLst>
                <a:gd name="connsiteX0" fmla="*/ 708599 w 1243584"/>
                <a:gd name="connsiteY0" fmla="*/ 500467 h 999743"/>
                <a:gd name="connsiteX1" fmla="*/ 385755 w 1243584"/>
                <a:gd name="connsiteY1" fmla="*/ 108372 h 999743"/>
                <a:gd name="connsiteX2" fmla="*/ 0 w 1243584"/>
                <a:gd name="connsiteY2" fmla="*/ 82281 h 999743"/>
                <a:gd name="connsiteX3" fmla="*/ 0 w 1243584"/>
                <a:gd name="connsiteY3" fmla="*/ 1007898 h 999743"/>
                <a:gd name="connsiteX4" fmla="*/ 1266505 w 1243584"/>
                <a:gd name="connsiteY4" fmla="*/ 1007898 h 999743"/>
                <a:gd name="connsiteX5" fmla="*/ 708599 w 1243584"/>
                <a:gd name="connsiteY5" fmla="*/ 500467 h 99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3584" h="999743">
                  <a:moveTo>
                    <a:pt x="708599" y="500467"/>
                  </a:moveTo>
                  <a:cubicBezTo>
                    <a:pt x="483291" y="570936"/>
                    <a:pt x="481096" y="342702"/>
                    <a:pt x="385755" y="108372"/>
                  </a:cubicBezTo>
                  <a:cubicBezTo>
                    <a:pt x="305288" y="-89870"/>
                    <a:pt x="190927" y="35464"/>
                    <a:pt x="0" y="82281"/>
                  </a:cubicBezTo>
                  <a:lnTo>
                    <a:pt x="0" y="1007898"/>
                  </a:lnTo>
                  <a:lnTo>
                    <a:pt x="1266505" y="1007898"/>
                  </a:lnTo>
                  <a:cubicBezTo>
                    <a:pt x="1266261" y="1007898"/>
                    <a:pt x="933663" y="430241"/>
                    <a:pt x="708599" y="500467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159037B5-8FF4-4BB9-8AAA-08294FAA437C}"/>
                </a:ext>
              </a:extLst>
            </p:cNvPr>
            <p:cNvSpPr/>
            <p:nvPr/>
          </p:nvSpPr>
          <p:spPr>
            <a:xfrm>
              <a:off x="1850746" y="2729298"/>
              <a:ext cx="73152" cy="560832"/>
            </a:xfrm>
            <a:custGeom>
              <a:avLst/>
              <a:gdLst>
                <a:gd name="connsiteX0" fmla="*/ 86075 w 73152"/>
                <a:gd name="connsiteY0" fmla="*/ 43 h 560831"/>
                <a:gd name="connsiteX1" fmla="*/ 0 w 73152"/>
                <a:gd name="connsiteY1" fmla="*/ 577212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60831">
                  <a:moveTo>
                    <a:pt x="86075" y="43"/>
                  </a:moveTo>
                  <a:cubicBezTo>
                    <a:pt x="86075" y="43"/>
                    <a:pt x="17069" y="-16051"/>
                    <a:pt x="0" y="57721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DC1FA1-A4C3-410F-904D-A85EFC561CC3}"/>
                </a:ext>
              </a:extLst>
            </p:cNvPr>
            <p:cNvSpPr/>
            <p:nvPr/>
          </p:nvSpPr>
          <p:spPr>
            <a:xfrm>
              <a:off x="1717609" y="2824438"/>
              <a:ext cx="146304" cy="243840"/>
            </a:xfrm>
            <a:custGeom>
              <a:avLst/>
              <a:gdLst>
                <a:gd name="connsiteX0" fmla="*/ 0 w 146304"/>
                <a:gd name="connsiteY0" fmla="*/ 0 h 243839"/>
                <a:gd name="connsiteX1" fmla="*/ 148742 w 146304"/>
                <a:gd name="connsiteY1" fmla="*/ 245059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243839">
                  <a:moveTo>
                    <a:pt x="0" y="0"/>
                  </a:moveTo>
                  <a:lnTo>
                    <a:pt x="148742" y="24505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772B733-680E-4C64-B107-39542445E726}"/>
                </a:ext>
              </a:extLst>
            </p:cNvPr>
            <p:cNvSpPr/>
            <p:nvPr/>
          </p:nvSpPr>
          <p:spPr>
            <a:xfrm>
              <a:off x="1861962" y="3023655"/>
              <a:ext cx="219456" cy="73152"/>
            </a:xfrm>
            <a:custGeom>
              <a:avLst/>
              <a:gdLst>
                <a:gd name="connsiteX0" fmla="*/ 241158 w 219456"/>
                <a:gd name="connsiteY0" fmla="*/ 0 h 73151"/>
                <a:gd name="connsiteX1" fmla="*/ 0 w 219456"/>
                <a:gd name="connsiteY1" fmla="*/ 9339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241158" y="0"/>
                  </a:moveTo>
                  <a:lnTo>
                    <a:pt x="0" y="933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CD27F59-AF26-4087-80D4-F89D1E1624CA}"/>
                </a:ext>
              </a:extLst>
            </p:cNvPr>
            <p:cNvSpPr/>
            <p:nvPr/>
          </p:nvSpPr>
          <p:spPr>
            <a:xfrm>
              <a:off x="1230793" y="2170459"/>
              <a:ext cx="24384" cy="1121664"/>
            </a:xfrm>
            <a:custGeom>
              <a:avLst/>
              <a:gdLst>
                <a:gd name="connsiteX0" fmla="*/ 22300 w 24384"/>
                <a:gd name="connsiteY0" fmla="*/ 0 h 1121663"/>
                <a:gd name="connsiteX1" fmla="*/ 38638 w 24384"/>
                <a:gd name="connsiteY1" fmla="*/ 1137757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22300" y="0"/>
                  </a:moveTo>
                  <a:cubicBezTo>
                    <a:pt x="22300" y="0"/>
                    <a:pt x="-37440" y="448909"/>
                    <a:pt x="38638" y="113775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2BE4FFE-481E-4738-8A10-A90AC16619CB}"/>
                </a:ext>
              </a:extLst>
            </p:cNvPr>
            <p:cNvSpPr/>
            <p:nvPr/>
          </p:nvSpPr>
          <p:spPr>
            <a:xfrm>
              <a:off x="1238463" y="2321640"/>
              <a:ext cx="121920" cy="121920"/>
            </a:xfrm>
            <a:custGeom>
              <a:avLst/>
              <a:gdLst>
                <a:gd name="connsiteX0" fmla="*/ 143622 w 121920"/>
                <a:gd name="connsiteY0" fmla="*/ 0 h 121919"/>
                <a:gd name="connsiteX1" fmla="*/ 0 w 121920"/>
                <a:gd name="connsiteY1" fmla="*/ 14093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143622" y="0"/>
                  </a:moveTo>
                  <a:lnTo>
                    <a:pt x="0" y="14093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80D90C2-9B41-4E4F-9D6D-F0062DACFFD5}"/>
                </a:ext>
              </a:extLst>
            </p:cNvPr>
            <p:cNvSpPr/>
            <p:nvPr/>
          </p:nvSpPr>
          <p:spPr>
            <a:xfrm>
              <a:off x="1150437" y="2588645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88026 w 73152"/>
                <a:gd name="connsiteY1" fmla="*/ 85100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88026" y="851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85227FB-28BE-4D36-897B-A92D9CE3FC58}"/>
                </a:ext>
              </a:extLst>
            </p:cNvPr>
            <p:cNvSpPr/>
            <p:nvPr/>
          </p:nvSpPr>
          <p:spPr>
            <a:xfrm>
              <a:off x="1243584" y="2641558"/>
              <a:ext cx="268224" cy="268224"/>
            </a:xfrm>
            <a:custGeom>
              <a:avLst/>
              <a:gdLst>
                <a:gd name="connsiteX0" fmla="*/ 271394 w 268224"/>
                <a:gd name="connsiteY0" fmla="*/ 0 h 268223"/>
                <a:gd name="connsiteX1" fmla="*/ 0 w 268224"/>
                <a:gd name="connsiteY1" fmla="*/ 29187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68223">
                  <a:moveTo>
                    <a:pt x="271394" y="0"/>
                  </a:moveTo>
                  <a:lnTo>
                    <a:pt x="0" y="29187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D47D3FF-CAE4-4384-8AE7-F152EA0FF4B5}"/>
                </a:ext>
              </a:extLst>
            </p:cNvPr>
            <p:cNvSpPr/>
            <p:nvPr/>
          </p:nvSpPr>
          <p:spPr>
            <a:xfrm>
              <a:off x="1067532" y="2950747"/>
              <a:ext cx="170688" cy="121920"/>
            </a:xfrm>
            <a:custGeom>
              <a:avLst/>
              <a:gdLst>
                <a:gd name="connsiteX0" fmla="*/ 0 w 170688"/>
                <a:gd name="connsiteY0" fmla="*/ 0 h 121919"/>
                <a:gd name="connsiteX1" fmla="*/ 182880 w 170688"/>
                <a:gd name="connsiteY1" fmla="*/ 127041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21919">
                  <a:moveTo>
                    <a:pt x="0" y="0"/>
                  </a:moveTo>
                  <a:lnTo>
                    <a:pt x="182880" y="1270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3C7B4F0-999B-4E3D-8866-84D1DC588E15}"/>
                </a:ext>
              </a:extLst>
            </p:cNvPr>
            <p:cNvSpPr/>
            <p:nvPr/>
          </p:nvSpPr>
          <p:spPr>
            <a:xfrm>
              <a:off x="10628584" y="296097"/>
              <a:ext cx="1194816" cy="2487167"/>
            </a:xfrm>
            <a:custGeom>
              <a:avLst/>
              <a:gdLst>
                <a:gd name="connsiteX0" fmla="*/ 887004 w 1194816"/>
                <a:gd name="connsiteY0" fmla="*/ 2431780 h 2487167"/>
                <a:gd name="connsiteX1" fmla="*/ 76723 w 1194816"/>
                <a:gd name="connsiteY1" fmla="*/ 2268408 h 2487167"/>
                <a:gd name="connsiteX2" fmla="*/ 4303 w 1194816"/>
                <a:gd name="connsiteY2" fmla="*/ 2149170 h 2487167"/>
                <a:gd name="connsiteX3" fmla="*/ 321782 w 1194816"/>
                <a:gd name="connsiteY3" fmla="*/ 1668805 h 2487167"/>
                <a:gd name="connsiteX4" fmla="*/ 211079 w 1194816"/>
                <a:gd name="connsiteY4" fmla="*/ 1434719 h 2487167"/>
                <a:gd name="connsiteX5" fmla="*/ 91598 w 1194816"/>
                <a:gd name="connsiteY5" fmla="*/ 856087 h 2487167"/>
                <a:gd name="connsiteX6" fmla="*/ 277160 w 1194816"/>
                <a:gd name="connsiteY6" fmla="*/ 285013 h 2487167"/>
                <a:gd name="connsiteX7" fmla="*/ 636336 w 1194816"/>
                <a:gd name="connsiteY7" fmla="*/ 4841 h 2487167"/>
                <a:gd name="connsiteX8" fmla="*/ 835797 w 1194816"/>
                <a:gd name="connsiteY8" fmla="*/ 231613 h 2487167"/>
                <a:gd name="connsiteX9" fmla="*/ 843356 w 1194816"/>
                <a:gd name="connsiteY9" fmla="*/ 663209 h 2487167"/>
                <a:gd name="connsiteX10" fmla="*/ 831652 w 1194816"/>
                <a:gd name="connsiteY10" fmla="*/ 854136 h 2487167"/>
                <a:gd name="connsiteX11" fmla="*/ 1178880 w 1194816"/>
                <a:gd name="connsiteY11" fmla="*/ 1192586 h 2487167"/>
                <a:gd name="connsiteX12" fmla="*/ 1072078 w 1194816"/>
                <a:gd name="connsiteY12" fmla="*/ 1657588 h 2487167"/>
                <a:gd name="connsiteX13" fmla="*/ 997463 w 1194816"/>
                <a:gd name="connsiteY13" fmla="*/ 1956049 h 2487167"/>
                <a:gd name="connsiteX14" fmla="*/ 1054034 w 1194816"/>
                <a:gd name="connsiteY14" fmla="*/ 2026762 h 2487167"/>
                <a:gd name="connsiteX15" fmla="*/ 887004 w 1194816"/>
                <a:gd name="connsiteY15" fmla="*/ 2431780 h 248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4816" h="2487167">
                  <a:moveTo>
                    <a:pt x="887004" y="2431780"/>
                  </a:moveTo>
                  <a:cubicBezTo>
                    <a:pt x="656575" y="2606614"/>
                    <a:pt x="283500" y="2447386"/>
                    <a:pt x="76723" y="2268408"/>
                  </a:cubicBezTo>
                  <a:cubicBezTo>
                    <a:pt x="40634" y="2237196"/>
                    <a:pt x="14056" y="2195987"/>
                    <a:pt x="4303" y="2149170"/>
                  </a:cubicBezTo>
                  <a:cubicBezTo>
                    <a:pt x="-42758" y="1924837"/>
                    <a:pt x="311541" y="1869729"/>
                    <a:pt x="321782" y="1668805"/>
                  </a:cubicBezTo>
                  <a:cubicBezTo>
                    <a:pt x="326415" y="1580779"/>
                    <a:pt x="260090" y="1507871"/>
                    <a:pt x="211079" y="1434719"/>
                  </a:cubicBezTo>
                  <a:cubicBezTo>
                    <a:pt x="99644" y="1267445"/>
                    <a:pt x="67945" y="1055792"/>
                    <a:pt x="91598" y="856087"/>
                  </a:cubicBezTo>
                  <a:cubicBezTo>
                    <a:pt x="115249" y="656382"/>
                    <a:pt x="190109" y="466187"/>
                    <a:pt x="277160" y="285013"/>
                  </a:cubicBezTo>
                  <a:cubicBezTo>
                    <a:pt x="348361" y="136759"/>
                    <a:pt x="475646" y="-30759"/>
                    <a:pt x="636336" y="4841"/>
                  </a:cubicBezTo>
                  <a:cubicBezTo>
                    <a:pt x="739480" y="27762"/>
                    <a:pt x="805561" y="130419"/>
                    <a:pt x="835797" y="231613"/>
                  </a:cubicBezTo>
                  <a:cubicBezTo>
                    <a:pt x="877006" y="370845"/>
                    <a:pt x="871153" y="520563"/>
                    <a:pt x="843356" y="663209"/>
                  </a:cubicBezTo>
                  <a:cubicBezTo>
                    <a:pt x="831164" y="726364"/>
                    <a:pt x="814583" y="791957"/>
                    <a:pt x="831652" y="854136"/>
                  </a:cubicBezTo>
                  <a:cubicBezTo>
                    <a:pt x="875299" y="1013120"/>
                    <a:pt x="1098169" y="1048964"/>
                    <a:pt x="1178880" y="1192586"/>
                  </a:cubicBezTo>
                  <a:cubicBezTo>
                    <a:pt x="1261298" y="1338646"/>
                    <a:pt x="1163030" y="1516649"/>
                    <a:pt x="1072078" y="1657588"/>
                  </a:cubicBezTo>
                  <a:cubicBezTo>
                    <a:pt x="994293" y="1778289"/>
                    <a:pt x="946501" y="1853148"/>
                    <a:pt x="997463" y="1956049"/>
                  </a:cubicBezTo>
                  <a:cubicBezTo>
                    <a:pt x="1010874" y="1983359"/>
                    <a:pt x="1030869" y="2006767"/>
                    <a:pt x="1054034" y="2026762"/>
                  </a:cubicBezTo>
                  <a:cubicBezTo>
                    <a:pt x="1103046" y="2069190"/>
                    <a:pt x="1194974" y="2198182"/>
                    <a:pt x="887004" y="2431780"/>
                  </a:cubicBezTo>
                  <a:close/>
                </a:path>
              </a:pathLst>
            </a:custGeom>
            <a:solidFill>
              <a:srgbClr val="EF855A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E28AF1A-1C50-4288-A033-6AB59AC2A39A}"/>
                </a:ext>
              </a:extLst>
            </p:cNvPr>
            <p:cNvSpPr/>
            <p:nvPr/>
          </p:nvSpPr>
          <p:spPr>
            <a:xfrm>
              <a:off x="11162020" y="713272"/>
              <a:ext cx="195072" cy="2779775"/>
            </a:xfrm>
            <a:custGeom>
              <a:avLst/>
              <a:gdLst>
                <a:gd name="connsiteX0" fmla="*/ 50718 w 195072"/>
                <a:gd name="connsiteY0" fmla="*/ 0 h 2779775"/>
                <a:gd name="connsiteX1" fmla="*/ 0 w 195072"/>
                <a:gd name="connsiteY1" fmla="*/ 2782702 h 2779775"/>
                <a:gd name="connsiteX2" fmla="*/ 197998 w 195072"/>
                <a:gd name="connsiteY2" fmla="*/ 2800014 h 2779775"/>
                <a:gd name="connsiteX3" fmla="*/ 50718 w 195072"/>
                <a:gd name="connsiteY3" fmla="*/ 0 h 277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072" h="2779775">
                  <a:moveTo>
                    <a:pt x="50718" y="0"/>
                  </a:moveTo>
                  <a:cubicBezTo>
                    <a:pt x="50474" y="49987"/>
                    <a:pt x="0" y="2782702"/>
                    <a:pt x="0" y="2782702"/>
                  </a:cubicBezTo>
                  <a:lnTo>
                    <a:pt x="197998" y="2800014"/>
                  </a:lnTo>
                  <a:lnTo>
                    <a:pt x="50718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1349FB6-A258-47BF-AFA0-EE46D3C2CA88}"/>
                </a:ext>
              </a:extLst>
            </p:cNvPr>
            <p:cNvSpPr/>
            <p:nvPr/>
          </p:nvSpPr>
          <p:spPr>
            <a:xfrm>
              <a:off x="10815767" y="2220446"/>
              <a:ext cx="438912" cy="414528"/>
            </a:xfrm>
            <a:custGeom>
              <a:avLst/>
              <a:gdLst>
                <a:gd name="connsiteX0" fmla="*/ 405506 w 438912"/>
                <a:gd name="connsiteY0" fmla="*/ 429890 h 414527"/>
                <a:gd name="connsiteX1" fmla="*/ 0 w 438912"/>
                <a:gd name="connsiteY1" fmla="*/ 0 h 414527"/>
                <a:gd name="connsiteX2" fmla="*/ 440619 w 438912"/>
                <a:gd name="connsiteY2" fmla="*/ 393802 h 414527"/>
                <a:gd name="connsiteX3" fmla="*/ 442569 w 438912"/>
                <a:gd name="connsiteY3" fmla="*/ 429402 h 414527"/>
                <a:gd name="connsiteX4" fmla="*/ 406969 w 438912"/>
                <a:gd name="connsiteY4" fmla="*/ 431353 h 414527"/>
                <a:gd name="connsiteX5" fmla="*/ 405506 w 438912"/>
                <a:gd name="connsiteY5" fmla="*/ 429890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912" h="414527">
                  <a:moveTo>
                    <a:pt x="405506" y="429890"/>
                  </a:moveTo>
                  <a:lnTo>
                    <a:pt x="0" y="0"/>
                  </a:lnTo>
                  <a:lnTo>
                    <a:pt x="440619" y="393802"/>
                  </a:lnTo>
                  <a:cubicBezTo>
                    <a:pt x="451104" y="403067"/>
                    <a:pt x="451836" y="419161"/>
                    <a:pt x="442569" y="429402"/>
                  </a:cubicBezTo>
                  <a:cubicBezTo>
                    <a:pt x="433303" y="439887"/>
                    <a:pt x="417211" y="440619"/>
                    <a:pt x="406969" y="431353"/>
                  </a:cubicBezTo>
                  <a:cubicBezTo>
                    <a:pt x="406482" y="430865"/>
                    <a:pt x="405993" y="430378"/>
                    <a:pt x="405506" y="429890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5348A22-B8EC-41B7-8F0E-07A985959318}"/>
                </a:ext>
              </a:extLst>
            </p:cNvPr>
            <p:cNvSpPr/>
            <p:nvPr/>
          </p:nvSpPr>
          <p:spPr>
            <a:xfrm>
              <a:off x="11018398" y="1089517"/>
              <a:ext cx="195072" cy="316992"/>
            </a:xfrm>
            <a:custGeom>
              <a:avLst/>
              <a:gdLst>
                <a:gd name="connsiteX0" fmla="*/ 164105 w 195072"/>
                <a:gd name="connsiteY0" fmla="*/ 321625 h 316991"/>
                <a:gd name="connsiteX1" fmla="*/ 0 w 195072"/>
                <a:gd name="connsiteY1" fmla="*/ 0 h 316991"/>
                <a:gd name="connsiteX2" fmla="*/ 196535 w 195072"/>
                <a:gd name="connsiteY2" fmla="*/ 303093 h 316991"/>
                <a:gd name="connsiteX3" fmla="*/ 190927 w 195072"/>
                <a:gd name="connsiteY3" fmla="*/ 328940 h 316991"/>
                <a:gd name="connsiteX4" fmla="*/ 165080 w 195072"/>
                <a:gd name="connsiteY4" fmla="*/ 323332 h 316991"/>
                <a:gd name="connsiteX5" fmla="*/ 164105 w 195072"/>
                <a:gd name="connsiteY5" fmla="*/ 321625 h 31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072" h="316991">
                  <a:moveTo>
                    <a:pt x="164105" y="321625"/>
                  </a:moveTo>
                  <a:lnTo>
                    <a:pt x="0" y="0"/>
                  </a:lnTo>
                  <a:lnTo>
                    <a:pt x="196535" y="303093"/>
                  </a:lnTo>
                  <a:cubicBezTo>
                    <a:pt x="202144" y="311871"/>
                    <a:pt x="199705" y="323332"/>
                    <a:pt x="190927" y="328940"/>
                  </a:cubicBezTo>
                  <a:cubicBezTo>
                    <a:pt x="182393" y="334548"/>
                    <a:pt x="170688" y="332110"/>
                    <a:pt x="165080" y="323332"/>
                  </a:cubicBezTo>
                  <a:cubicBezTo>
                    <a:pt x="164836" y="322844"/>
                    <a:pt x="164348" y="322356"/>
                    <a:pt x="164105" y="321625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7E41DF1-0235-457C-BB43-CC327DAE59DD}"/>
                </a:ext>
              </a:extLst>
            </p:cNvPr>
            <p:cNvSpPr/>
            <p:nvPr/>
          </p:nvSpPr>
          <p:spPr>
            <a:xfrm>
              <a:off x="11252485" y="1493803"/>
              <a:ext cx="390144" cy="585216"/>
            </a:xfrm>
            <a:custGeom>
              <a:avLst/>
              <a:gdLst>
                <a:gd name="connsiteX0" fmla="*/ 0 w 390144"/>
                <a:gd name="connsiteY0" fmla="*/ 591800 h 585215"/>
                <a:gd name="connsiteX1" fmla="*/ 392338 w 390144"/>
                <a:gd name="connsiteY1" fmla="*/ 0 h 585215"/>
                <a:gd name="connsiteX2" fmla="*/ 0 w 390144"/>
                <a:gd name="connsiteY2" fmla="*/ 591800 h 5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0144" h="585215">
                  <a:moveTo>
                    <a:pt x="0" y="591800"/>
                  </a:moveTo>
                  <a:lnTo>
                    <a:pt x="392338" y="0"/>
                  </a:lnTo>
                  <a:lnTo>
                    <a:pt x="0" y="59180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C85BA1A-AC36-4465-9B73-509A4B6CA4DB}"/>
                </a:ext>
              </a:extLst>
            </p:cNvPr>
            <p:cNvSpPr/>
            <p:nvPr/>
          </p:nvSpPr>
          <p:spPr>
            <a:xfrm>
              <a:off x="11227662" y="1493803"/>
              <a:ext cx="414528" cy="609600"/>
            </a:xfrm>
            <a:custGeom>
              <a:avLst/>
              <a:gdLst>
                <a:gd name="connsiteX0" fmla="*/ 4584 w 414528"/>
                <a:gd name="connsiteY0" fmla="*/ 578388 h 609599"/>
                <a:gd name="connsiteX1" fmla="*/ 417161 w 414528"/>
                <a:gd name="connsiteY1" fmla="*/ 0 h 609599"/>
                <a:gd name="connsiteX2" fmla="*/ 45061 w 414528"/>
                <a:gd name="connsiteY2" fmla="*/ 605211 h 609599"/>
                <a:gd name="connsiteX3" fmla="*/ 11655 w 414528"/>
                <a:gd name="connsiteY3" fmla="*/ 613257 h 609599"/>
                <a:gd name="connsiteX4" fmla="*/ 3608 w 414528"/>
                <a:gd name="connsiteY4" fmla="*/ 579852 h 609599"/>
                <a:gd name="connsiteX5" fmla="*/ 4584 w 414528"/>
                <a:gd name="connsiteY5" fmla="*/ 578388 h 60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4528" h="609599">
                  <a:moveTo>
                    <a:pt x="4584" y="578388"/>
                  </a:moveTo>
                  <a:lnTo>
                    <a:pt x="417161" y="0"/>
                  </a:lnTo>
                  <a:lnTo>
                    <a:pt x="45061" y="605211"/>
                  </a:lnTo>
                  <a:cubicBezTo>
                    <a:pt x="37990" y="616671"/>
                    <a:pt x="23115" y="620329"/>
                    <a:pt x="11655" y="613257"/>
                  </a:cubicBezTo>
                  <a:cubicBezTo>
                    <a:pt x="194" y="606186"/>
                    <a:pt x="-3463" y="591312"/>
                    <a:pt x="3608" y="579852"/>
                  </a:cubicBezTo>
                  <a:cubicBezTo>
                    <a:pt x="3852" y="579364"/>
                    <a:pt x="4340" y="578876"/>
                    <a:pt x="4584" y="578388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CE3BB0B-BC4B-469F-A024-9C6D0DAF7BCC}"/>
                </a:ext>
              </a:extLst>
            </p:cNvPr>
            <p:cNvSpPr/>
            <p:nvPr/>
          </p:nvSpPr>
          <p:spPr>
            <a:xfrm>
              <a:off x="10242123" y="998990"/>
              <a:ext cx="926592" cy="1901951"/>
            </a:xfrm>
            <a:custGeom>
              <a:avLst/>
              <a:gdLst>
                <a:gd name="connsiteX0" fmla="*/ 679715 w 926592"/>
                <a:gd name="connsiteY0" fmla="*/ 1863487 h 1901951"/>
                <a:gd name="connsiteX1" fmla="*/ 58898 w 926592"/>
                <a:gd name="connsiteY1" fmla="*/ 1738397 h 1901951"/>
                <a:gd name="connsiteX2" fmla="*/ 3303 w 926592"/>
                <a:gd name="connsiteY2" fmla="*/ 1646957 h 1901951"/>
                <a:gd name="connsiteX3" fmla="*/ 246655 w 926592"/>
                <a:gd name="connsiteY3" fmla="*/ 1278759 h 1901951"/>
                <a:gd name="connsiteX4" fmla="*/ 162042 w 926592"/>
                <a:gd name="connsiteY4" fmla="*/ 1099293 h 1901951"/>
                <a:gd name="connsiteX5" fmla="*/ 70359 w 926592"/>
                <a:gd name="connsiteY5" fmla="*/ 655992 h 1901951"/>
                <a:gd name="connsiteX6" fmla="*/ 212517 w 926592"/>
                <a:gd name="connsiteY6" fmla="*/ 218299 h 1901951"/>
                <a:gd name="connsiteX7" fmla="*/ 487813 w 926592"/>
                <a:gd name="connsiteY7" fmla="*/ 3720 h 1901951"/>
                <a:gd name="connsiteX8" fmla="*/ 640700 w 926592"/>
                <a:gd name="connsiteY8" fmla="*/ 177578 h 1901951"/>
                <a:gd name="connsiteX9" fmla="*/ 646552 w 926592"/>
                <a:gd name="connsiteY9" fmla="*/ 508225 h 1901951"/>
                <a:gd name="connsiteX10" fmla="*/ 637530 w 926592"/>
                <a:gd name="connsiteY10" fmla="*/ 654529 h 1901951"/>
                <a:gd name="connsiteX11" fmla="*/ 903804 w 926592"/>
                <a:gd name="connsiteY11" fmla="*/ 913974 h 1901951"/>
                <a:gd name="connsiteX12" fmla="*/ 821873 w 926592"/>
                <a:gd name="connsiteY12" fmla="*/ 1270469 h 1901951"/>
                <a:gd name="connsiteX13" fmla="*/ 764815 w 926592"/>
                <a:gd name="connsiteY13" fmla="*/ 1499190 h 1901951"/>
                <a:gd name="connsiteX14" fmla="*/ 807975 w 926592"/>
                <a:gd name="connsiteY14" fmla="*/ 1553323 h 1901951"/>
                <a:gd name="connsiteX15" fmla="*/ 679715 w 926592"/>
                <a:gd name="connsiteY15" fmla="*/ 1863487 h 190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26592" h="1901951">
                  <a:moveTo>
                    <a:pt x="679715" y="1863487"/>
                  </a:moveTo>
                  <a:cubicBezTo>
                    <a:pt x="503175" y="1997355"/>
                    <a:pt x="217150" y="1875435"/>
                    <a:pt x="58898" y="1738397"/>
                  </a:cubicBezTo>
                  <a:cubicBezTo>
                    <a:pt x="31344" y="1714501"/>
                    <a:pt x="10862" y="1682802"/>
                    <a:pt x="3303" y="1646957"/>
                  </a:cubicBezTo>
                  <a:cubicBezTo>
                    <a:pt x="-32786" y="1475050"/>
                    <a:pt x="238608" y="1432866"/>
                    <a:pt x="246655" y="1278759"/>
                  </a:cubicBezTo>
                  <a:cubicBezTo>
                    <a:pt x="250069" y="1211459"/>
                    <a:pt x="199350" y="1155376"/>
                    <a:pt x="162042" y="1099293"/>
                  </a:cubicBezTo>
                  <a:cubicBezTo>
                    <a:pt x="76698" y="971033"/>
                    <a:pt x="52314" y="808879"/>
                    <a:pt x="70359" y="655992"/>
                  </a:cubicBezTo>
                  <a:cubicBezTo>
                    <a:pt x="88403" y="502860"/>
                    <a:pt x="145705" y="357288"/>
                    <a:pt x="212517" y="218299"/>
                  </a:cubicBezTo>
                  <a:cubicBezTo>
                    <a:pt x="267137" y="104670"/>
                    <a:pt x="364673" y="-23590"/>
                    <a:pt x="487813" y="3720"/>
                  </a:cubicBezTo>
                  <a:cubicBezTo>
                    <a:pt x="566817" y="21276"/>
                    <a:pt x="617535" y="99793"/>
                    <a:pt x="640700" y="177578"/>
                  </a:cubicBezTo>
                  <a:cubicBezTo>
                    <a:pt x="672399" y="284380"/>
                    <a:pt x="667767" y="398985"/>
                    <a:pt x="646552" y="508225"/>
                  </a:cubicBezTo>
                  <a:cubicBezTo>
                    <a:pt x="637043" y="556505"/>
                    <a:pt x="624607" y="606980"/>
                    <a:pt x="637530" y="654529"/>
                  </a:cubicBezTo>
                  <a:cubicBezTo>
                    <a:pt x="670936" y="776205"/>
                    <a:pt x="841868" y="803759"/>
                    <a:pt x="903804" y="913974"/>
                  </a:cubicBezTo>
                  <a:cubicBezTo>
                    <a:pt x="966958" y="1025897"/>
                    <a:pt x="891612" y="1162204"/>
                    <a:pt x="821873" y="1270469"/>
                  </a:cubicBezTo>
                  <a:cubicBezTo>
                    <a:pt x="762133" y="1362884"/>
                    <a:pt x="725557" y="1420186"/>
                    <a:pt x="764815" y="1499190"/>
                  </a:cubicBezTo>
                  <a:cubicBezTo>
                    <a:pt x="775056" y="1520161"/>
                    <a:pt x="790418" y="1537961"/>
                    <a:pt x="807975" y="1553323"/>
                  </a:cubicBezTo>
                  <a:cubicBezTo>
                    <a:pt x="845526" y="1585510"/>
                    <a:pt x="915752" y="1684265"/>
                    <a:pt x="679715" y="186348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E1C8F0D-A063-47B6-892F-66B05134E56E}"/>
                </a:ext>
              </a:extLst>
            </p:cNvPr>
            <p:cNvSpPr/>
            <p:nvPr/>
          </p:nvSpPr>
          <p:spPr>
            <a:xfrm>
              <a:off x="10613136" y="1279712"/>
              <a:ext cx="146304" cy="1999487"/>
            </a:xfrm>
            <a:custGeom>
              <a:avLst/>
              <a:gdLst>
                <a:gd name="connsiteX0" fmla="*/ 56814 w 146304"/>
                <a:gd name="connsiteY0" fmla="*/ 0 h 1999487"/>
                <a:gd name="connsiteX1" fmla="*/ 0 w 146304"/>
                <a:gd name="connsiteY1" fmla="*/ 1999000 h 1999487"/>
                <a:gd name="connsiteX2" fmla="*/ 162885 w 146304"/>
                <a:gd name="connsiteY2" fmla="*/ 2013386 h 1999487"/>
                <a:gd name="connsiteX3" fmla="*/ 56814 w 146304"/>
                <a:gd name="connsiteY3" fmla="*/ 0 h 199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1999487">
                  <a:moveTo>
                    <a:pt x="56814" y="0"/>
                  </a:moveTo>
                  <a:cubicBezTo>
                    <a:pt x="56571" y="40965"/>
                    <a:pt x="0" y="1999000"/>
                    <a:pt x="0" y="1999000"/>
                  </a:cubicBezTo>
                  <a:lnTo>
                    <a:pt x="162885" y="2013386"/>
                  </a:lnTo>
                  <a:lnTo>
                    <a:pt x="56814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FEE0942-ED9A-4A38-B68F-4C4464C6F9E2}"/>
                </a:ext>
              </a:extLst>
            </p:cNvPr>
            <p:cNvSpPr/>
            <p:nvPr/>
          </p:nvSpPr>
          <p:spPr>
            <a:xfrm>
              <a:off x="10678877" y="2107548"/>
              <a:ext cx="365760" cy="341376"/>
            </a:xfrm>
            <a:custGeom>
              <a:avLst/>
              <a:gdLst>
                <a:gd name="connsiteX0" fmla="*/ 35940 w 365760"/>
                <a:gd name="connsiteY0" fmla="*/ 353812 h 341375"/>
                <a:gd name="connsiteX1" fmla="*/ 369513 w 365760"/>
                <a:gd name="connsiteY1" fmla="*/ 0 h 341375"/>
                <a:gd name="connsiteX2" fmla="*/ 6923 w 365760"/>
                <a:gd name="connsiteY2" fmla="*/ 324063 h 341375"/>
                <a:gd name="connsiteX3" fmla="*/ 5216 w 365760"/>
                <a:gd name="connsiteY3" fmla="*/ 353324 h 341375"/>
                <a:gd name="connsiteX4" fmla="*/ 34477 w 365760"/>
                <a:gd name="connsiteY4" fmla="*/ 355031 h 341375"/>
                <a:gd name="connsiteX5" fmla="*/ 35940 w 365760"/>
                <a:gd name="connsiteY5" fmla="*/ 353812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760" h="341375">
                  <a:moveTo>
                    <a:pt x="35940" y="353812"/>
                  </a:moveTo>
                  <a:lnTo>
                    <a:pt x="369513" y="0"/>
                  </a:lnTo>
                  <a:lnTo>
                    <a:pt x="6923" y="324063"/>
                  </a:lnTo>
                  <a:cubicBezTo>
                    <a:pt x="-1611" y="331622"/>
                    <a:pt x="-2343" y="344790"/>
                    <a:pt x="5216" y="353324"/>
                  </a:cubicBezTo>
                  <a:cubicBezTo>
                    <a:pt x="12775" y="361858"/>
                    <a:pt x="25943" y="362590"/>
                    <a:pt x="34477" y="355031"/>
                  </a:cubicBezTo>
                  <a:cubicBezTo>
                    <a:pt x="34965" y="354787"/>
                    <a:pt x="35452" y="354299"/>
                    <a:pt x="35940" y="353812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B0E740D-B463-4A25-B405-6A85B863E0EA}"/>
                </a:ext>
              </a:extLst>
            </p:cNvPr>
            <p:cNvSpPr/>
            <p:nvPr/>
          </p:nvSpPr>
          <p:spPr>
            <a:xfrm>
              <a:off x="10509991" y="1589389"/>
              <a:ext cx="146304" cy="268224"/>
            </a:xfrm>
            <a:custGeom>
              <a:avLst/>
              <a:gdLst>
                <a:gd name="connsiteX0" fmla="*/ 135088 w 146304"/>
                <a:gd name="connsiteY0" fmla="*/ 264566 h 268223"/>
                <a:gd name="connsiteX1" fmla="*/ 0 w 146304"/>
                <a:gd name="connsiteY1" fmla="*/ 0 h 268223"/>
                <a:gd name="connsiteX2" fmla="*/ 161666 w 146304"/>
                <a:gd name="connsiteY2" fmla="*/ 249204 h 268223"/>
                <a:gd name="connsiteX3" fmla="*/ 157033 w 146304"/>
                <a:gd name="connsiteY3" fmla="*/ 270418 h 268223"/>
                <a:gd name="connsiteX4" fmla="*/ 135819 w 146304"/>
                <a:gd name="connsiteY4" fmla="*/ 265785 h 268223"/>
                <a:gd name="connsiteX5" fmla="*/ 135088 w 146304"/>
                <a:gd name="connsiteY5" fmla="*/ 26456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304" h="268223">
                  <a:moveTo>
                    <a:pt x="135088" y="264566"/>
                  </a:moveTo>
                  <a:lnTo>
                    <a:pt x="0" y="0"/>
                  </a:lnTo>
                  <a:lnTo>
                    <a:pt x="161666" y="249204"/>
                  </a:lnTo>
                  <a:cubicBezTo>
                    <a:pt x="166299" y="256276"/>
                    <a:pt x="164349" y="265785"/>
                    <a:pt x="157033" y="270418"/>
                  </a:cubicBezTo>
                  <a:cubicBezTo>
                    <a:pt x="149962" y="275051"/>
                    <a:pt x="140452" y="273101"/>
                    <a:pt x="135819" y="265785"/>
                  </a:cubicBezTo>
                  <a:cubicBezTo>
                    <a:pt x="135575" y="265542"/>
                    <a:pt x="135332" y="265054"/>
                    <a:pt x="135088" y="264566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5D11EBE-9C74-421D-93F4-436FC96A4DA1}"/>
                </a:ext>
              </a:extLst>
            </p:cNvPr>
            <p:cNvSpPr/>
            <p:nvPr/>
          </p:nvSpPr>
          <p:spPr>
            <a:xfrm>
              <a:off x="10702869" y="1921742"/>
              <a:ext cx="316992" cy="463296"/>
            </a:xfrm>
            <a:custGeom>
              <a:avLst/>
              <a:gdLst>
                <a:gd name="connsiteX0" fmla="*/ 0 w 316992"/>
                <a:gd name="connsiteY0" fmla="*/ 486948 h 463295"/>
                <a:gd name="connsiteX1" fmla="*/ 322601 w 316992"/>
                <a:gd name="connsiteY1" fmla="*/ 0 h 463295"/>
                <a:gd name="connsiteX2" fmla="*/ 0 w 316992"/>
                <a:gd name="connsiteY2" fmla="*/ 486948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63295">
                  <a:moveTo>
                    <a:pt x="0" y="486948"/>
                  </a:moveTo>
                  <a:lnTo>
                    <a:pt x="322601" y="0"/>
                  </a:lnTo>
                  <a:lnTo>
                    <a:pt x="0" y="486948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C6FB0D0-F1D2-4E44-9CE4-D9B2E834751F}"/>
                </a:ext>
              </a:extLst>
            </p:cNvPr>
            <p:cNvSpPr/>
            <p:nvPr/>
          </p:nvSpPr>
          <p:spPr>
            <a:xfrm>
              <a:off x="4779796" y="1990749"/>
              <a:ext cx="1267968" cy="1316736"/>
            </a:xfrm>
            <a:custGeom>
              <a:avLst/>
              <a:gdLst>
                <a:gd name="connsiteX0" fmla="*/ 1273776 w 1267968"/>
                <a:gd name="connsiteY0" fmla="*/ 1317467 h 1316735"/>
                <a:gd name="connsiteX1" fmla="*/ 1063098 w 1267968"/>
                <a:gd name="connsiteY1" fmla="*/ 748101 h 1316735"/>
                <a:gd name="connsiteX2" fmla="*/ 775611 w 1267968"/>
                <a:gd name="connsiteY2" fmla="*/ 437936 h 1316735"/>
                <a:gd name="connsiteX3" fmla="*/ 542256 w 1267968"/>
                <a:gd name="connsiteY3" fmla="*/ 2682 h 1316735"/>
                <a:gd name="connsiteX4" fmla="*/ 308901 w 1267968"/>
                <a:gd name="connsiteY4" fmla="*/ 476219 h 1316735"/>
                <a:gd name="connsiteX5" fmla="*/ 55307 w 1267968"/>
                <a:gd name="connsiteY5" fmla="*/ 778825 h 1316735"/>
                <a:gd name="connsiteX6" fmla="*/ 63598 w 1267968"/>
                <a:gd name="connsiteY6" fmla="*/ 1317467 h 1316735"/>
                <a:gd name="connsiteX7" fmla="*/ 1273776 w 1267968"/>
                <a:gd name="connsiteY7" fmla="*/ 1317467 h 131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7968" h="1316735">
                  <a:moveTo>
                    <a:pt x="1273776" y="1317467"/>
                  </a:moveTo>
                  <a:cubicBezTo>
                    <a:pt x="1323763" y="975847"/>
                    <a:pt x="1204525" y="773216"/>
                    <a:pt x="1063098" y="748101"/>
                  </a:cubicBezTo>
                  <a:cubicBezTo>
                    <a:pt x="917526" y="722254"/>
                    <a:pt x="819502" y="669097"/>
                    <a:pt x="775611" y="437936"/>
                  </a:cubicBezTo>
                  <a:cubicBezTo>
                    <a:pt x="731720" y="206776"/>
                    <a:pt x="704653" y="-27798"/>
                    <a:pt x="542256" y="2682"/>
                  </a:cubicBezTo>
                  <a:cubicBezTo>
                    <a:pt x="379859" y="33162"/>
                    <a:pt x="322313" y="239451"/>
                    <a:pt x="308901" y="476219"/>
                  </a:cubicBezTo>
                  <a:cubicBezTo>
                    <a:pt x="295490" y="712988"/>
                    <a:pt x="193809" y="685922"/>
                    <a:pt x="55307" y="778825"/>
                  </a:cubicBezTo>
                  <a:cubicBezTo>
                    <a:pt x="-52957" y="851489"/>
                    <a:pt x="24340" y="1178235"/>
                    <a:pt x="63598" y="1317467"/>
                  </a:cubicBezTo>
                  <a:lnTo>
                    <a:pt x="1273776" y="1317467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33D0622-8C59-4EAA-9B42-E15CA9247C75}"/>
                </a:ext>
              </a:extLst>
            </p:cNvPr>
            <p:cNvSpPr/>
            <p:nvPr/>
          </p:nvSpPr>
          <p:spPr>
            <a:xfrm>
              <a:off x="4859098" y="2734948"/>
              <a:ext cx="1048512" cy="560832"/>
            </a:xfrm>
            <a:custGeom>
              <a:avLst/>
              <a:gdLst>
                <a:gd name="connsiteX0" fmla="*/ 1036953 w 1048512"/>
                <a:gd name="connsiteY0" fmla="*/ 309189 h 560831"/>
                <a:gd name="connsiteX1" fmla="*/ 730934 w 1048512"/>
                <a:gd name="connsiteY1" fmla="*/ 343327 h 560831"/>
                <a:gd name="connsiteX2" fmla="*/ 502700 w 1048512"/>
                <a:gd name="connsiteY2" fmla="*/ 0 h 560831"/>
                <a:gd name="connsiteX3" fmla="*/ 247399 w 1048512"/>
                <a:gd name="connsiteY3" fmla="*/ 380634 h 560831"/>
                <a:gd name="connsiteX4" fmla="*/ 42817 w 1048512"/>
                <a:gd name="connsiteY4" fmla="*/ 271882 h 560831"/>
                <a:gd name="connsiteX5" fmla="*/ 35502 w 1048512"/>
                <a:gd name="connsiteY5" fmla="*/ 573268 h 560831"/>
                <a:gd name="connsiteX6" fmla="*/ 994281 w 1048512"/>
                <a:gd name="connsiteY6" fmla="*/ 573268 h 560831"/>
                <a:gd name="connsiteX7" fmla="*/ 1036953 w 1048512"/>
                <a:gd name="connsiteY7" fmla="*/ 309189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8512" h="560831">
                  <a:moveTo>
                    <a:pt x="1036953" y="309189"/>
                  </a:moveTo>
                  <a:cubicBezTo>
                    <a:pt x="970873" y="263103"/>
                    <a:pt x="837492" y="355275"/>
                    <a:pt x="730934" y="343327"/>
                  </a:cubicBezTo>
                  <a:cubicBezTo>
                    <a:pt x="624376" y="331378"/>
                    <a:pt x="651442" y="0"/>
                    <a:pt x="502700" y="0"/>
                  </a:cubicBezTo>
                  <a:cubicBezTo>
                    <a:pt x="353957" y="0"/>
                    <a:pt x="365662" y="378927"/>
                    <a:pt x="247399" y="380634"/>
                  </a:cubicBezTo>
                  <a:cubicBezTo>
                    <a:pt x="128893" y="382341"/>
                    <a:pt x="139134" y="216530"/>
                    <a:pt x="42817" y="271882"/>
                  </a:cubicBezTo>
                  <a:cubicBezTo>
                    <a:pt x="-36674" y="317480"/>
                    <a:pt x="15020" y="507919"/>
                    <a:pt x="35502" y="573268"/>
                  </a:cubicBezTo>
                  <a:lnTo>
                    <a:pt x="994281" y="573268"/>
                  </a:lnTo>
                  <a:cubicBezTo>
                    <a:pt x="1030370" y="486461"/>
                    <a:pt x="1082308" y="341132"/>
                    <a:pt x="1036953" y="309189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2369F28-2489-4346-973C-A5F1BCE3C21A}"/>
                </a:ext>
              </a:extLst>
            </p:cNvPr>
            <p:cNvSpPr/>
            <p:nvPr/>
          </p:nvSpPr>
          <p:spPr>
            <a:xfrm>
              <a:off x="5334244" y="2164363"/>
              <a:ext cx="24384" cy="1121664"/>
            </a:xfrm>
            <a:custGeom>
              <a:avLst/>
              <a:gdLst>
                <a:gd name="connsiteX0" fmla="*/ 0 w 24384"/>
                <a:gd name="connsiteY0" fmla="*/ 0 h 1121663"/>
                <a:gd name="connsiteX1" fmla="*/ 7559 w 24384"/>
                <a:gd name="connsiteY1" fmla="*/ 1143853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0" y="0"/>
                  </a:moveTo>
                  <a:cubicBezTo>
                    <a:pt x="0" y="0"/>
                    <a:pt x="59009" y="677875"/>
                    <a:pt x="7559" y="114385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7744662-21B8-46B9-B4E6-518E324BAA69}"/>
                </a:ext>
              </a:extLst>
            </p:cNvPr>
            <p:cNvSpPr/>
            <p:nvPr/>
          </p:nvSpPr>
          <p:spPr>
            <a:xfrm>
              <a:off x="5344485" y="2209473"/>
              <a:ext cx="48768" cy="73152"/>
            </a:xfrm>
            <a:custGeom>
              <a:avLst/>
              <a:gdLst>
                <a:gd name="connsiteX0" fmla="*/ 68031 w 48768"/>
                <a:gd name="connsiteY0" fmla="*/ 0 h 73151"/>
                <a:gd name="connsiteX1" fmla="*/ 0 w 48768"/>
                <a:gd name="connsiteY1" fmla="*/ 95585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73151">
                  <a:moveTo>
                    <a:pt x="68031" y="0"/>
                  </a:moveTo>
                  <a:lnTo>
                    <a:pt x="0" y="9558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C3046117-8AD1-486C-A30D-28BA8A8BCFEB}"/>
                </a:ext>
              </a:extLst>
            </p:cNvPr>
            <p:cNvSpPr/>
            <p:nvPr/>
          </p:nvSpPr>
          <p:spPr>
            <a:xfrm>
              <a:off x="5214275" y="2268239"/>
              <a:ext cx="121920" cy="121920"/>
            </a:xfrm>
            <a:custGeom>
              <a:avLst/>
              <a:gdLst>
                <a:gd name="connsiteX0" fmla="*/ 0 w 121920"/>
                <a:gd name="connsiteY0" fmla="*/ 0 h 121919"/>
                <a:gd name="connsiteX1" fmla="*/ 135819 w 121920"/>
                <a:gd name="connsiteY1" fmla="*/ 130698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0" y="0"/>
                  </a:moveTo>
                  <a:lnTo>
                    <a:pt x="135819" y="13069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D3AC6B2-B7D4-4E91-92CB-C4FA6CAFEC99}"/>
                </a:ext>
              </a:extLst>
            </p:cNvPr>
            <p:cNvSpPr/>
            <p:nvPr/>
          </p:nvSpPr>
          <p:spPr>
            <a:xfrm>
              <a:off x="5358872" y="2441365"/>
              <a:ext cx="121920" cy="146304"/>
            </a:xfrm>
            <a:custGeom>
              <a:avLst/>
              <a:gdLst>
                <a:gd name="connsiteX0" fmla="*/ 143378 w 121920"/>
                <a:gd name="connsiteY0" fmla="*/ 0 h 146303"/>
                <a:gd name="connsiteX1" fmla="*/ 0 w 121920"/>
                <a:gd name="connsiteY1" fmla="*/ 15971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46303">
                  <a:moveTo>
                    <a:pt x="143378" y="0"/>
                  </a:moveTo>
                  <a:lnTo>
                    <a:pt x="0" y="15971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EAF0C85C-4F8F-4ED4-BF05-AA3A6D3B8A3D}"/>
                </a:ext>
              </a:extLst>
            </p:cNvPr>
            <p:cNvSpPr/>
            <p:nvPr/>
          </p:nvSpPr>
          <p:spPr>
            <a:xfrm>
              <a:off x="5143561" y="2521345"/>
              <a:ext cx="219456" cy="195072"/>
            </a:xfrm>
            <a:custGeom>
              <a:avLst/>
              <a:gdLst>
                <a:gd name="connsiteX0" fmla="*/ 0 w 219456"/>
                <a:gd name="connsiteY0" fmla="*/ 0 h 195071"/>
                <a:gd name="connsiteX1" fmla="*/ 219456 w 219456"/>
                <a:gd name="connsiteY1" fmla="*/ 21506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195071">
                  <a:moveTo>
                    <a:pt x="0" y="0"/>
                  </a:moveTo>
                  <a:lnTo>
                    <a:pt x="219456" y="21506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5A2A1A54-FD91-4D2E-A63A-CE16FC5C3B4C}"/>
                </a:ext>
              </a:extLst>
            </p:cNvPr>
            <p:cNvSpPr/>
            <p:nvPr/>
          </p:nvSpPr>
          <p:spPr>
            <a:xfrm>
              <a:off x="5363017" y="2628878"/>
              <a:ext cx="243840" cy="243840"/>
            </a:xfrm>
            <a:custGeom>
              <a:avLst/>
              <a:gdLst>
                <a:gd name="connsiteX0" fmla="*/ 259202 w 243840"/>
                <a:gd name="connsiteY0" fmla="*/ 0 h 243839"/>
                <a:gd name="connsiteX1" fmla="*/ 0 w 243840"/>
                <a:gd name="connsiteY1" fmla="*/ 250180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43839">
                  <a:moveTo>
                    <a:pt x="259202" y="0"/>
                  </a:moveTo>
                  <a:lnTo>
                    <a:pt x="0" y="25018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9067224-F95C-40F5-B055-EE400F9FB4CA}"/>
                </a:ext>
              </a:extLst>
            </p:cNvPr>
            <p:cNvSpPr/>
            <p:nvPr/>
          </p:nvSpPr>
          <p:spPr>
            <a:xfrm>
              <a:off x="5206716" y="2904417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52888 w 146304"/>
                <a:gd name="connsiteY1" fmla="*/ 15044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52888" y="15044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EC8E2B8-56BE-4D02-9676-FCA4851E9C1E}"/>
                </a:ext>
              </a:extLst>
            </p:cNvPr>
            <p:cNvSpPr/>
            <p:nvPr/>
          </p:nvSpPr>
          <p:spPr>
            <a:xfrm>
              <a:off x="5354970" y="2944407"/>
              <a:ext cx="195072" cy="195072"/>
            </a:xfrm>
            <a:custGeom>
              <a:avLst/>
              <a:gdLst>
                <a:gd name="connsiteX0" fmla="*/ 196535 w 195072"/>
                <a:gd name="connsiteY0" fmla="*/ 0 h 195071"/>
                <a:gd name="connsiteX1" fmla="*/ 0 w 195072"/>
                <a:gd name="connsiteY1" fmla="*/ 207995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95071">
                  <a:moveTo>
                    <a:pt x="196535" y="0"/>
                  </a:moveTo>
                  <a:lnTo>
                    <a:pt x="0" y="20799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61A13B3A-DBEB-41D4-BE4A-CA78BE76FF4E}"/>
                </a:ext>
              </a:extLst>
            </p:cNvPr>
            <p:cNvSpPr/>
            <p:nvPr/>
          </p:nvSpPr>
          <p:spPr>
            <a:xfrm>
              <a:off x="4965801" y="2878570"/>
              <a:ext cx="48768" cy="414528"/>
            </a:xfrm>
            <a:custGeom>
              <a:avLst/>
              <a:gdLst>
                <a:gd name="connsiteX0" fmla="*/ 0 w 48768"/>
                <a:gd name="connsiteY0" fmla="*/ 0 h 414527"/>
                <a:gd name="connsiteX1" fmla="*/ 68763 w 48768"/>
                <a:gd name="connsiteY1" fmla="*/ 429646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0" y="0"/>
                  </a:moveTo>
                  <a:cubicBezTo>
                    <a:pt x="0" y="0"/>
                    <a:pt x="59253" y="97292"/>
                    <a:pt x="68763" y="429646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7C4DF080-A1E1-41F2-B8D1-1C75028B6AFF}"/>
                </a:ext>
              </a:extLst>
            </p:cNvPr>
            <p:cNvSpPr/>
            <p:nvPr/>
          </p:nvSpPr>
          <p:spPr>
            <a:xfrm>
              <a:off x="5025786" y="3037554"/>
              <a:ext cx="73152" cy="121920"/>
            </a:xfrm>
            <a:custGeom>
              <a:avLst/>
              <a:gdLst>
                <a:gd name="connsiteX0" fmla="*/ 83637 w 73152"/>
                <a:gd name="connsiteY0" fmla="*/ 0 h 121919"/>
                <a:gd name="connsiteX1" fmla="*/ 0 w 73152"/>
                <a:gd name="connsiteY1" fmla="*/ 13776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83637" y="0"/>
                  </a:moveTo>
                  <a:lnTo>
                    <a:pt x="0" y="13776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005551B-923B-4B5E-AD19-CD11FE4D5475}"/>
                </a:ext>
              </a:extLst>
            </p:cNvPr>
            <p:cNvSpPr/>
            <p:nvPr/>
          </p:nvSpPr>
          <p:spPr>
            <a:xfrm>
              <a:off x="4848758" y="3132408"/>
              <a:ext cx="170688" cy="48768"/>
            </a:xfrm>
            <a:custGeom>
              <a:avLst/>
              <a:gdLst>
                <a:gd name="connsiteX0" fmla="*/ 0 w 170688"/>
                <a:gd name="connsiteY0" fmla="*/ 0 h 48767"/>
                <a:gd name="connsiteX1" fmla="*/ 179466 w 170688"/>
                <a:gd name="connsiteY1" fmla="*/ 6973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48767">
                  <a:moveTo>
                    <a:pt x="0" y="0"/>
                  </a:moveTo>
                  <a:lnTo>
                    <a:pt x="179466" y="697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4443C0B-E7CA-42E6-A5D5-094E6EC37ACD}"/>
                </a:ext>
              </a:extLst>
            </p:cNvPr>
            <p:cNvSpPr/>
            <p:nvPr/>
          </p:nvSpPr>
          <p:spPr>
            <a:xfrm>
              <a:off x="5773156" y="2953429"/>
              <a:ext cx="24384" cy="341376"/>
            </a:xfrm>
            <a:custGeom>
              <a:avLst/>
              <a:gdLst>
                <a:gd name="connsiteX0" fmla="*/ 39990 w 24384"/>
                <a:gd name="connsiteY0" fmla="*/ 0 h 341375"/>
                <a:gd name="connsiteX1" fmla="*/ 0 w 24384"/>
                <a:gd name="connsiteY1" fmla="*/ 35503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341375">
                  <a:moveTo>
                    <a:pt x="39990" y="0"/>
                  </a:moveTo>
                  <a:cubicBezTo>
                    <a:pt x="39990" y="0"/>
                    <a:pt x="9510" y="22433"/>
                    <a:pt x="0" y="355031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14A0746-2E42-434B-AEAB-C009BFABE55F}"/>
                </a:ext>
              </a:extLst>
            </p:cNvPr>
            <p:cNvSpPr/>
            <p:nvPr/>
          </p:nvSpPr>
          <p:spPr>
            <a:xfrm>
              <a:off x="5698541" y="3038042"/>
              <a:ext cx="73152" cy="121920"/>
            </a:xfrm>
            <a:custGeom>
              <a:avLst/>
              <a:gdLst>
                <a:gd name="connsiteX0" fmla="*/ 0 w 73152"/>
                <a:gd name="connsiteY0" fmla="*/ 0 h 121919"/>
                <a:gd name="connsiteX1" fmla="*/ 83393 w 73152"/>
                <a:gd name="connsiteY1" fmla="*/ 137282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0" y="0"/>
                  </a:moveTo>
                  <a:lnTo>
                    <a:pt x="83393" y="1372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0FFE069-3A26-43FF-9F0E-A02776B56884}"/>
                </a:ext>
              </a:extLst>
            </p:cNvPr>
            <p:cNvSpPr/>
            <p:nvPr/>
          </p:nvSpPr>
          <p:spPr>
            <a:xfrm>
              <a:off x="5779496" y="3153134"/>
              <a:ext cx="121920" cy="48768"/>
            </a:xfrm>
            <a:custGeom>
              <a:avLst/>
              <a:gdLst>
                <a:gd name="connsiteX0" fmla="*/ 126309 w 121920"/>
                <a:gd name="connsiteY0" fmla="*/ 0 h 48767"/>
                <a:gd name="connsiteX1" fmla="*/ 0 w 121920"/>
                <a:gd name="connsiteY1" fmla="*/ 49012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48767">
                  <a:moveTo>
                    <a:pt x="126309" y="0"/>
                  </a:moveTo>
                  <a:lnTo>
                    <a:pt x="0" y="4901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B45E805-F6F5-4BFE-82C6-7EE6B9534D32}"/>
                </a:ext>
              </a:extLst>
            </p:cNvPr>
            <p:cNvSpPr/>
            <p:nvPr/>
          </p:nvSpPr>
          <p:spPr>
            <a:xfrm>
              <a:off x="4211276" y="2396371"/>
              <a:ext cx="877824" cy="902208"/>
            </a:xfrm>
            <a:custGeom>
              <a:avLst/>
              <a:gdLst>
                <a:gd name="connsiteX0" fmla="*/ 882054 w 877824"/>
                <a:gd name="connsiteY0" fmla="*/ 911845 h 902207"/>
                <a:gd name="connsiteX1" fmla="*/ 736238 w 877824"/>
                <a:gd name="connsiteY1" fmla="*/ 517800 h 902207"/>
                <a:gd name="connsiteX2" fmla="*/ 537265 w 877824"/>
                <a:gd name="connsiteY2" fmla="*/ 303221 h 902207"/>
                <a:gd name="connsiteX3" fmla="*/ 375599 w 877824"/>
                <a:gd name="connsiteY3" fmla="*/ 1835 h 902207"/>
                <a:gd name="connsiteX4" fmla="*/ 213933 w 877824"/>
                <a:gd name="connsiteY4" fmla="*/ 329556 h 902207"/>
                <a:gd name="connsiteX5" fmla="*/ 38368 w 877824"/>
                <a:gd name="connsiteY5" fmla="*/ 539014 h 902207"/>
                <a:gd name="connsiteX6" fmla="*/ 43976 w 877824"/>
                <a:gd name="connsiteY6" fmla="*/ 911845 h 902207"/>
                <a:gd name="connsiteX7" fmla="*/ 882054 w 877824"/>
                <a:gd name="connsiteY7" fmla="*/ 911845 h 90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7824" h="902207">
                  <a:moveTo>
                    <a:pt x="882054" y="911845"/>
                  </a:moveTo>
                  <a:cubicBezTo>
                    <a:pt x="916680" y="675565"/>
                    <a:pt x="834262" y="535113"/>
                    <a:pt x="736238" y="517800"/>
                  </a:cubicBezTo>
                  <a:cubicBezTo>
                    <a:pt x="635532" y="500000"/>
                    <a:pt x="567745" y="462936"/>
                    <a:pt x="537265" y="303221"/>
                  </a:cubicBezTo>
                  <a:cubicBezTo>
                    <a:pt x="506785" y="143262"/>
                    <a:pt x="488009" y="-19135"/>
                    <a:pt x="375599" y="1835"/>
                  </a:cubicBezTo>
                  <a:cubicBezTo>
                    <a:pt x="263188" y="22805"/>
                    <a:pt x="223442" y="165695"/>
                    <a:pt x="213933" y="329556"/>
                  </a:cubicBezTo>
                  <a:cubicBezTo>
                    <a:pt x="204667" y="493416"/>
                    <a:pt x="134441" y="474641"/>
                    <a:pt x="38368" y="539014"/>
                  </a:cubicBezTo>
                  <a:cubicBezTo>
                    <a:pt x="-36735" y="589245"/>
                    <a:pt x="16910" y="815285"/>
                    <a:pt x="43976" y="911845"/>
                  </a:cubicBezTo>
                  <a:lnTo>
                    <a:pt x="882054" y="911845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073676D9-EF3C-4248-BE61-8F641AA494D3}"/>
                </a:ext>
              </a:extLst>
            </p:cNvPr>
            <p:cNvSpPr/>
            <p:nvPr/>
          </p:nvSpPr>
          <p:spPr>
            <a:xfrm>
              <a:off x="4272385" y="2911489"/>
              <a:ext cx="707136" cy="390144"/>
            </a:xfrm>
            <a:custGeom>
              <a:avLst/>
              <a:gdLst>
                <a:gd name="connsiteX0" fmla="*/ 718045 w 707136"/>
                <a:gd name="connsiteY0" fmla="*/ 214091 h 390143"/>
                <a:gd name="connsiteX1" fmla="*/ 506148 w 707136"/>
                <a:gd name="connsiteY1" fmla="*/ 237744 h 390143"/>
                <a:gd name="connsiteX2" fmla="*/ 348140 w 707136"/>
                <a:gd name="connsiteY2" fmla="*/ 0 h 390143"/>
                <a:gd name="connsiteX3" fmla="*/ 171356 w 707136"/>
                <a:gd name="connsiteY3" fmla="*/ 263347 h 390143"/>
                <a:gd name="connsiteX4" fmla="*/ 29684 w 707136"/>
                <a:gd name="connsiteY4" fmla="*/ 188000 h 390143"/>
                <a:gd name="connsiteX5" fmla="*/ 24564 w 707136"/>
                <a:gd name="connsiteY5" fmla="*/ 396484 h 390143"/>
                <a:gd name="connsiteX6" fmla="*/ 688052 w 707136"/>
                <a:gd name="connsiteY6" fmla="*/ 396484 h 390143"/>
                <a:gd name="connsiteX7" fmla="*/ 718045 w 707136"/>
                <a:gd name="connsiteY7" fmla="*/ 214091 h 390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136" h="390143">
                  <a:moveTo>
                    <a:pt x="718045" y="214091"/>
                  </a:moveTo>
                  <a:cubicBezTo>
                    <a:pt x="672447" y="182148"/>
                    <a:pt x="579788" y="246034"/>
                    <a:pt x="506148" y="237744"/>
                  </a:cubicBezTo>
                  <a:cubicBezTo>
                    <a:pt x="432508" y="229453"/>
                    <a:pt x="451040" y="0"/>
                    <a:pt x="348140" y="0"/>
                  </a:cubicBezTo>
                  <a:cubicBezTo>
                    <a:pt x="245239" y="0"/>
                    <a:pt x="253286" y="262128"/>
                    <a:pt x="171356" y="263347"/>
                  </a:cubicBezTo>
                  <a:cubicBezTo>
                    <a:pt x="89425" y="264566"/>
                    <a:pt x="96497" y="149718"/>
                    <a:pt x="29684" y="188000"/>
                  </a:cubicBezTo>
                  <a:cubicBezTo>
                    <a:pt x="-25423" y="219456"/>
                    <a:pt x="10421" y="351373"/>
                    <a:pt x="24564" y="396484"/>
                  </a:cubicBezTo>
                  <a:lnTo>
                    <a:pt x="688052" y="396484"/>
                  </a:lnTo>
                  <a:cubicBezTo>
                    <a:pt x="713656" y="336743"/>
                    <a:pt x="749500" y="236037"/>
                    <a:pt x="718045" y="214091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FA37BC60-4A42-4DD5-A8C8-87F15A52C4FD}"/>
                </a:ext>
              </a:extLst>
            </p:cNvPr>
            <p:cNvSpPr/>
            <p:nvPr/>
          </p:nvSpPr>
          <p:spPr>
            <a:xfrm>
              <a:off x="5664847" y="2225031"/>
              <a:ext cx="560832" cy="1170432"/>
            </a:xfrm>
            <a:custGeom>
              <a:avLst/>
              <a:gdLst>
                <a:gd name="connsiteX0" fmla="*/ 416766 w 560832"/>
                <a:gd name="connsiteY0" fmla="*/ 1142195 h 1170431"/>
                <a:gd name="connsiteX1" fmla="*/ 36132 w 560832"/>
                <a:gd name="connsiteY1" fmla="*/ 1065385 h 1170431"/>
                <a:gd name="connsiteX2" fmla="*/ 1994 w 560832"/>
                <a:gd name="connsiteY2" fmla="*/ 1009301 h 1170431"/>
                <a:gd name="connsiteX3" fmla="*/ 151225 w 560832"/>
                <a:gd name="connsiteY3" fmla="*/ 783750 h 1170431"/>
                <a:gd name="connsiteX4" fmla="*/ 99287 w 560832"/>
                <a:gd name="connsiteY4" fmla="*/ 673778 h 1170431"/>
                <a:gd name="connsiteX5" fmla="*/ 43203 w 560832"/>
                <a:gd name="connsiteY5" fmla="*/ 402140 h 1170431"/>
                <a:gd name="connsiteX6" fmla="*/ 130254 w 560832"/>
                <a:gd name="connsiteY6" fmla="*/ 133916 h 1170431"/>
                <a:gd name="connsiteX7" fmla="*/ 298992 w 560832"/>
                <a:gd name="connsiteY7" fmla="*/ 2243 h 1170431"/>
                <a:gd name="connsiteX8" fmla="*/ 392626 w 560832"/>
                <a:gd name="connsiteY8" fmla="*/ 108801 h 1170431"/>
                <a:gd name="connsiteX9" fmla="*/ 396284 w 560832"/>
                <a:gd name="connsiteY9" fmla="*/ 311432 h 1170431"/>
                <a:gd name="connsiteX10" fmla="*/ 390675 w 560832"/>
                <a:gd name="connsiteY10" fmla="*/ 401165 h 1170431"/>
                <a:gd name="connsiteX11" fmla="*/ 553804 w 560832"/>
                <a:gd name="connsiteY11" fmla="*/ 560148 h 1170431"/>
                <a:gd name="connsiteX12" fmla="*/ 503573 w 560832"/>
                <a:gd name="connsiteY12" fmla="*/ 778629 h 1170431"/>
                <a:gd name="connsiteX13" fmla="*/ 468460 w 560832"/>
                <a:gd name="connsiteY13" fmla="*/ 918837 h 1170431"/>
                <a:gd name="connsiteX14" fmla="*/ 495039 w 560832"/>
                <a:gd name="connsiteY14" fmla="*/ 951999 h 1170431"/>
                <a:gd name="connsiteX15" fmla="*/ 416766 w 560832"/>
                <a:gd name="connsiteY15" fmla="*/ 1142195 h 117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0832" h="1170431">
                  <a:moveTo>
                    <a:pt x="416766" y="1142195"/>
                  </a:moveTo>
                  <a:cubicBezTo>
                    <a:pt x="308501" y="1224368"/>
                    <a:pt x="133180" y="1149509"/>
                    <a:pt x="36132" y="1065385"/>
                  </a:cubicBezTo>
                  <a:cubicBezTo>
                    <a:pt x="19063" y="1050755"/>
                    <a:pt x="6627" y="1031247"/>
                    <a:pt x="1994" y="1009301"/>
                  </a:cubicBezTo>
                  <a:cubicBezTo>
                    <a:pt x="-19951" y="903963"/>
                    <a:pt x="146348" y="878116"/>
                    <a:pt x="151225" y="783750"/>
                  </a:cubicBezTo>
                  <a:cubicBezTo>
                    <a:pt x="153419" y="742541"/>
                    <a:pt x="122208" y="708159"/>
                    <a:pt x="99287" y="673778"/>
                  </a:cubicBezTo>
                  <a:cubicBezTo>
                    <a:pt x="46861" y="595261"/>
                    <a:pt x="31987" y="495775"/>
                    <a:pt x="43203" y="402140"/>
                  </a:cubicBezTo>
                  <a:cubicBezTo>
                    <a:pt x="54176" y="308262"/>
                    <a:pt x="89289" y="219016"/>
                    <a:pt x="130254" y="133916"/>
                  </a:cubicBezTo>
                  <a:cubicBezTo>
                    <a:pt x="163660" y="64178"/>
                    <a:pt x="223401" y="-14339"/>
                    <a:pt x="298992" y="2243"/>
                  </a:cubicBezTo>
                  <a:cubicBezTo>
                    <a:pt x="347516" y="12972"/>
                    <a:pt x="378483" y="61252"/>
                    <a:pt x="392626" y="108801"/>
                  </a:cubicBezTo>
                  <a:cubicBezTo>
                    <a:pt x="412133" y="174150"/>
                    <a:pt x="409207" y="244620"/>
                    <a:pt x="396284" y="311432"/>
                  </a:cubicBezTo>
                  <a:cubicBezTo>
                    <a:pt x="390432" y="341180"/>
                    <a:pt x="382873" y="371904"/>
                    <a:pt x="390675" y="401165"/>
                  </a:cubicBezTo>
                  <a:cubicBezTo>
                    <a:pt x="411158" y="475780"/>
                    <a:pt x="515765" y="492605"/>
                    <a:pt x="553804" y="560148"/>
                  </a:cubicBezTo>
                  <a:cubicBezTo>
                    <a:pt x="592575" y="628667"/>
                    <a:pt x="546245" y="712305"/>
                    <a:pt x="503573" y="778629"/>
                  </a:cubicBezTo>
                  <a:cubicBezTo>
                    <a:pt x="466997" y="835200"/>
                    <a:pt x="444564" y="870313"/>
                    <a:pt x="468460" y="918837"/>
                  </a:cubicBezTo>
                  <a:cubicBezTo>
                    <a:pt x="474800" y="931760"/>
                    <a:pt x="484066" y="942733"/>
                    <a:pt x="495039" y="951999"/>
                  </a:cubicBezTo>
                  <a:cubicBezTo>
                    <a:pt x="518448" y="971994"/>
                    <a:pt x="561363" y="1032467"/>
                    <a:pt x="416766" y="1142195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0D7743B7-0B89-449F-AB8A-6FE3EF370C4B}"/>
                </a:ext>
              </a:extLst>
            </p:cNvPr>
            <p:cNvSpPr/>
            <p:nvPr/>
          </p:nvSpPr>
          <p:spPr>
            <a:xfrm>
              <a:off x="5965381" y="2598302"/>
              <a:ext cx="365760" cy="780288"/>
            </a:xfrm>
            <a:custGeom>
              <a:avLst/>
              <a:gdLst>
                <a:gd name="connsiteX0" fmla="*/ 284727 w 365760"/>
                <a:gd name="connsiteY0" fmla="*/ 780140 h 780287"/>
                <a:gd name="connsiteX1" fmla="*/ 24793 w 365760"/>
                <a:gd name="connsiteY1" fmla="*/ 727715 h 780287"/>
                <a:gd name="connsiteX2" fmla="*/ 1384 w 365760"/>
                <a:gd name="connsiteY2" fmla="*/ 689432 h 780287"/>
                <a:gd name="connsiteX3" fmla="*/ 103310 w 365760"/>
                <a:gd name="connsiteY3" fmla="*/ 535325 h 780287"/>
                <a:gd name="connsiteX4" fmla="*/ 67709 w 365760"/>
                <a:gd name="connsiteY4" fmla="*/ 460223 h 780287"/>
                <a:gd name="connsiteX5" fmla="*/ 29426 w 365760"/>
                <a:gd name="connsiteY5" fmla="*/ 274660 h 780287"/>
                <a:gd name="connsiteX6" fmla="*/ 88923 w 365760"/>
                <a:gd name="connsiteY6" fmla="*/ 91537 h 780287"/>
                <a:gd name="connsiteX7" fmla="*/ 204015 w 365760"/>
                <a:gd name="connsiteY7" fmla="*/ 1560 h 780287"/>
                <a:gd name="connsiteX8" fmla="*/ 268145 w 365760"/>
                <a:gd name="connsiteY8" fmla="*/ 74224 h 780287"/>
                <a:gd name="connsiteX9" fmla="*/ 270584 w 365760"/>
                <a:gd name="connsiteY9" fmla="*/ 212725 h 780287"/>
                <a:gd name="connsiteX10" fmla="*/ 266926 w 365760"/>
                <a:gd name="connsiteY10" fmla="*/ 273929 h 780287"/>
                <a:gd name="connsiteX11" fmla="*/ 378361 w 365760"/>
                <a:gd name="connsiteY11" fmla="*/ 382438 h 780287"/>
                <a:gd name="connsiteX12" fmla="*/ 344224 w 365760"/>
                <a:gd name="connsiteY12" fmla="*/ 531668 h 780287"/>
                <a:gd name="connsiteX13" fmla="*/ 320327 w 365760"/>
                <a:gd name="connsiteY13" fmla="*/ 627497 h 780287"/>
                <a:gd name="connsiteX14" fmla="*/ 338371 w 365760"/>
                <a:gd name="connsiteY14" fmla="*/ 650174 h 780287"/>
                <a:gd name="connsiteX15" fmla="*/ 284727 w 365760"/>
                <a:gd name="connsiteY15" fmla="*/ 780140 h 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5760" h="780287">
                  <a:moveTo>
                    <a:pt x="284727" y="780140"/>
                  </a:moveTo>
                  <a:cubicBezTo>
                    <a:pt x="210843" y="836224"/>
                    <a:pt x="91118" y="785017"/>
                    <a:pt x="24793" y="727715"/>
                  </a:cubicBezTo>
                  <a:cubicBezTo>
                    <a:pt x="13088" y="717718"/>
                    <a:pt x="4554" y="704550"/>
                    <a:pt x="1384" y="689432"/>
                  </a:cubicBezTo>
                  <a:cubicBezTo>
                    <a:pt x="-13734" y="617499"/>
                    <a:pt x="99896" y="599699"/>
                    <a:pt x="103310" y="535325"/>
                  </a:cubicBezTo>
                  <a:cubicBezTo>
                    <a:pt x="104773" y="507040"/>
                    <a:pt x="83559" y="483631"/>
                    <a:pt x="67709" y="460223"/>
                  </a:cubicBezTo>
                  <a:cubicBezTo>
                    <a:pt x="31864" y="406578"/>
                    <a:pt x="21867" y="338546"/>
                    <a:pt x="29426" y="274660"/>
                  </a:cubicBezTo>
                  <a:cubicBezTo>
                    <a:pt x="36985" y="210530"/>
                    <a:pt x="60881" y="149570"/>
                    <a:pt x="88923" y="91537"/>
                  </a:cubicBezTo>
                  <a:cubicBezTo>
                    <a:pt x="111844" y="43988"/>
                    <a:pt x="152565" y="-9901"/>
                    <a:pt x="204015" y="1560"/>
                  </a:cubicBezTo>
                  <a:cubicBezTo>
                    <a:pt x="237177" y="8875"/>
                    <a:pt x="258392" y="41793"/>
                    <a:pt x="268145" y="74224"/>
                  </a:cubicBezTo>
                  <a:cubicBezTo>
                    <a:pt x="281312" y="118847"/>
                    <a:pt x="279362" y="166883"/>
                    <a:pt x="270584" y="212725"/>
                  </a:cubicBezTo>
                  <a:cubicBezTo>
                    <a:pt x="266682" y="232964"/>
                    <a:pt x="261318" y="253934"/>
                    <a:pt x="266926" y="273929"/>
                  </a:cubicBezTo>
                  <a:cubicBezTo>
                    <a:pt x="280825" y="324891"/>
                    <a:pt x="352514" y="336352"/>
                    <a:pt x="378361" y="382438"/>
                  </a:cubicBezTo>
                  <a:cubicBezTo>
                    <a:pt x="404695" y="429255"/>
                    <a:pt x="373241" y="486313"/>
                    <a:pt x="344224" y="531668"/>
                  </a:cubicBezTo>
                  <a:cubicBezTo>
                    <a:pt x="319351" y="570438"/>
                    <a:pt x="303989" y="594335"/>
                    <a:pt x="320327" y="627497"/>
                  </a:cubicBezTo>
                  <a:cubicBezTo>
                    <a:pt x="324716" y="636275"/>
                    <a:pt x="331056" y="643834"/>
                    <a:pt x="338371" y="650174"/>
                  </a:cubicBezTo>
                  <a:cubicBezTo>
                    <a:pt x="354221" y="663829"/>
                    <a:pt x="383726" y="705282"/>
                    <a:pt x="284727" y="780140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A796208-A4FD-4A10-A031-DB2F990278B3}"/>
                </a:ext>
              </a:extLst>
            </p:cNvPr>
            <p:cNvSpPr/>
            <p:nvPr/>
          </p:nvSpPr>
          <p:spPr>
            <a:xfrm>
              <a:off x="191414" y="2824823"/>
              <a:ext cx="609600" cy="195072"/>
            </a:xfrm>
            <a:custGeom>
              <a:avLst/>
              <a:gdLst>
                <a:gd name="connsiteX0" fmla="*/ 0 w 609600"/>
                <a:gd name="connsiteY0" fmla="*/ 205172 h 195071"/>
                <a:gd name="connsiteX1" fmla="*/ 618622 w 609600"/>
                <a:gd name="connsiteY1" fmla="*/ 52528 h 195071"/>
                <a:gd name="connsiteX2" fmla="*/ 0 w 609600"/>
                <a:gd name="connsiteY2" fmla="*/ 205172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95071">
                  <a:moveTo>
                    <a:pt x="0" y="205172"/>
                  </a:moveTo>
                  <a:cubicBezTo>
                    <a:pt x="0" y="205172"/>
                    <a:pt x="563514" y="-125231"/>
                    <a:pt x="618622" y="52528"/>
                  </a:cubicBezTo>
                  <a:cubicBezTo>
                    <a:pt x="681777" y="256135"/>
                    <a:pt x="0" y="205172"/>
                    <a:pt x="0" y="20517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27FBC5B-7A8C-490C-8395-03639401E643}"/>
                </a:ext>
              </a:extLst>
            </p:cNvPr>
            <p:cNvSpPr/>
            <p:nvPr/>
          </p:nvSpPr>
          <p:spPr>
            <a:xfrm>
              <a:off x="0" y="2546216"/>
              <a:ext cx="146304" cy="463296"/>
            </a:xfrm>
            <a:custGeom>
              <a:avLst/>
              <a:gdLst>
                <a:gd name="connsiteX0" fmla="*/ 147036 w 146304"/>
                <a:gd name="connsiteY0" fmla="*/ 472562 h 463295"/>
                <a:gd name="connsiteX1" fmla="*/ 0 w 146304"/>
                <a:gd name="connsiteY1" fmla="*/ 0 h 463295"/>
                <a:gd name="connsiteX2" fmla="*/ 0 w 146304"/>
                <a:gd name="connsiteY2" fmla="*/ 334305 h 463295"/>
                <a:gd name="connsiteX3" fmla="*/ 147036 w 146304"/>
                <a:gd name="connsiteY3" fmla="*/ 472562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463295">
                  <a:moveTo>
                    <a:pt x="147036" y="472562"/>
                  </a:moveTo>
                  <a:cubicBezTo>
                    <a:pt x="138501" y="368198"/>
                    <a:pt x="82418" y="135087"/>
                    <a:pt x="0" y="0"/>
                  </a:cubicBezTo>
                  <a:lnTo>
                    <a:pt x="0" y="334305"/>
                  </a:lnTo>
                  <a:cubicBezTo>
                    <a:pt x="78029" y="414284"/>
                    <a:pt x="147036" y="472562"/>
                    <a:pt x="147036" y="47256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C393DB7F-9E1E-4254-8726-CE53449BFCFC}"/>
                </a:ext>
              </a:extLst>
            </p:cNvPr>
            <p:cNvSpPr/>
            <p:nvPr/>
          </p:nvSpPr>
          <p:spPr>
            <a:xfrm>
              <a:off x="407944" y="2478785"/>
              <a:ext cx="609600" cy="146304"/>
            </a:xfrm>
            <a:custGeom>
              <a:avLst/>
              <a:gdLst>
                <a:gd name="connsiteX0" fmla="*/ 0 w 609600"/>
                <a:gd name="connsiteY0" fmla="*/ 132293 h 146303"/>
                <a:gd name="connsiteX1" fmla="*/ 611063 w 609600"/>
                <a:gd name="connsiteY1" fmla="*/ 61823 h 146303"/>
                <a:gd name="connsiteX2" fmla="*/ 0 w 609600"/>
                <a:gd name="connsiteY2" fmla="*/ 132293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46303">
                  <a:moveTo>
                    <a:pt x="0" y="132293"/>
                  </a:moveTo>
                  <a:cubicBezTo>
                    <a:pt x="0" y="132293"/>
                    <a:pt x="575462" y="-110572"/>
                    <a:pt x="611063" y="61823"/>
                  </a:cubicBezTo>
                  <a:cubicBezTo>
                    <a:pt x="649590" y="249580"/>
                    <a:pt x="0" y="132293"/>
                    <a:pt x="0" y="13229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A13CFDCF-1EEE-4326-887A-1524655799D2}"/>
                </a:ext>
              </a:extLst>
            </p:cNvPr>
            <p:cNvSpPr/>
            <p:nvPr/>
          </p:nvSpPr>
          <p:spPr>
            <a:xfrm>
              <a:off x="244" y="2097015"/>
              <a:ext cx="365760" cy="487680"/>
            </a:xfrm>
            <a:custGeom>
              <a:avLst/>
              <a:gdLst>
                <a:gd name="connsiteX0" fmla="*/ 372344 w 365760"/>
                <a:gd name="connsiteY0" fmla="*/ 510649 h 487679"/>
                <a:gd name="connsiteX1" fmla="*/ 26579 w 365760"/>
                <a:gd name="connsiteY1" fmla="*/ 12240 h 487679"/>
                <a:gd name="connsiteX2" fmla="*/ 0 w 365760"/>
                <a:gd name="connsiteY2" fmla="*/ 29796 h 487679"/>
                <a:gd name="connsiteX3" fmla="*/ 0 w 365760"/>
                <a:gd name="connsiteY3" fmla="*/ 157081 h 487679"/>
                <a:gd name="connsiteX4" fmla="*/ 372344 w 365760"/>
                <a:gd name="connsiteY4" fmla="*/ 510649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0" h="487679">
                  <a:moveTo>
                    <a:pt x="372344" y="510649"/>
                  </a:moveTo>
                  <a:cubicBezTo>
                    <a:pt x="372344" y="510649"/>
                    <a:pt x="244815" y="-92611"/>
                    <a:pt x="26579" y="12240"/>
                  </a:cubicBezTo>
                  <a:cubicBezTo>
                    <a:pt x="15850" y="17361"/>
                    <a:pt x="7071" y="23213"/>
                    <a:pt x="0" y="29796"/>
                  </a:cubicBezTo>
                  <a:lnTo>
                    <a:pt x="0" y="157081"/>
                  </a:lnTo>
                  <a:cubicBezTo>
                    <a:pt x="84856" y="310212"/>
                    <a:pt x="372344" y="510649"/>
                    <a:pt x="372344" y="510649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A8A49B75-BBFE-49D4-BB4A-235CDB7EAADB}"/>
                </a:ext>
              </a:extLst>
            </p:cNvPr>
            <p:cNvSpPr/>
            <p:nvPr/>
          </p:nvSpPr>
          <p:spPr>
            <a:xfrm>
              <a:off x="596920" y="2084476"/>
              <a:ext cx="585216" cy="170688"/>
            </a:xfrm>
            <a:custGeom>
              <a:avLst/>
              <a:gdLst>
                <a:gd name="connsiteX0" fmla="*/ 0 w 585216"/>
                <a:gd name="connsiteY0" fmla="*/ 171327 h 170687"/>
                <a:gd name="connsiteX1" fmla="*/ 591068 w 585216"/>
                <a:gd name="connsiteY1" fmla="*/ 45993 h 170687"/>
                <a:gd name="connsiteX2" fmla="*/ 0 w 585216"/>
                <a:gd name="connsiteY2" fmla="*/ 17132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5216" h="170687">
                  <a:moveTo>
                    <a:pt x="0" y="171327"/>
                  </a:moveTo>
                  <a:cubicBezTo>
                    <a:pt x="99243" y="92079"/>
                    <a:pt x="573999" y="-82998"/>
                    <a:pt x="591068" y="45993"/>
                  </a:cubicBezTo>
                  <a:cubicBezTo>
                    <a:pt x="620817" y="270326"/>
                    <a:pt x="0" y="171327"/>
                    <a:pt x="0" y="17132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48FDE24C-E24A-489C-9754-4552040B29DC}"/>
                </a:ext>
              </a:extLst>
            </p:cNvPr>
            <p:cNvSpPr/>
            <p:nvPr/>
          </p:nvSpPr>
          <p:spPr>
            <a:xfrm>
              <a:off x="167209" y="1738921"/>
              <a:ext cx="365760" cy="487680"/>
            </a:xfrm>
            <a:custGeom>
              <a:avLst/>
              <a:gdLst>
                <a:gd name="connsiteX0" fmla="*/ 376798 w 365760"/>
                <a:gd name="connsiteY0" fmla="*/ 504446 h 487679"/>
                <a:gd name="connsiteX1" fmla="*/ 40543 w 365760"/>
                <a:gd name="connsiteY1" fmla="*/ 7988 h 487679"/>
                <a:gd name="connsiteX2" fmla="*/ 376798 w 365760"/>
                <a:gd name="connsiteY2" fmla="*/ 504446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760" h="487679">
                  <a:moveTo>
                    <a:pt x="376798" y="504446"/>
                  </a:moveTo>
                  <a:cubicBezTo>
                    <a:pt x="316326" y="293524"/>
                    <a:pt x="154904" y="-57361"/>
                    <a:pt x="40543" y="7988"/>
                  </a:cubicBezTo>
                  <a:cubicBezTo>
                    <a:pt x="-146970" y="115521"/>
                    <a:pt x="376798" y="504446"/>
                    <a:pt x="376798" y="504446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B898F5EF-97B6-4904-B33F-5B209395F35A}"/>
                </a:ext>
              </a:extLst>
            </p:cNvPr>
            <p:cNvSpPr/>
            <p:nvPr/>
          </p:nvSpPr>
          <p:spPr>
            <a:xfrm>
              <a:off x="353830" y="1431609"/>
              <a:ext cx="316992" cy="438912"/>
            </a:xfrm>
            <a:custGeom>
              <a:avLst/>
              <a:gdLst>
                <a:gd name="connsiteX0" fmla="*/ 333799 w 316992"/>
                <a:gd name="connsiteY0" fmla="*/ 455020 h 438911"/>
                <a:gd name="connsiteX1" fmla="*/ 26073 w 316992"/>
                <a:gd name="connsiteY1" fmla="*/ 6354 h 438911"/>
                <a:gd name="connsiteX2" fmla="*/ 333799 w 316992"/>
                <a:gd name="connsiteY2" fmla="*/ 455020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38911">
                  <a:moveTo>
                    <a:pt x="333799" y="455020"/>
                  </a:moveTo>
                  <a:cubicBezTo>
                    <a:pt x="321119" y="267507"/>
                    <a:pt x="162623" y="-48753"/>
                    <a:pt x="26073" y="6354"/>
                  </a:cubicBezTo>
                  <a:cubicBezTo>
                    <a:pt x="-110478" y="61706"/>
                    <a:pt x="333799" y="455020"/>
                    <a:pt x="333799" y="455020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61599FB-0944-4664-8E21-034AE1B8DFC6}"/>
                </a:ext>
              </a:extLst>
            </p:cNvPr>
            <p:cNvSpPr/>
            <p:nvPr/>
          </p:nvSpPr>
          <p:spPr>
            <a:xfrm>
              <a:off x="742493" y="1294120"/>
              <a:ext cx="243840" cy="536448"/>
            </a:xfrm>
            <a:custGeom>
              <a:avLst/>
              <a:gdLst>
                <a:gd name="connsiteX0" fmla="*/ 0 w 243840"/>
                <a:gd name="connsiteY0" fmla="*/ 548618 h 536447"/>
                <a:gd name="connsiteX1" fmla="*/ 203363 w 243840"/>
                <a:gd name="connsiteY1" fmla="*/ 6075 h 536447"/>
                <a:gd name="connsiteX2" fmla="*/ 0 w 243840"/>
                <a:gd name="connsiteY2" fmla="*/ 548618 h 536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840" h="536447">
                  <a:moveTo>
                    <a:pt x="0" y="548618"/>
                  </a:moveTo>
                  <a:cubicBezTo>
                    <a:pt x="0" y="548618"/>
                    <a:pt x="385267" y="79470"/>
                    <a:pt x="203363" y="6075"/>
                  </a:cubicBezTo>
                  <a:cubicBezTo>
                    <a:pt x="21702" y="-67321"/>
                    <a:pt x="0" y="548618"/>
                    <a:pt x="0" y="548618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31FCE595-85F5-475D-9A64-3E2D664ECA6D}"/>
                </a:ext>
              </a:extLst>
            </p:cNvPr>
            <p:cNvSpPr/>
            <p:nvPr/>
          </p:nvSpPr>
          <p:spPr>
            <a:xfrm>
              <a:off x="10973" y="1484781"/>
              <a:ext cx="853440" cy="1804416"/>
            </a:xfrm>
            <a:custGeom>
              <a:avLst/>
              <a:gdLst>
                <a:gd name="connsiteX0" fmla="*/ 868314 w 853440"/>
                <a:gd name="connsiteY0" fmla="*/ 0 h 1804415"/>
                <a:gd name="connsiteX1" fmla="*/ 0 w 853440"/>
                <a:gd name="connsiteY1" fmla="*/ 1818558 h 180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3440" h="1804415">
                  <a:moveTo>
                    <a:pt x="868314" y="0"/>
                  </a:moveTo>
                  <a:cubicBezTo>
                    <a:pt x="868314" y="0"/>
                    <a:pt x="618866" y="787603"/>
                    <a:pt x="0" y="1818558"/>
                  </a:cubicBez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C69363A-7713-46FC-A840-2D83D4CCDB18}"/>
                </a:ext>
              </a:extLst>
            </p:cNvPr>
            <p:cNvSpPr/>
            <p:nvPr/>
          </p:nvSpPr>
          <p:spPr>
            <a:xfrm>
              <a:off x="710062" y="1760934"/>
              <a:ext cx="536448" cy="170688"/>
            </a:xfrm>
            <a:custGeom>
              <a:avLst/>
              <a:gdLst>
                <a:gd name="connsiteX0" fmla="*/ 0 w 536448"/>
                <a:gd name="connsiteY0" fmla="*/ 159833 h 170687"/>
                <a:gd name="connsiteX1" fmla="*/ 554004 w 536448"/>
                <a:gd name="connsiteY1" fmla="*/ 44009 h 170687"/>
                <a:gd name="connsiteX2" fmla="*/ 0 w 536448"/>
                <a:gd name="connsiteY2" fmla="*/ 159833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6448" h="170687">
                  <a:moveTo>
                    <a:pt x="0" y="159833"/>
                  </a:moveTo>
                  <a:cubicBezTo>
                    <a:pt x="0" y="159833"/>
                    <a:pt x="504505" y="-101320"/>
                    <a:pt x="554004" y="44009"/>
                  </a:cubicBezTo>
                  <a:cubicBezTo>
                    <a:pt x="614721" y="223475"/>
                    <a:pt x="0" y="159833"/>
                    <a:pt x="0" y="15983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802BFF8-E76C-446A-ABCA-EF2F1FA6564D}"/>
                </a:ext>
              </a:extLst>
            </p:cNvPr>
            <p:cNvSpPr/>
            <p:nvPr/>
          </p:nvSpPr>
          <p:spPr>
            <a:xfrm>
              <a:off x="485973" y="1573051"/>
              <a:ext cx="609600" cy="341376"/>
            </a:xfrm>
            <a:custGeom>
              <a:avLst/>
              <a:gdLst>
                <a:gd name="connsiteX0" fmla="*/ 624962 w 609600"/>
                <a:gd name="connsiteY0" fmla="*/ 265542 h 341375"/>
                <a:gd name="connsiteX1" fmla="*/ 224089 w 609600"/>
                <a:gd name="connsiteY1" fmla="*/ 347716 h 341375"/>
                <a:gd name="connsiteX2" fmla="*/ 0 w 609600"/>
                <a:gd name="connsiteY2" fmla="*/ 0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341375">
                  <a:moveTo>
                    <a:pt x="624962" y="265542"/>
                  </a:moveTo>
                  <a:lnTo>
                    <a:pt x="224089" y="347716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C0F2BE2-A079-4D86-8847-21325865BC4E}"/>
                </a:ext>
              </a:extLst>
            </p:cNvPr>
            <p:cNvSpPr/>
            <p:nvPr/>
          </p:nvSpPr>
          <p:spPr>
            <a:xfrm>
              <a:off x="295290" y="1881021"/>
              <a:ext cx="707136" cy="365760"/>
            </a:xfrm>
            <a:custGeom>
              <a:avLst/>
              <a:gdLst>
                <a:gd name="connsiteX0" fmla="*/ 728838 w 707136"/>
                <a:gd name="connsiteY0" fmla="*/ 297241 h 365759"/>
                <a:gd name="connsiteX1" fmla="*/ 262128 w 707136"/>
                <a:gd name="connsiteY1" fmla="*/ 381853 h 365759"/>
                <a:gd name="connsiteX2" fmla="*/ 0 w 707136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7136" h="365759">
                  <a:moveTo>
                    <a:pt x="728838" y="297241"/>
                  </a:moveTo>
                  <a:lnTo>
                    <a:pt x="262128" y="381853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1234FE09-4B52-4D2A-B491-9360C32B6BDC}"/>
                </a:ext>
              </a:extLst>
            </p:cNvPr>
            <p:cNvSpPr/>
            <p:nvPr/>
          </p:nvSpPr>
          <p:spPr>
            <a:xfrm>
              <a:off x="125578" y="2238003"/>
              <a:ext cx="682752" cy="365760"/>
            </a:xfrm>
            <a:custGeom>
              <a:avLst/>
              <a:gdLst>
                <a:gd name="connsiteX0" fmla="*/ 698602 w 682752"/>
                <a:gd name="connsiteY0" fmla="*/ 328209 h 365759"/>
                <a:gd name="connsiteX1" fmla="*/ 260177 w 682752"/>
                <a:gd name="connsiteY1" fmla="*/ 375514 h 365759"/>
                <a:gd name="connsiteX2" fmla="*/ 0 w 682752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365759">
                  <a:moveTo>
                    <a:pt x="698602" y="328209"/>
                  </a:moveTo>
                  <a:lnTo>
                    <a:pt x="260177" y="375514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D0BCA38-7759-4F7E-97FC-F2938E8291C7}"/>
                </a:ext>
              </a:extLst>
            </p:cNvPr>
            <p:cNvSpPr/>
            <p:nvPr/>
          </p:nvSpPr>
          <p:spPr>
            <a:xfrm>
              <a:off x="16093" y="2777620"/>
              <a:ext cx="682752" cy="268224"/>
            </a:xfrm>
            <a:custGeom>
              <a:avLst/>
              <a:gdLst>
                <a:gd name="connsiteX0" fmla="*/ 691043 w 682752"/>
                <a:gd name="connsiteY0" fmla="*/ 131674 h 268223"/>
                <a:gd name="connsiteX1" fmla="*/ 157521 w 682752"/>
                <a:gd name="connsiteY1" fmla="*/ 286268 h 268223"/>
                <a:gd name="connsiteX2" fmla="*/ 0 w 682752"/>
                <a:gd name="connsiteY2" fmla="*/ 0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268223">
                  <a:moveTo>
                    <a:pt x="691043" y="131674"/>
                  </a:moveTo>
                  <a:lnTo>
                    <a:pt x="157521" y="286268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C3B1C37-22D9-4A34-BBB9-1B6003D209BC}"/>
                </a:ext>
              </a:extLst>
            </p:cNvPr>
            <p:cNvSpPr/>
            <p:nvPr/>
          </p:nvSpPr>
          <p:spPr>
            <a:xfrm>
              <a:off x="2573243" y="781059"/>
              <a:ext cx="3438144" cy="1463040"/>
            </a:xfrm>
            <a:custGeom>
              <a:avLst/>
              <a:gdLst>
                <a:gd name="connsiteX0" fmla="*/ 0 w 3438144"/>
                <a:gd name="connsiteY0" fmla="*/ 1480352 h 1463039"/>
                <a:gd name="connsiteX1" fmla="*/ 3443265 w 3438144"/>
                <a:gd name="connsiteY1" fmla="*/ 0 h 1463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8144" h="1463039">
                  <a:moveTo>
                    <a:pt x="0" y="1480352"/>
                  </a:moveTo>
                  <a:cubicBezTo>
                    <a:pt x="925861" y="611063"/>
                    <a:pt x="3397179" y="596189"/>
                    <a:pt x="3443265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A20314E8-2C41-4E96-B569-F28204586BD5}"/>
                </a:ext>
              </a:extLst>
            </p:cNvPr>
            <p:cNvSpPr/>
            <p:nvPr/>
          </p:nvSpPr>
          <p:spPr>
            <a:xfrm>
              <a:off x="4338889" y="814953"/>
              <a:ext cx="2365248" cy="1024128"/>
            </a:xfrm>
            <a:custGeom>
              <a:avLst/>
              <a:gdLst>
                <a:gd name="connsiteX0" fmla="*/ 0 w 2365248"/>
                <a:gd name="connsiteY0" fmla="*/ 1030224 h 1024127"/>
                <a:gd name="connsiteX1" fmla="*/ 2375246 w 2365248"/>
                <a:gd name="connsiteY1" fmla="*/ 0 h 102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65248" h="1024127">
                  <a:moveTo>
                    <a:pt x="0" y="1030224"/>
                  </a:moveTo>
                  <a:cubicBezTo>
                    <a:pt x="1150681" y="1014374"/>
                    <a:pt x="1727850" y="813206"/>
                    <a:pt x="2375246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59D1BFEC-B02C-422D-9117-3B35D766CFE2}"/>
                </a:ext>
              </a:extLst>
            </p:cNvPr>
            <p:cNvSpPr/>
            <p:nvPr/>
          </p:nvSpPr>
          <p:spPr>
            <a:xfrm>
              <a:off x="8535131" y="360923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3886 h 195071"/>
                <a:gd name="connsiteX2" fmla="*/ 198242 w 195072"/>
                <a:gd name="connsiteY2" fmla="*/ 98999 h 195071"/>
                <a:gd name="connsiteX3" fmla="*/ 134112 w 195072"/>
                <a:gd name="connsiteY3" fmla="*/ 134112 h 195071"/>
                <a:gd name="connsiteX4" fmla="*/ 98999 w 195072"/>
                <a:gd name="connsiteY4" fmla="*/ 198242 h 195071"/>
                <a:gd name="connsiteX5" fmla="*/ 64130 w 195072"/>
                <a:gd name="connsiteY5" fmla="*/ 134112 h 195071"/>
                <a:gd name="connsiteX6" fmla="*/ 0 w 195072"/>
                <a:gd name="connsiteY6" fmla="*/ 98999 h 195071"/>
                <a:gd name="connsiteX7" fmla="*/ 64130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3886"/>
                  </a:lnTo>
                  <a:lnTo>
                    <a:pt x="198242" y="98999"/>
                  </a:lnTo>
                  <a:lnTo>
                    <a:pt x="134112" y="134112"/>
                  </a:lnTo>
                  <a:lnTo>
                    <a:pt x="98999" y="198242"/>
                  </a:lnTo>
                  <a:lnTo>
                    <a:pt x="64130" y="134112"/>
                  </a:lnTo>
                  <a:lnTo>
                    <a:pt x="0" y="98999"/>
                  </a:lnTo>
                  <a:lnTo>
                    <a:pt x="64130" y="63886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59755722-B20C-4910-AD39-077AEA29EC00}"/>
                </a:ext>
              </a:extLst>
            </p:cNvPr>
            <p:cNvSpPr/>
            <p:nvPr/>
          </p:nvSpPr>
          <p:spPr>
            <a:xfrm>
              <a:off x="956097" y="9306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4130 h 195071"/>
                <a:gd name="connsiteX2" fmla="*/ 198242 w 195072"/>
                <a:gd name="connsiteY2" fmla="*/ 99243 h 195071"/>
                <a:gd name="connsiteX3" fmla="*/ 134112 w 195072"/>
                <a:gd name="connsiteY3" fmla="*/ 134356 h 195071"/>
                <a:gd name="connsiteX4" fmla="*/ 98999 w 195072"/>
                <a:gd name="connsiteY4" fmla="*/ 198242 h 195071"/>
                <a:gd name="connsiteX5" fmla="*/ 64130 w 195072"/>
                <a:gd name="connsiteY5" fmla="*/ 134356 h 195071"/>
                <a:gd name="connsiteX6" fmla="*/ 0 w 195072"/>
                <a:gd name="connsiteY6" fmla="*/ 99243 h 195071"/>
                <a:gd name="connsiteX7" fmla="*/ 64130 w 195072"/>
                <a:gd name="connsiteY7" fmla="*/ 64130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4130"/>
                  </a:lnTo>
                  <a:lnTo>
                    <a:pt x="198242" y="99243"/>
                  </a:lnTo>
                  <a:lnTo>
                    <a:pt x="134112" y="134356"/>
                  </a:lnTo>
                  <a:lnTo>
                    <a:pt x="98999" y="198242"/>
                  </a:lnTo>
                  <a:lnTo>
                    <a:pt x="64130" y="134356"/>
                  </a:lnTo>
                  <a:lnTo>
                    <a:pt x="0" y="99243"/>
                  </a:lnTo>
                  <a:lnTo>
                    <a:pt x="64130" y="64130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81D18C9-ECA0-4A34-B35D-BCEAA01DFDA7}"/>
                </a:ext>
              </a:extLst>
            </p:cNvPr>
            <p:cNvSpPr/>
            <p:nvPr/>
          </p:nvSpPr>
          <p:spPr>
            <a:xfrm>
              <a:off x="2900477" y="1127312"/>
              <a:ext cx="292608" cy="292608"/>
            </a:xfrm>
            <a:custGeom>
              <a:avLst/>
              <a:gdLst>
                <a:gd name="connsiteX0" fmla="*/ 150937 w 292608"/>
                <a:gd name="connsiteY0" fmla="*/ 0 h 292607"/>
                <a:gd name="connsiteX1" fmla="*/ 204338 w 292608"/>
                <a:gd name="connsiteY1" fmla="*/ 97780 h 292607"/>
                <a:gd name="connsiteX2" fmla="*/ 301874 w 292608"/>
                <a:gd name="connsiteY2" fmla="*/ 150937 h 292607"/>
                <a:gd name="connsiteX3" fmla="*/ 204338 w 292608"/>
                <a:gd name="connsiteY3" fmla="*/ 204338 h 292607"/>
                <a:gd name="connsiteX4" fmla="*/ 150937 w 292608"/>
                <a:gd name="connsiteY4" fmla="*/ 301874 h 292607"/>
                <a:gd name="connsiteX5" fmla="*/ 97536 w 292608"/>
                <a:gd name="connsiteY5" fmla="*/ 204338 h 292607"/>
                <a:gd name="connsiteX6" fmla="*/ 0 w 292608"/>
                <a:gd name="connsiteY6" fmla="*/ 150937 h 292607"/>
                <a:gd name="connsiteX7" fmla="*/ 97536 w 292608"/>
                <a:gd name="connsiteY7" fmla="*/ 97780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608" h="292607">
                  <a:moveTo>
                    <a:pt x="150937" y="0"/>
                  </a:moveTo>
                  <a:lnTo>
                    <a:pt x="204338" y="97780"/>
                  </a:lnTo>
                  <a:lnTo>
                    <a:pt x="301874" y="150937"/>
                  </a:lnTo>
                  <a:lnTo>
                    <a:pt x="204338" y="204338"/>
                  </a:lnTo>
                  <a:lnTo>
                    <a:pt x="150937" y="301874"/>
                  </a:lnTo>
                  <a:lnTo>
                    <a:pt x="97536" y="204338"/>
                  </a:lnTo>
                  <a:lnTo>
                    <a:pt x="0" y="150937"/>
                  </a:lnTo>
                  <a:lnTo>
                    <a:pt x="97536" y="97780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ABCB4FD1-9965-46F9-8916-6E8532F6B3C1}"/>
                </a:ext>
              </a:extLst>
            </p:cNvPr>
            <p:cNvSpPr/>
            <p:nvPr/>
          </p:nvSpPr>
          <p:spPr>
            <a:xfrm>
              <a:off x="6842882" y="1924425"/>
              <a:ext cx="195072" cy="195072"/>
            </a:xfrm>
            <a:custGeom>
              <a:avLst/>
              <a:gdLst>
                <a:gd name="connsiteX0" fmla="*/ 102169 w 195072"/>
                <a:gd name="connsiteY0" fmla="*/ 0 h 195071"/>
                <a:gd name="connsiteX1" fmla="*/ 138257 w 195072"/>
                <a:gd name="connsiteY1" fmla="*/ 66081 h 195071"/>
                <a:gd name="connsiteX2" fmla="*/ 204338 w 195072"/>
                <a:gd name="connsiteY2" fmla="*/ 102169 h 195071"/>
                <a:gd name="connsiteX3" fmla="*/ 138257 w 195072"/>
                <a:gd name="connsiteY3" fmla="*/ 138257 h 195071"/>
                <a:gd name="connsiteX4" fmla="*/ 102169 w 195072"/>
                <a:gd name="connsiteY4" fmla="*/ 204338 h 195071"/>
                <a:gd name="connsiteX5" fmla="*/ 66080 w 195072"/>
                <a:gd name="connsiteY5" fmla="*/ 138257 h 195071"/>
                <a:gd name="connsiteX6" fmla="*/ 0 w 195072"/>
                <a:gd name="connsiteY6" fmla="*/ 102169 h 195071"/>
                <a:gd name="connsiteX7" fmla="*/ 66080 w 195072"/>
                <a:gd name="connsiteY7" fmla="*/ 66081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102169" y="0"/>
                  </a:moveTo>
                  <a:lnTo>
                    <a:pt x="138257" y="66081"/>
                  </a:lnTo>
                  <a:lnTo>
                    <a:pt x="204338" y="102169"/>
                  </a:lnTo>
                  <a:lnTo>
                    <a:pt x="138257" y="138257"/>
                  </a:lnTo>
                  <a:lnTo>
                    <a:pt x="102169" y="204338"/>
                  </a:lnTo>
                  <a:lnTo>
                    <a:pt x="66080" y="138257"/>
                  </a:lnTo>
                  <a:lnTo>
                    <a:pt x="0" y="102169"/>
                  </a:lnTo>
                  <a:lnTo>
                    <a:pt x="66080" y="66081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94F8D03D-7B12-433F-9497-B6E4EA7E34CD}"/>
                </a:ext>
              </a:extLst>
            </p:cNvPr>
            <p:cNvSpPr/>
            <p:nvPr/>
          </p:nvSpPr>
          <p:spPr>
            <a:xfrm>
              <a:off x="4904354" y="207999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7 w 97536"/>
                <a:gd name="connsiteY1" fmla="*/ 31699 h 97535"/>
                <a:gd name="connsiteX2" fmla="*/ 97536 w 97536"/>
                <a:gd name="connsiteY2" fmla="*/ 48768 h 97535"/>
                <a:gd name="connsiteX3" fmla="*/ 65837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699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7" y="31699"/>
                  </a:lnTo>
                  <a:lnTo>
                    <a:pt x="97536" y="48768"/>
                  </a:lnTo>
                  <a:lnTo>
                    <a:pt x="65837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699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F28B539-DBDC-4BD5-89AF-27CA0D0C36AD}"/>
                </a:ext>
              </a:extLst>
            </p:cNvPr>
            <p:cNvSpPr/>
            <p:nvPr/>
          </p:nvSpPr>
          <p:spPr>
            <a:xfrm>
              <a:off x="8252765" y="-9164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6 w 97536"/>
                <a:gd name="connsiteY1" fmla="*/ 31455 h 97535"/>
                <a:gd name="connsiteX2" fmla="*/ 97536 w 97536"/>
                <a:gd name="connsiteY2" fmla="*/ 48768 h 97535"/>
                <a:gd name="connsiteX3" fmla="*/ 65836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6" y="31455"/>
                  </a:lnTo>
                  <a:lnTo>
                    <a:pt x="97536" y="48768"/>
                  </a:lnTo>
                  <a:lnTo>
                    <a:pt x="65836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455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90E6826-7FF2-42F0-B938-D9F0FE3F8F63}"/>
                </a:ext>
              </a:extLst>
            </p:cNvPr>
            <p:cNvSpPr/>
            <p:nvPr/>
          </p:nvSpPr>
          <p:spPr>
            <a:xfrm>
              <a:off x="4430817" y="559165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6080 w 97536"/>
                <a:gd name="connsiteY1" fmla="*/ 31455 h 97535"/>
                <a:gd name="connsiteX2" fmla="*/ 97536 w 97536"/>
                <a:gd name="connsiteY2" fmla="*/ 48768 h 97535"/>
                <a:gd name="connsiteX3" fmla="*/ 66080 w 97536"/>
                <a:gd name="connsiteY3" fmla="*/ 65837 h 97535"/>
                <a:gd name="connsiteX4" fmla="*/ 48768 w 97536"/>
                <a:gd name="connsiteY4" fmla="*/ 97536 h 97535"/>
                <a:gd name="connsiteX5" fmla="*/ 31699 w 97536"/>
                <a:gd name="connsiteY5" fmla="*/ 65837 h 97535"/>
                <a:gd name="connsiteX6" fmla="*/ 0 w 97536"/>
                <a:gd name="connsiteY6" fmla="*/ 48768 h 97535"/>
                <a:gd name="connsiteX7" fmla="*/ 31699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6080" y="31455"/>
                  </a:lnTo>
                  <a:lnTo>
                    <a:pt x="97536" y="48768"/>
                  </a:lnTo>
                  <a:lnTo>
                    <a:pt x="66080" y="65837"/>
                  </a:lnTo>
                  <a:lnTo>
                    <a:pt x="48768" y="97536"/>
                  </a:lnTo>
                  <a:lnTo>
                    <a:pt x="31699" y="65837"/>
                  </a:lnTo>
                  <a:lnTo>
                    <a:pt x="0" y="48768"/>
                  </a:lnTo>
                  <a:lnTo>
                    <a:pt x="31699" y="31455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74F0CF91-E4DF-49E9-9C4C-A886D7B959EA}"/>
                </a:ext>
              </a:extLst>
            </p:cNvPr>
            <p:cNvSpPr/>
            <p:nvPr/>
          </p:nvSpPr>
          <p:spPr>
            <a:xfrm>
              <a:off x="10607771" y="402132"/>
              <a:ext cx="195072" cy="195072"/>
            </a:xfrm>
            <a:custGeom>
              <a:avLst/>
              <a:gdLst>
                <a:gd name="connsiteX0" fmla="*/ 98755 w 195072"/>
                <a:gd name="connsiteY0" fmla="*/ 0 h 195071"/>
                <a:gd name="connsiteX1" fmla="*/ 133625 w 195072"/>
                <a:gd name="connsiteY1" fmla="*/ 63886 h 195071"/>
                <a:gd name="connsiteX2" fmla="*/ 197511 w 195072"/>
                <a:gd name="connsiteY2" fmla="*/ 98755 h 195071"/>
                <a:gd name="connsiteX3" fmla="*/ 133625 w 195072"/>
                <a:gd name="connsiteY3" fmla="*/ 133868 h 195071"/>
                <a:gd name="connsiteX4" fmla="*/ 98755 w 195072"/>
                <a:gd name="connsiteY4" fmla="*/ 197754 h 195071"/>
                <a:gd name="connsiteX5" fmla="*/ 63886 w 195072"/>
                <a:gd name="connsiteY5" fmla="*/ 133868 h 195071"/>
                <a:gd name="connsiteX6" fmla="*/ 0 w 195072"/>
                <a:gd name="connsiteY6" fmla="*/ 98755 h 195071"/>
                <a:gd name="connsiteX7" fmla="*/ 63886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755" y="0"/>
                  </a:moveTo>
                  <a:lnTo>
                    <a:pt x="133625" y="63886"/>
                  </a:lnTo>
                  <a:lnTo>
                    <a:pt x="197511" y="98755"/>
                  </a:lnTo>
                  <a:lnTo>
                    <a:pt x="133625" y="133868"/>
                  </a:lnTo>
                  <a:lnTo>
                    <a:pt x="98755" y="197754"/>
                  </a:lnTo>
                  <a:lnTo>
                    <a:pt x="63886" y="133868"/>
                  </a:lnTo>
                  <a:lnTo>
                    <a:pt x="0" y="98755"/>
                  </a:lnTo>
                  <a:lnTo>
                    <a:pt x="63886" y="63886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83F48F-DFCB-4F62-817C-DC39CB442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762" y="6453188"/>
            <a:ext cx="2743200" cy="268287"/>
          </a:xfrm>
        </p:spPr>
        <p:txBody>
          <a:bodyPr/>
          <a:lstStyle/>
          <a:p>
            <a:fld id="{E0BDCBD0-93B5-4B61-86F8-939F02C82BA8}" type="slidenum">
              <a:rPr lang="en-US" b="0" smtClean="0"/>
              <a:pPr/>
              <a:t>10</a:t>
            </a:fld>
            <a:endParaRPr lang="en-US" b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6DDCA62-0250-4BBC-9642-364177A6B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7497" y="164242"/>
            <a:ext cx="12192000" cy="1768851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чее пространство для учеников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E49967D6-5ACE-425B-802E-9CB2DDD8C28D}"/>
              </a:ext>
            </a:extLst>
          </p:cNvPr>
          <p:cNvGrpSpPr/>
          <p:nvPr/>
        </p:nvGrpSpPr>
        <p:grpSpPr>
          <a:xfrm rot="1328355">
            <a:off x="7542189" y="457667"/>
            <a:ext cx="227287" cy="227287"/>
            <a:chOff x="13389778" y="2334193"/>
            <a:chExt cx="351340" cy="351340"/>
          </a:xfrm>
        </p:grpSpPr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3F3D4A40-7EE3-4F55-8403-DE56E6D414B4}"/>
                </a:ext>
              </a:extLst>
            </p:cNvPr>
            <p:cNvSpPr/>
            <p:nvPr/>
          </p:nvSpPr>
          <p:spPr>
            <a:xfrm>
              <a:off x="13389778" y="2334193"/>
              <a:ext cx="351340" cy="351340"/>
            </a:xfrm>
            <a:custGeom>
              <a:avLst/>
              <a:gdLst>
                <a:gd name="connsiteX0" fmla="*/ 353529 w 351339"/>
                <a:gd name="connsiteY0" fmla="*/ 141219 h 351339"/>
                <a:gd name="connsiteX1" fmla="*/ 216339 w 351339"/>
                <a:gd name="connsiteY1" fmla="*/ 353529 h 351339"/>
                <a:gd name="connsiteX2" fmla="*/ 4030 w 351339"/>
                <a:gd name="connsiteY2" fmla="*/ 216339 h 351339"/>
                <a:gd name="connsiteX3" fmla="*/ 141219 w 351339"/>
                <a:gd name="connsiteY3" fmla="*/ 4030 h 351339"/>
                <a:gd name="connsiteX4" fmla="*/ 353529 w 351339"/>
                <a:gd name="connsiteY4" fmla="*/ 141219 h 351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339" h="351339">
                  <a:moveTo>
                    <a:pt x="353529" y="141219"/>
                  </a:moveTo>
                  <a:cubicBezTo>
                    <a:pt x="374275" y="237754"/>
                    <a:pt x="312874" y="332783"/>
                    <a:pt x="216339" y="353529"/>
                  </a:cubicBezTo>
                  <a:cubicBezTo>
                    <a:pt x="119804" y="374275"/>
                    <a:pt x="24775" y="312874"/>
                    <a:pt x="4030" y="216339"/>
                  </a:cubicBezTo>
                  <a:cubicBezTo>
                    <a:pt x="-16716" y="119804"/>
                    <a:pt x="44685" y="24775"/>
                    <a:pt x="141219" y="4030"/>
                  </a:cubicBezTo>
                  <a:cubicBezTo>
                    <a:pt x="237754" y="-16716"/>
                    <a:pt x="332783" y="44685"/>
                    <a:pt x="353529" y="141219"/>
                  </a:cubicBezTo>
                  <a:close/>
                </a:path>
              </a:pathLst>
            </a:custGeom>
            <a:solidFill>
              <a:srgbClr val="DB2828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F88D5018-2CD4-4C89-9DE0-421776886AC3}"/>
                </a:ext>
              </a:extLst>
            </p:cNvPr>
            <p:cNvSpPr/>
            <p:nvPr/>
          </p:nvSpPr>
          <p:spPr>
            <a:xfrm>
              <a:off x="13463556" y="2429170"/>
              <a:ext cx="200765" cy="184035"/>
            </a:xfrm>
            <a:custGeom>
              <a:avLst/>
              <a:gdLst>
                <a:gd name="connsiteX0" fmla="*/ 127002 w 200765"/>
                <a:gd name="connsiteY0" fmla="*/ 185607 h 184035"/>
                <a:gd name="connsiteX1" fmla="*/ 11896 w 200765"/>
                <a:gd name="connsiteY1" fmla="*/ 38379 h 184035"/>
                <a:gd name="connsiteX2" fmla="*/ 100233 w 200765"/>
                <a:gd name="connsiteY2" fmla="*/ 61132 h 184035"/>
                <a:gd name="connsiteX3" fmla="*/ 171505 w 200765"/>
                <a:gd name="connsiteY3" fmla="*/ 4081 h 184035"/>
                <a:gd name="connsiteX4" fmla="*/ 127002 w 200765"/>
                <a:gd name="connsiteY4" fmla="*/ 185607 h 18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65" h="184035">
                  <a:moveTo>
                    <a:pt x="127002" y="185607"/>
                  </a:moveTo>
                  <a:cubicBezTo>
                    <a:pt x="13569" y="162686"/>
                    <a:pt x="-21063" y="71840"/>
                    <a:pt x="11896" y="38379"/>
                  </a:cubicBezTo>
                  <a:cubicBezTo>
                    <a:pt x="56232" y="-6459"/>
                    <a:pt x="100233" y="61132"/>
                    <a:pt x="100233" y="61132"/>
                  </a:cubicBezTo>
                  <a:cubicBezTo>
                    <a:pt x="100233" y="61132"/>
                    <a:pt x="112613" y="-18672"/>
                    <a:pt x="171505" y="4081"/>
                  </a:cubicBezTo>
                  <a:cubicBezTo>
                    <a:pt x="215171" y="21146"/>
                    <a:pt x="221027" y="118016"/>
                    <a:pt x="127002" y="185607"/>
                  </a:cubicBezTo>
                  <a:close/>
                </a:path>
              </a:pathLst>
            </a:custGeom>
            <a:solidFill>
              <a:srgbClr val="FFFFFF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8" name="Rectangle: Rounded Corners 11">
            <a:extLst>
              <a:ext uri="{FF2B5EF4-FFF2-40B4-BE49-F238E27FC236}">
                <a16:creationId xmlns:a16="http://schemas.microsoft.com/office/drawing/2014/main" id="{84418A71-5AD4-47B3-8BB1-C10C92ED628D}"/>
              </a:ext>
            </a:extLst>
          </p:cNvPr>
          <p:cNvSpPr/>
          <p:nvPr/>
        </p:nvSpPr>
        <p:spPr>
          <a:xfrm>
            <a:off x="491553" y="2543139"/>
            <a:ext cx="5445919" cy="3600450"/>
          </a:xfrm>
          <a:prstGeom prst="roundRect">
            <a:avLst>
              <a:gd name="adj" fmla="val 1093"/>
            </a:avLst>
          </a:prstGeom>
          <a:solidFill>
            <a:schemeClr val="bg1"/>
          </a:solidFill>
          <a:ln>
            <a:noFill/>
          </a:ln>
          <a:effectLst>
            <a:outerShdw blurRad="368300" dist="609600" dir="5400000" sx="84000" sy="84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Rectangle: Rounded Corners 40">
            <a:extLst>
              <a:ext uri="{FF2B5EF4-FFF2-40B4-BE49-F238E27FC236}">
                <a16:creationId xmlns:a16="http://schemas.microsoft.com/office/drawing/2014/main" id="{B053AF66-986D-4A26-B077-D8D7D97772EF}"/>
              </a:ext>
            </a:extLst>
          </p:cNvPr>
          <p:cNvSpPr/>
          <p:nvPr/>
        </p:nvSpPr>
        <p:spPr>
          <a:xfrm>
            <a:off x="6285486" y="2543139"/>
            <a:ext cx="5445919" cy="3600450"/>
          </a:xfrm>
          <a:prstGeom prst="roundRect">
            <a:avLst>
              <a:gd name="adj" fmla="val 1093"/>
            </a:avLst>
          </a:prstGeom>
          <a:solidFill>
            <a:schemeClr val="bg1"/>
          </a:solidFill>
          <a:ln>
            <a:noFill/>
          </a:ln>
          <a:effectLst>
            <a:outerShdw blurRad="368300" dist="609600" dir="5400000" sx="84000" sy="84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1D64564-7ED6-4A6D-B7A0-C2BDB9FDD886}"/>
              </a:ext>
            </a:extLst>
          </p:cNvPr>
          <p:cNvSpPr txBox="1"/>
          <p:nvPr/>
        </p:nvSpPr>
        <p:spPr>
          <a:xfrm>
            <a:off x="6878225" y="5171980"/>
            <a:ext cx="46262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Такая форма работы добавляет соревновательный эффект между учениками или командами: кто сделает работы качественнее и интереснее, быстрее выложит в папку на </a:t>
            </a:r>
            <a:r>
              <a:rPr lang="ru-RU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Google</a:t>
            </a: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 Диск.</a:t>
            </a:r>
          </a:p>
        </p:txBody>
      </p:sp>
      <p:cxnSp>
        <p:nvCxnSpPr>
          <p:cNvPr id="134" name="Straight Connector 45">
            <a:extLst>
              <a:ext uri="{FF2B5EF4-FFF2-40B4-BE49-F238E27FC236}">
                <a16:creationId xmlns:a16="http://schemas.microsoft.com/office/drawing/2014/main" id="{2FC9294A-9F19-4F83-8623-0345DE9F3488}"/>
              </a:ext>
            </a:extLst>
          </p:cNvPr>
          <p:cNvCxnSpPr/>
          <p:nvPr/>
        </p:nvCxnSpPr>
        <p:spPr>
          <a:xfrm>
            <a:off x="6460508" y="5190511"/>
            <a:ext cx="509587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23">
            <a:extLst>
              <a:ext uri="{FF2B5EF4-FFF2-40B4-BE49-F238E27FC236}">
                <a16:creationId xmlns:a16="http://schemas.microsoft.com/office/drawing/2014/main" id="{9AA2EBFE-EA22-4D9C-9256-2ADCA3CEA1F2}"/>
              </a:ext>
            </a:extLst>
          </p:cNvPr>
          <p:cNvCxnSpPr/>
          <p:nvPr/>
        </p:nvCxnSpPr>
        <p:spPr>
          <a:xfrm>
            <a:off x="666575" y="5190511"/>
            <a:ext cx="509587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Top Corners Rounded 129">
            <a:extLst>
              <a:ext uri="{FF2B5EF4-FFF2-40B4-BE49-F238E27FC236}">
                <a16:creationId xmlns:a16="http://schemas.microsoft.com/office/drawing/2014/main" id="{3E577135-9603-45D2-9E51-4F9BACC1EBF8}"/>
              </a:ext>
            </a:extLst>
          </p:cNvPr>
          <p:cNvSpPr/>
          <p:nvPr/>
        </p:nvSpPr>
        <p:spPr>
          <a:xfrm>
            <a:off x="490746" y="2189623"/>
            <a:ext cx="5446800" cy="493180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29487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ожительные моменты работы</a:t>
            </a:r>
            <a:br>
              <a:rPr lang="ru-RU" sz="1400" b="1" dirty="0">
                <a:solidFill>
                  <a:srgbClr val="29487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b="1" dirty="0">
                <a:solidFill>
                  <a:srgbClr val="29487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облачным хранилищем</a:t>
            </a:r>
            <a:endParaRPr lang="en-US" sz="1400" b="1" dirty="0">
              <a:solidFill>
                <a:srgbClr val="29487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1" name="Rectangle: Top Corners Rounded 130">
            <a:extLst>
              <a:ext uri="{FF2B5EF4-FFF2-40B4-BE49-F238E27FC236}">
                <a16:creationId xmlns:a16="http://schemas.microsoft.com/office/drawing/2014/main" id="{497DA5E6-BF39-4CDA-9AD8-1A036DFE8891}"/>
              </a:ext>
            </a:extLst>
          </p:cNvPr>
          <p:cNvSpPr/>
          <p:nvPr/>
        </p:nvSpPr>
        <p:spPr>
          <a:xfrm>
            <a:off x="6282561" y="2189623"/>
            <a:ext cx="5446888" cy="493180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29487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полнение учащимися групповых заданий</a:t>
            </a:r>
            <a:br>
              <a:rPr lang="ru-RU" sz="1400" b="1" dirty="0">
                <a:solidFill>
                  <a:srgbClr val="29487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b="1" dirty="0">
                <a:solidFill>
                  <a:srgbClr val="29487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совместных мини-проектов</a:t>
            </a:r>
          </a:p>
        </p:txBody>
      </p:sp>
      <p:grpSp>
        <p:nvGrpSpPr>
          <p:cNvPr id="151" name="Graphic 138">
            <a:extLst>
              <a:ext uri="{FF2B5EF4-FFF2-40B4-BE49-F238E27FC236}">
                <a16:creationId xmlns:a16="http://schemas.microsoft.com/office/drawing/2014/main" id="{B1B21B41-15BA-4B53-B16A-0DCDB25D1489}"/>
              </a:ext>
            </a:extLst>
          </p:cNvPr>
          <p:cNvGrpSpPr/>
          <p:nvPr/>
        </p:nvGrpSpPr>
        <p:grpSpPr>
          <a:xfrm>
            <a:off x="6405440" y="5423838"/>
            <a:ext cx="479456" cy="440581"/>
            <a:chOff x="6699681" y="5362755"/>
            <a:chExt cx="352425" cy="323850"/>
          </a:xfrm>
          <a:gradFill>
            <a:gsLst>
              <a:gs pos="14000">
                <a:srgbClr val="0165E2"/>
              </a:gs>
              <a:gs pos="100000">
                <a:srgbClr val="16A8FD"/>
              </a:gs>
            </a:gsLst>
            <a:lin ang="14400000" scaled="0"/>
          </a:gradFill>
        </p:grpSpPr>
        <p:sp>
          <p:nvSpPr>
            <p:cNvPr id="152" name="Freeform: Shape 140">
              <a:extLst>
                <a:ext uri="{FF2B5EF4-FFF2-40B4-BE49-F238E27FC236}">
                  <a16:creationId xmlns:a16="http://schemas.microsoft.com/office/drawing/2014/main" id="{CA61C1E2-7B9D-4565-B8DD-C7CC13EBA946}"/>
                </a:ext>
              </a:extLst>
            </p:cNvPr>
            <p:cNvSpPr/>
            <p:nvPr/>
          </p:nvSpPr>
          <p:spPr>
            <a:xfrm>
              <a:off x="6734352" y="5362755"/>
              <a:ext cx="152400" cy="152400"/>
            </a:xfrm>
            <a:custGeom>
              <a:avLst/>
              <a:gdLst>
                <a:gd name="connsiteX0" fmla="*/ 76581 w 152400"/>
                <a:gd name="connsiteY0" fmla="*/ 152876 h 152400"/>
                <a:gd name="connsiteX1" fmla="*/ 152972 w 152400"/>
                <a:gd name="connsiteY1" fmla="*/ 76486 h 152400"/>
                <a:gd name="connsiteX2" fmla="*/ 76581 w 152400"/>
                <a:gd name="connsiteY2" fmla="*/ 0 h 152400"/>
                <a:gd name="connsiteX3" fmla="*/ 0 w 152400"/>
                <a:gd name="connsiteY3" fmla="*/ 76486 h 152400"/>
                <a:gd name="connsiteX4" fmla="*/ 76581 w 152400"/>
                <a:gd name="connsiteY4" fmla="*/ 152876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76581" y="152876"/>
                  </a:moveTo>
                  <a:cubicBezTo>
                    <a:pt x="118872" y="152876"/>
                    <a:pt x="152972" y="118682"/>
                    <a:pt x="152972" y="76486"/>
                  </a:cubicBezTo>
                  <a:cubicBezTo>
                    <a:pt x="152972" y="34195"/>
                    <a:pt x="118872" y="0"/>
                    <a:pt x="76581" y="0"/>
                  </a:cubicBezTo>
                  <a:cubicBezTo>
                    <a:pt x="34195" y="0"/>
                    <a:pt x="0" y="34195"/>
                    <a:pt x="0" y="76486"/>
                  </a:cubicBezTo>
                  <a:cubicBezTo>
                    <a:pt x="0" y="118682"/>
                    <a:pt x="34195" y="152876"/>
                    <a:pt x="76581" y="1528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41">
              <a:extLst>
                <a:ext uri="{FF2B5EF4-FFF2-40B4-BE49-F238E27FC236}">
                  <a16:creationId xmlns:a16="http://schemas.microsoft.com/office/drawing/2014/main" id="{26B9D990-9580-44DD-9A28-B7271253BFA6}"/>
                </a:ext>
              </a:extLst>
            </p:cNvPr>
            <p:cNvSpPr/>
            <p:nvPr/>
          </p:nvSpPr>
          <p:spPr>
            <a:xfrm>
              <a:off x="6699681" y="5533538"/>
              <a:ext cx="219075" cy="152400"/>
            </a:xfrm>
            <a:custGeom>
              <a:avLst/>
              <a:gdLst>
                <a:gd name="connsiteX0" fmla="*/ 111252 w 219075"/>
                <a:gd name="connsiteY0" fmla="*/ 0 h 152400"/>
                <a:gd name="connsiteX1" fmla="*/ 0 w 219075"/>
                <a:gd name="connsiteY1" fmla="*/ 96869 h 152400"/>
                <a:gd name="connsiteX2" fmla="*/ 111252 w 219075"/>
                <a:gd name="connsiteY2" fmla="*/ 152972 h 152400"/>
                <a:gd name="connsiteX3" fmla="*/ 222409 w 219075"/>
                <a:gd name="connsiteY3" fmla="*/ 96869 h 152400"/>
                <a:gd name="connsiteX4" fmla="*/ 111252 w 219075"/>
                <a:gd name="connsiteY4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5" h="152400">
                  <a:moveTo>
                    <a:pt x="111252" y="0"/>
                  </a:moveTo>
                  <a:cubicBezTo>
                    <a:pt x="49816" y="0"/>
                    <a:pt x="0" y="54578"/>
                    <a:pt x="0" y="96869"/>
                  </a:cubicBezTo>
                  <a:cubicBezTo>
                    <a:pt x="0" y="139065"/>
                    <a:pt x="49816" y="152972"/>
                    <a:pt x="111252" y="152972"/>
                  </a:cubicBezTo>
                  <a:cubicBezTo>
                    <a:pt x="172688" y="152972"/>
                    <a:pt x="222409" y="139065"/>
                    <a:pt x="222409" y="96869"/>
                  </a:cubicBezTo>
                  <a:cubicBezTo>
                    <a:pt x="222409" y="54578"/>
                    <a:pt x="172593" y="0"/>
                    <a:pt x="11125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42">
              <a:extLst>
                <a:ext uri="{FF2B5EF4-FFF2-40B4-BE49-F238E27FC236}">
                  <a16:creationId xmlns:a16="http://schemas.microsoft.com/office/drawing/2014/main" id="{2C8456F4-816F-4CF0-A2A0-A494434B88A4}"/>
                </a:ext>
              </a:extLst>
            </p:cNvPr>
            <p:cNvSpPr/>
            <p:nvPr/>
          </p:nvSpPr>
          <p:spPr>
            <a:xfrm>
              <a:off x="6900944" y="5531824"/>
              <a:ext cx="142875" cy="114300"/>
            </a:xfrm>
            <a:custGeom>
              <a:avLst/>
              <a:gdLst>
                <a:gd name="connsiteX0" fmla="*/ 59150 w 142875"/>
                <a:gd name="connsiteY0" fmla="*/ 0 h 114300"/>
                <a:gd name="connsiteX1" fmla="*/ 0 w 142875"/>
                <a:gd name="connsiteY1" fmla="*/ 23051 h 114300"/>
                <a:gd name="connsiteX2" fmla="*/ 42291 w 142875"/>
                <a:gd name="connsiteY2" fmla="*/ 102489 h 114300"/>
                <a:gd name="connsiteX3" fmla="*/ 38386 w 142875"/>
                <a:gd name="connsiteY3" fmla="*/ 122206 h 114300"/>
                <a:gd name="connsiteX4" fmla="*/ 59246 w 142875"/>
                <a:gd name="connsiteY4" fmla="*/ 123063 h 114300"/>
                <a:gd name="connsiteX5" fmla="*/ 148781 w 142875"/>
                <a:gd name="connsiteY5" fmla="*/ 77819 h 114300"/>
                <a:gd name="connsiteX6" fmla="*/ 59150 w 142875"/>
                <a:gd name="connsiteY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" h="114300">
                  <a:moveTo>
                    <a:pt x="59150" y="0"/>
                  </a:moveTo>
                  <a:cubicBezTo>
                    <a:pt x="36290" y="0"/>
                    <a:pt x="15621" y="9525"/>
                    <a:pt x="0" y="23051"/>
                  </a:cubicBezTo>
                  <a:cubicBezTo>
                    <a:pt x="25908" y="46006"/>
                    <a:pt x="42291" y="76105"/>
                    <a:pt x="42291" y="102489"/>
                  </a:cubicBezTo>
                  <a:cubicBezTo>
                    <a:pt x="42291" y="109823"/>
                    <a:pt x="40767" y="116205"/>
                    <a:pt x="38386" y="122206"/>
                  </a:cubicBezTo>
                  <a:cubicBezTo>
                    <a:pt x="45053" y="122682"/>
                    <a:pt x="52007" y="123063"/>
                    <a:pt x="59246" y="123063"/>
                  </a:cubicBezTo>
                  <a:cubicBezTo>
                    <a:pt x="108680" y="123063"/>
                    <a:pt x="148781" y="111919"/>
                    <a:pt x="148781" y="77819"/>
                  </a:cubicBezTo>
                  <a:cubicBezTo>
                    <a:pt x="148685" y="43910"/>
                    <a:pt x="108680" y="0"/>
                    <a:pt x="5915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43">
              <a:extLst>
                <a:ext uri="{FF2B5EF4-FFF2-40B4-BE49-F238E27FC236}">
                  <a16:creationId xmlns:a16="http://schemas.microsoft.com/office/drawing/2014/main" id="{B3662479-5407-442F-BE5F-B2AD53AABD08}"/>
                </a:ext>
              </a:extLst>
            </p:cNvPr>
            <p:cNvSpPr/>
            <p:nvPr/>
          </p:nvSpPr>
          <p:spPr>
            <a:xfrm>
              <a:off x="6898658" y="5394378"/>
              <a:ext cx="114300" cy="114300"/>
            </a:xfrm>
            <a:custGeom>
              <a:avLst/>
              <a:gdLst>
                <a:gd name="connsiteX0" fmla="*/ 61436 w 114300"/>
                <a:gd name="connsiteY0" fmla="*/ 123063 h 114300"/>
                <a:gd name="connsiteX1" fmla="*/ 122968 w 114300"/>
                <a:gd name="connsiteY1" fmla="*/ 61532 h 114300"/>
                <a:gd name="connsiteX2" fmla="*/ 61436 w 114300"/>
                <a:gd name="connsiteY2" fmla="*/ 0 h 114300"/>
                <a:gd name="connsiteX3" fmla="*/ 0 w 114300"/>
                <a:gd name="connsiteY3" fmla="*/ 61532 h 114300"/>
                <a:gd name="connsiteX4" fmla="*/ 61436 w 114300"/>
                <a:gd name="connsiteY4" fmla="*/ 12306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61436" y="123063"/>
                  </a:moveTo>
                  <a:cubicBezTo>
                    <a:pt x="95345" y="123063"/>
                    <a:pt x="122968" y="95631"/>
                    <a:pt x="122968" y="61532"/>
                  </a:cubicBezTo>
                  <a:cubicBezTo>
                    <a:pt x="122968" y="27432"/>
                    <a:pt x="95345" y="0"/>
                    <a:pt x="61436" y="0"/>
                  </a:cubicBezTo>
                  <a:cubicBezTo>
                    <a:pt x="27527" y="0"/>
                    <a:pt x="0" y="27432"/>
                    <a:pt x="0" y="61532"/>
                  </a:cubicBezTo>
                  <a:cubicBezTo>
                    <a:pt x="0" y="95631"/>
                    <a:pt x="27527" y="123063"/>
                    <a:pt x="61436" y="123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DAD3EF0-A857-416C-AEB2-61E57F9D800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62" t="4762" r="3827" b="6495"/>
          <a:stretch/>
        </p:blipFill>
        <p:spPr>
          <a:xfrm>
            <a:off x="6589928" y="2845135"/>
            <a:ext cx="4879672" cy="2123906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E28FE39-72DF-4DA2-9841-C2ACAEA79287}"/>
              </a:ext>
            </a:extLst>
          </p:cNvPr>
          <p:cNvSpPr txBox="1"/>
          <p:nvPr/>
        </p:nvSpPr>
        <p:spPr>
          <a:xfrm>
            <a:off x="1108844" y="5268974"/>
            <a:ext cx="462627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еники могли видеть работы одноклассников, что делало невозможным списывание или выкладывание одной и той же работы. 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13469BB-6066-43BC-8C14-5233E4988C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570" y="2922360"/>
            <a:ext cx="4916268" cy="2144032"/>
          </a:xfrm>
          <a:prstGeom prst="rect">
            <a:avLst/>
          </a:prstGeom>
          <a:ln>
            <a:solidFill>
              <a:srgbClr val="0070C0"/>
            </a:solidFill>
          </a:ln>
        </p:spPr>
      </p:pic>
      <p:grpSp>
        <p:nvGrpSpPr>
          <p:cNvPr id="163" name="Graphic 138">
            <a:extLst>
              <a:ext uri="{FF2B5EF4-FFF2-40B4-BE49-F238E27FC236}">
                <a16:creationId xmlns:a16="http://schemas.microsoft.com/office/drawing/2014/main" id="{2B1E7FBF-72EF-4F52-A8A3-C08E20557319}"/>
              </a:ext>
            </a:extLst>
          </p:cNvPr>
          <p:cNvGrpSpPr/>
          <p:nvPr/>
        </p:nvGrpSpPr>
        <p:grpSpPr>
          <a:xfrm>
            <a:off x="621289" y="5402067"/>
            <a:ext cx="479456" cy="440581"/>
            <a:chOff x="6699681" y="5362755"/>
            <a:chExt cx="352425" cy="323850"/>
          </a:xfrm>
          <a:gradFill>
            <a:gsLst>
              <a:gs pos="14000">
                <a:srgbClr val="0165E2"/>
              </a:gs>
              <a:gs pos="100000">
                <a:srgbClr val="16A8FD"/>
              </a:gs>
            </a:gsLst>
            <a:lin ang="14400000" scaled="0"/>
          </a:gradFill>
        </p:grpSpPr>
        <p:sp>
          <p:nvSpPr>
            <p:cNvPr id="164" name="Freeform: Shape 140">
              <a:extLst>
                <a:ext uri="{FF2B5EF4-FFF2-40B4-BE49-F238E27FC236}">
                  <a16:creationId xmlns:a16="http://schemas.microsoft.com/office/drawing/2014/main" id="{09BE3758-01CF-4CAD-A81B-50F59E03DDF2}"/>
                </a:ext>
              </a:extLst>
            </p:cNvPr>
            <p:cNvSpPr/>
            <p:nvPr/>
          </p:nvSpPr>
          <p:spPr>
            <a:xfrm>
              <a:off x="6734352" y="5362755"/>
              <a:ext cx="152400" cy="152400"/>
            </a:xfrm>
            <a:custGeom>
              <a:avLst/>
              <a:gdLst>
                <a:gd name="connsiteX0" fmla="*/ 76581 w 152400"/>
                <a:gd name="connsiteY0" fmla="*/ 152876 h 152400"/>
                <a:gd name="connsiteX1" fmla="*/ 152972 w 152400"/>
                <a:gd name="connsiteY1" fmla="*/ 76486 h 152400"/>
                <a:gd name="connsiteX2" fmla="*/ 76581 w 152400"/>
                <a:gd name="connsiteY2" fmla="*/ 0 h 152400"/>
                <a:gd name="connsiteX3" fmla="*/ 0 w 152400"/>
                <a:gd name="connsiteY3" fmla="*/ 76486 h 152400"/>
                <a:gd name="connsiteX4" fmla="*/ 76581 w 152400"/>
                <a:gd name="connsiteY4" fmla="*/ 152876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76581" y="152876"/>
                  </a:moveTo>
                  <a:cubicBezTo>
                    <a:pt x="118872" y="152876"/>
                    <a:pt x="152972" y="118682"/>
                    <a:pt x="152972" y="76486"/>
                  </a:cubicBezTo>
                  <a:cubicBezTo>
                    <a:pt x="152972" y="34195"/>
                    <a:pt x="118872" y="0"/>
                    <a:pt x="76581" y="0"/>
                  </a:cubicBezTo>
                  <a:cubicBezTo>
                    <a:pt x="34195" y="0"/>
                    <a:pt x="0" y="34195"/>
                    <a:pt x="0" y="76486"/>
                  </a:cubicBezTo>
                  <a:cubicBezTo>
                    <a:pt x="0" y="118682"/>
                    <a:pt x="34195" y="152876"/>
                    <a:pt x="76581" y="1528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41">
              <a:extLst>
                <a:ext uri="{FF2B5EF4-FFF2-40B4-BE49-F238E27FC236}">
                  <a16:creationId xmlns:a16="http://schemas.microsoft.com/office/drawing/2014/main" id="{72831750-17A9-4F4B-AF3F-41B2906B7818}"/>
                </a:ext>
              </a:extLst>
            </p:cNvPr>
            <p:cNvSpPr/>
            <p:nvPr/>
          </p:nvSpPr>
          <p:spPr>
            <a:xfrm>
              <a:off x="6699681" y="5533538"/>
              <a:ext cx="219075" cy="152400"/>
            </a:xfrm>
            <a:custGeom>
              <a:avLst/>
              <a:gdLst>
                <a:gd name="connsiteX0" fmla="*/ 111252 w 219075"/>
                <a:gd name="connsiteY0" fmla="*/ 0 h 152400"/>
                <a:gd name="connsiteX1" fmla="*/ 0 w 219075"/>
                <a:gd name="connsiteY1" fmla="*/ 96869 h 152400"/>
                <a:gd name="connsiteX2" fmla="*/ 111252 w 219075"/>
                <a:gd name="connsiteY2" fmla="*/ 152972 h 152400"/>
                <a:gd name="connsiteX3" fmla="*/ 222409 w 219075"/>
                <a:gd name="connsiteY3" fmla="*/ 96869 h 152400"/>
                <a:gd name="connsiteX4" fmla="*/ 111252 w 219075"/>
                <a:gd name="connsiteY4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5" h="152400">
                  <a:moveTo>
                    <a:pt x="111252" y="0"/>
                  </a:moveTo>
                  <a:cubicBezTo>
                    <a:pt x="49816" y="0"/>
                    <a:pt x="0" y="54578"/>
                    <a:pt x="0" y="96869"/>
                  </a:cubicBezTo>
                  <a:cubicBezTo>
                    <a:pt x="0" y="139065"/>
                    <a:pt x="49816" y="152972"/>
                    <a:pt x="111252" y="152972"/>
                  </a:cubicBezTo>
                  <a:cubicBezTo>
                    <a:pt x="172688" y="152972"/>
                    <a:pt x="222409" y="139065"/>
                    <a:pt x="222409" y="96869"/>
                  </a:cubicBezTo>
                  <a:cubicBezTo>
                    <a:pt x="222409" y="54578"/>
                    <a:pt x="172593" y="0"/>
                    <a:pt x="11125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42">
              <a:extLst>
                <a:ext uri="{FF2B5EF4-FFF2-40B4-BE49-F238E27FC236}">
                  <a16:creationId xmlns:a16="http://schemas.microsoft.com/office/drawing/2014/main" id="{7B81A0B0-9E8E-4C26-A38A-5D6066D557EE}"/>
                </a:ext>
              </a:extLst>
            </p:cNvPr>
            <p:cNvSpPr/>
            <p:nvPr/>
          </p:nvSpPr>
          <p:spPr>
            <a:xfrm>
              <a:off x="6900944" y="5531824"/>
              <a:ext cx="142875" cy="114300"/>
            </a:xfrm>
            <a:custGeom>
              <a:avLst/>
              <a:gdLst>
                <a:gd name="connsiteX0" fmla="*/ 59150 w 142875"/>
                <a:gd name="connsiteY0" fmla="*/ 0 h 114300"/>
                <a:gd name="connsiteX1" fmla="*/ 0 w 142875"/>
                <a:gd name="connsiteY1" fmla="*/ 23051 h 114300"/>
                <a:gd name="connsiteX2" fmla="*/ 42291 w 142875"/>
                <a:gd name="connsiteY2" fmla="*/ 102489 h 114300"/>
                <a:gd name="connsiteX3" fmla="*/ 38386 w 142875"/>
                <a:gd name="connsiteY3" fmla="*/ 122206 h 114300"/>
                <a:gd name="connsiteX4" fmla="*/ 59246 w 142875"/>
                <a:gd name="connsiteY4" fmla="*/ 123063 h 114300"/>
                <a:gd name="connsiteX5" fmla="*/ 148781 w 142875"/>
                <a:gd name="connsiteY5" fmla="*/ 77819 h 114300"/>
                <a:gd name="connsiteX6" fmla="*/ 59150 w 142875"/>
                <a:gd name="connsiteY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" h="114300">
                  <a:moveTo>
                    <a:pt x="59150" y="0"/>
                  </a:moveTo>
                  <a:cubicBezTo>
                    <a:pt x="36290" y="0"/>
                    <a:pt x="15621" y="9525"/>
                    <a:pt x="0" y="23051"/>
                  </a:cubicBezTo>
                  <a:cubicBezTo>
                    <a:pt x="25908" y="46006"/>
                    <a:pt x="42291" y="76105"/>
                    <a:pt x="42291" y="102489"/>
                  </a:cubicBezTo>
                  <a:cubicBezTo>
                    <a:pt x="42291" y="109823"/>
                    <a:pt x="40767" y="116205"/>
                    <a:pt x="38386" y="122206"/>
                  </a:cubicBezTo>
                  <a:cubicBezTo>
                    <a:pt x="45053" y="122682"/>
                    <a:pt x="52007" y="123063"/>
                    <a:pt x="59246" y="123063"/>
                  </a:cubicBezTo>
                  <a:cubicBezTo>
                    <a:pt x="108680" y="123063"/>
                    <a:pt x="148781" y="111919"/>
                    <a:pt x="148781" y="77819"/>
                  </a:cubicBezTo>
                  <a:cubicBezTo>
                    <a:pt x="148685" y="43910"/>
                    <a:pt x="108680" y="0"/>
                    <a:pt x="5915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43">
              <a:extLst>
                <a:ext uri="{FF2B5EF4-FFF2-40B4-BE49-F238E27FC236}">
                  <a16:creationId xmlns:a16="http://schemas.microsoft.com/office/drawing/2014/main" id="{272EE625-11ED-4CC4-B1BE-EDAD84BF43EA}"/>
                </a:ext>
              </a:extLst>
            </p:cNvPr>
            <p:cNvSpPr/>
            <p:nvPr/>
          </p:nvSpPr>
          <p:spPr>
            <a:xfrm>
              <a:off x="6898658" y="5394378"/>
              <a:ext cx="114300" cy="114300"/>
            </a:xfrm>
            <a:custGeom>
              <a:avLst/>
              <a:gdLst>
                <a:gd name="connsiteX0" fmla="*/ 61436 w 114300"/>
                <a:gd name="connsiteY0" fmla="*/ 123063 h 114300"/>
                <a:gd name="connsiteX1" fmla="*/ 122968 w 114300"/>
                <a:gd name="connsiteY1" fmla="*/ 61532 h 114300"/>
                <a:gd name="connsiteX2" fmla="*/ 61436 w 114300"/>
                <a:gd name="connsiteY2" fmla="*/ 0 h 114300"/>
                <a:gd name="connsiteX3" fmla="*/ 0 w 114300"/>
                <a:gd name="connsiteY3" fmla="*/ 61532 h 114300"/>
                <a:gd name="connsiteX4" fmla="*/ 61436 w 114300"/>
                <a:gd name="connsiteY4" fmla="*/ 12306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61436" y="123063"/>
                  </a:moveTo>
                  <a:cubicBezTo>
                    <a:pt x="95345" y="123063"/>
                    <a:pt x="122968" y="95631"/>
                    <a:pt x="122968" y="61532"/>
                  </a:cubicBezTo>
                  <a:cubicBezTo>
                    <a:pt x="122968" y="27432"/>
                    <a:pt x="95345" y="0"/>
                    <a:pt x="61436" y="0"/>
                  </a:cubicBezTo>
                  <a:cubicBezTo>
                    <a:pt x="27527" y="0"/>
                    <a:pt x="0" y="27432"/>
                    <a:pt x="0" y="61532"/>
                  </a:cubicBezTo>
                  <a:cubicBezTo>
                    <a:pt x="0" y="95631"/>
                    <a:pt x="27527" y="123063"/>
                    <a:pt x="61436" y="123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465133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C3D389DE-932E-4A70-BA48-9FD418050C67}"/>
              </a:ext>
            </a:extLst>
          </p:cNvPr>
          <p:cNvSpPr/>
          <p:nvPr/>
        </p:nvSpPr>
        <p:spPr>
          <a:xfrm>
            <a:off x="2131365" y="245075"/>
            <a:ext cx="79248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латформа «</a:t>
            </a:r>
            <a:r>
              <a:rPr kumimoji="0" lang="ru-RU" sz="3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ЯКласс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4E8DB45-15BF-42B1-A5AB-0A441B49CD7E}"/>
              </a:ext>
            </a:extLst>
          </p:cNvPr>
          <p:cNvGrpSpPr/>
          <p:nvPr/>
        </p:nvGrpSpPr>
        <p:grpSpPr>
          <a:xfrm flipH="1">
            <a:off x="2532769" y="2590864"/>
            <a:ext cx="4356531" cy="1212983"/>
            <a:chOff x="1209676" y="-11126947"/>
            <a:chExt cx="10492578" cy="2921436"/>
          </a:xfrm>
        </p:grpSpPr>
        <p:sp>
          <p:nvSpPr>
            <p:cNvPr id="58" name="Freeform 6">
              <a:extLst>
                <a:ext uri="{FF2B5EF4-FFF2-40B4-BE49-F238E27FC236}">
                  <a16:creationId xmlns:a16="http://schemas.microsoft.com/office/drawing/2014/main" id="{B944E552-E342-43AB-924E-0EA10FA7D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676" y="-11126947"/>
              <a:ext cx="10492578" cy="1659578"/>
            </a:xfrm>
            <a:custGeom>
              <a:avLst/>
              <a:gdLst>
                <a:gd name="T0" fmla="*/ 1542 w 1542"/>
                <a:gd name="T1" fmla="*/ 29 h 244"/>
                <a:gd name="T2" fmla="*/ 1542 w 1542"/>
                <a:gd name="T3" fmla="*/ 34 h 244"/>
                <a:gd name="T4" fmla="*/ 1512 w 1542"/>
                <a:gd name="T5" fmla="*/ 63 h 244"/>
                <a:gd name="T6" fmla="*/ 608 w 1542"/>
                <a:gd name="T7" fmla="*/ 63 h 244"/>
                <a:gd name="T8" fmla="*/ 582 w 1542"/>
                <a:gd name="T9" fmla="*/ 92 h 244"/>
                <a:gd name="T10" fmla="*/ 582 w 1542"/>
                <a:gd name="T11" fmla="*/ 94 h 244"/>
                <a:gd name="T12" fmla="*/ 611 w 1542"/>
                <a:gd name="T13" fmla="*/ 123 h 244"/>
                <a:gd name="T14" fmla="*/ 1045 w 1542"/>
                <a:gd name="T15" fmla="*/ 123 h 244"/>
                <a:gd name="T16" fmla="*/ 1074 w 1542"/>
                <a:gd name="T17" fmla="*/ 152 h 244"/>
                <a:gd name="T18" fmla="*/ 1074 w 1542"/>
                <a:gd name="T19" fmla="*/ 157 h 244"/>
                <a:gd name="T20" fmla="*/ 1047 w 1542"/>
                <a:gd name="T21" fmla="*/ 186 h 244"/>
                <a:gd name="T22" fmla="*/ 1045 w 1542"/>
                <a:gd name="T23" fmla="*/ 186 h 244"/>
                <a:gd name="T24" fmla="*/ 986 w 1542"/>
                <a:gd name="T25" fmla="*/ 186 h 244"/>
                <a:gd name="T26" fmla="*/ 961 w 1542"/>
                <a:gd name="T27" fmla="*/ 214 h 244"/>
                <a:gd name="T28" fmla="*/ 961 w 1542"/>
                <a:gd name="T29" fmla="*/ 216 h 244"/>
                <a:gd name="T30" fmla="*/ 989 w 1542"/>
                <a:gd name="T31" fmla="*/ 243 h 244"/>
                <a:gd name="T32" fmla="*/ 998 w 1542"/>
                <a:gd name="T33" fmla="*/ 243 h 244"/>
                <a:gd name="T34" fmla="*/ 998 w 1542"/>
                <a:gd name="T35" fmla="*/ 244 h 244"/>
                <a:gd name="T36" fmla="*/ 415 w 1542"/>
                <a:gd name="T37" fmla="*/ 244 h 244"/>
                <a:gd name="T38" fmla="*/ 442 w 1542"/>
                <a:gd name="T39" fmla="*/ 216 h 244"/>
                <a:gd name="T40" fmla="*/ 442 w 1542"/>
                <a:gd name="T41" fmla="*/ 214 h 244"/>
                <a:gd name="T42" fmla="*/ 417 w 1542"/>
                <a:gd name="T43" fmla="*/ 186 h 244"/>
                <a:gd name="T44" fmla="*/ 79 w 1542"/>
                <a:gd name="T45" fmla="*/ 186 h 244"/>
                <a:gd name="T46" fmla="*/ 50 w 1542"/>
                <a:gd name="T47" fmla="*/ 157 h 244"/>
                <a:gd name="T48" fmla="*/ 50 w 1542"/>
                <a:gd name="T49" fmla="*/ 152 h 244"/>
                <a:gd name="T50" fmla="*/ 79 w 1542"/>
                <a:gd name="T51" fmla="*/ 123 h 244"/>
                <a:gd name="T52" fmla="*/ 150 w 1542"/>
                <a:gd name="T53" fmla="*/ 123 h 244"/>
                <a:gd name="T54" fmla="*/ 179 w 1542"/>
                <a:gd name="T55" fmla="*/ 94 h 244"/>
                <a:gd name="T56" fmla="*/ 179 w 1542"/>
                <a:gd name="T57" fmla="*/ 92 h 244"/>
                <a:gd name="T58" fmla="*/ 153 w 1542"/>
                <a:gd name="T59" fmla="*/ 63 h 244"/>
                <a:gd name="T60" fmla="*/ 29 w 1542"/>
                <a:gd name="T61" fmla="*/ 63 h 244"/>
                <a:gd name="T62" fmla="*/ 26 w 1542"/>
                <a:gd name="T63" fmla="*/ 63 h 244"/>
                <a:gd name="T64" fmla="*/ 0 w 1542"/>
                <a:gd name="T65" fmla="*/ 34 h 244"/>
                <a:gd name="T66" fmla="*/ 0 w 1542"/>
                <a:gd name="T67" fmla="*/ 29 h 244"/>
                <a:gd name="T68" fmla="*/ 29 w 1542"/>
                <a:gd name="T69" fmla="*/ 0 h 244"/>
                <a:gd name="T70" fmla="*/ 1512 w 1542"/>
                <a:gd name="T71" fmla="*/ 0 h 244"/>
                <a:gd name="T72" fmla="*/ 1542 w 1542"/>
                <a:gd name="T73" fmla="*/ 2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42" h="244">
                  <a:moveTo>
                    <a:pt x="1542" y="29"/>
                  </a:moveTo>
                  <a:cubicBezTo>
                    <a:pt x="1542" y="34"/>
                    <a:pt x="1542" y="34"/>
                    <a:pt x="1542" y="34"/>
                  </a:cubicBezTo>
                  <a:cubicBezTo>
                    <a:pt x="1542" y="50"/>
                    <a:pt x="1528" y="63"/>
                    <a:pt x="1512" y="63"/>
                  </a:cubicBezTo>
                  <a:cubicBezTo>
                    <a:pt x="608" y="63"/>
                    <a:pt x="608" y="63"/>
                    <a:pt x="608" y="63"/>
                  </a:cubicBezTo>
                  <a:cubicBezTo>
                    <a:pt x="593" y="64"/>
                    <a:pt x="582" y="77"/>
                    <a:pt x="582" y="92"/>
                  </a:cubicBezTo>
                  <a:cubicBezTo>
                    <a:pt x="582" y="94"/>
                    <a:pt x="582" y="94"/>
                    <a:pt x="582" y="94"/>
                  </a:cubicBezTo>
                  <a:cubicBezTo>
                    <a:pt x="582" y="110"/>
                    <a:pt x="595" y="123"/>
                    <a:pt x="611" y="123"/>
                  </a:cubicBezTo>
                  <a:cubicBezTo>
                    <a:pt x="1045" y="123"/>
                    <a:pt x="1045" y="123"/>
                    <a:pt x="1045" y="123"/>
                  </a:cubicBezTo>
                  <a:cubicBezTo>
                    <a:pt x="1061" y="123"/>
                    <a:pt x="1074" y="136"/>
                    <a:pt x="1074" y="152"/>
                  </a:cubicBezTo>
                  <a:cubicBezTo>
                    <a:pt x="1074" y="157"/>
                    <a:pt x="1074" y="157"/>
                    <a:pt x="1074" y="157"/>
                  </a:cubicBezTo>
                  <a:cubicBezTo>
                    <a:pt x="1074" y="173"/>
                    <a:pt x="1062" y="185"/>
                    <a:pt x="1047" y="186"/>
                  </a:cubicBezTo>
                  <a:cubicBezTo>
                    <a:pt x="1046" y="186"/>
                    <a:pt x="1046" y="186"/>
                    <a:pt x="1045" y="186"/>
                  </a:cubicBezTo>
                  <a:cubicBezTo>
                    <a:pt x="986" y="186"/>
                    <a:pt x="986" y="186"/>
                    <a:pt x="986" y="186"/>
                  </a:cubicBezTo>
                  <a:cubicBezTo>
                    <a:pt x="972" y="188"/>
                    <a:pt x="961" y="199"/>
                    <a:pt x="961" y="214"/>
                  </a:cubicBezTo>
                  <a:cubicBezTo>
                    <a:pt x="961" y="216"/>
                    <a:pt x="961" y="216"/>
                    <a:pt x="961" y="216"/>
                  </a:cubicBezTo>
                  <a:cubicBezTo>
                    <a:pt x="961" y="231"/>
                    <a:pt x="973" y="243"/>
                    <a:pt x="989" y="243"/>
                  </a:cubicBezTo>
                  <a:cubicBezTo>
                    <a:pt x="998" y="243"/>
                    <a:pt x="998" y="243"/>
                    <a:pt x="998" y="243"/>
                  </a:cubicBezTo>
                  <a:cubicBezTo>
                    <a:pt x="998" y="244"/>
                    <a:pt x="998" y="244"/>
                    <a:pt x="998" y="244"/>
                  </a:cubicBezTo>
                  <a:cubicBezTo>
                    <a:pt x="415" y="244"/>
                    <a:pt x="415" y="244"/>
                    <a:pt x="415" y="244"/>
                  </a:cubicBezTo>
                  <a:cubicBezTo>
                    <a:pt x="430" y="244"/>
                    <a:pt x="442" y="231"/>
                    <a:pt x="442" y="216"/>
                  </a:cubicBezTo>
                  <a:cubicBezTo>
                    <a:pt x="442" y="214"/>
                    <a:pt x="442" y="214"/>
                    <a:pt x="442" y="214"/>
                  </a:cubicBezTo>
                  <a:cubicBezTo>
                    <a:pt x="442" y="199"/>
                    <a:pt x="431" y="188"/>
                    <a:pt x="417" y="186"/>
                  </a:cubicBezTo>
                  <a:cubicBezTo>
                    <a:pt x="79" y="186"/>
                    <a:pt x="79" y="186"/>
                    <a:pt x="79" y="186"/>
                  </a:cubicBezTo>
                  <a:cubicBezTo>
                    <a:pt x="63" y="186"/>
                    <a:pt x="50" y="173"/>
                    <a:pt x="50" y="157"/>
                  </a:cubicBezTo>
                  <a:cubicBezTo>
                    <a:pt x="50" y="152"/>
                    <a:pt x="50" y="152"/>
                    <a:pt x="50" y="152"/>
                  </a:cubicBezTo>
                  <a:cubicBezTo>
                    <a:pt x="50" y="136"/>
                    <a:pt x="63" y="123"/>
                    <a:pt x="79" y="123"/>
                  </a:cubicBezTo>
                  <a:cubicBezTo>
                    <a:pt x="150" y="123"/>
                    <a:pt x="150" y="123"/>
                    <a:pt x="150" y="123"/>
                  </a:cubicBezTo>
                  <a:cubicBezTo>
                    <a:pt x="166" y="123"/>
                    <a:pt x="179" y="110"/>
                    <a:pt x="179" y="94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77"/>
                    <a:pt x="168" y="64"/>
                    <a:pt x="153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8" y="63"/>
                    <a:pt x="27" y="63"/>
                    <a:pt x="26" y="63"/>
                  </a:cubicBezTo>
                  <a:cubicBezTo>
                    <a:pt x="11" y="61"/>
                    <a:pt x="0" y="49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512" y="0"/>
                    <a:pt x="1512" y="0"/>
                    <a:pt x="1512" y="0"/>
                  </a:cubicBezTo>
                  <a:cubicBezTo>
                    <a:pt x="1528" y="0"/>
                    <a:pt x="1542" y="13"/>
                    <a:pt x="1542" y="29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7">
              <a:extLst>
                <a:ext uri="{FF2B5EF4-FFF2-40B4-BE49-F238E27FC236}">
                  <a16:creationId xmlns:a16="http://schemas.microsoft.com/office/drawing/2014/main" id="{7CF02321-02EB-4952-A352-9D06FD93D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688" y="-9467369"/>
              <a:ext cx="8048408" cy="1261858"/>
            </a:xfrm>
            <a:custGeom>
              <a:avLst/>
              <a:gdLst>
                <a:gd name="T0" fmla="*/ 29 w 1183"/>
                <a:gd name="T1" fmla="*/ 0 h 186"/>
                <a:gd name="T2" fmla="*/ 1153 w 1183"/>
                <a:gd name="T3" fmla="*/ 0 h 186"/>
                <a:gd name="T4" fmla="*/ 1183 w 1183"/>
                <a:gd name="T5" fmla="*/ 29 h 186"/>
                <a:gd name="T6" fmla="*/ 1183 w 1183"/>
                <a:gd name="T7" fmla="*/ 34 h 186"/>
                <a:gd name="T8" fmla="*/ 1153 w 1183"/>
                <a:gd name="T9" fmla="*/ 63 h 186"/>
                <a:gd name="T10" fmla="*/ 710 w 1183"/>
                <a:gd name="T11" fmla="*/ 63 h 186"/>
                <a:gd name="T12" fmla="*/ 685 w 1183"/>
                <a:gd name="T13" fmla="*/ 90 h 186"/>
                <a:gd name="T14" fmla="*/ 685 w 1183"/>
                <a:gd name="T15" fmla="*/ 95 h 186"/>
                <a:gd name="T16" fmla="*/ 712 w 1183"/>
                <a:gd name="T17" fmla="*/ 123 h 186"/>
                <a:gd name="T18" fmla="*/ 716 w 1183"/>
                <a:gd name="T19" fmla="*/ 123 h 186"/>
                <a:gd name="T20" fmla="*/ 716 w 1183"/>
                <a:gd name="T21" fmla="*/ 123 h 186"/>
                <a:gd name="T22" fmla="*/ 818 w 1183"/>
                <a:gd name="T23" fmla="*/ 123 h 186"/>
                <a:gd name="T24" fmla="*/ 847 w 1183"/>
                <a:gd name="T25" fmla="*/ 152 h 186"/>
                <a:gd name="T26" fmla="*/ 847 w 1183"/>
                <a:gd name="T27" fmla="*/ 157 h 186"/>
                <a:gd name="T28" fmla="*/ 818 w 1183"/>
                <a:gd name="T29" fmla="*/ 186 h 186"/>
                <a:gd name="T30" fmla="*/ 222 w 1183"/>
                <a:gd name="T31" fmla="*/ 186 h 186"/>
                <a:gd name="T32" fmla="*/ 193 w 1183"/>
                <a:gd name="T33" fmla="*/ 157 h 186"/>
                <a:gd name="T34" fmla="*/ 193 w 1183"/>
                <a:gd name="T35" fmla="*/ 152 h 186"/>
                <a:gd name="T36" fmla="*/ 222 w 1183"/>
                <a:gd name="T37" fmla="*/ 123 h 186"/>
                <a:gd name="T38" fmla="*/ 279 w 1183"/>
                <a:gd name="T39" fmla="*/ 123 h 186"/>
                <a:gd name="T40" fmla="*/ 279 w 1183"/>
                <a:gd name="T41" fmla="*/ 123 h 186"/>
                <a:gd name="T42" fmla="*/ 293 w 1183"/>
                <a:gd name="T43" fmla="*/ 123 h 186"/>
                <a:gd name="T44" fmla="*/ 320 w 1183"/>
                <a:gd name="T45" fmla="*/ 95 h 186"/>
                <a:gd name="T46" fmla="*/ 320 w 1183"/>
                <a:gd name="T47" fmla="*/ 90 h 186"/>
                <a:gd name="T48" fmla="*/ 295 w 1183"/>
                <a:gd name="T49" fmla="*/ 63 h 186"/>
                <a:gd name="T50" fmla="*/ 29 w 1183"/>
                <a:gd name="T51" fmla="*/ 63 h 186"/>
                <a:gd name="T52" fmla="*/ 0 w 1183"/>
                <a:gd name="T53" fmla="*/ 34 h 186"/>
                <a:gd name="T54" fmla="*/ 0 w 1183"/>
                <a:gd name="T55" fmla="*/ 29 h 186"/>
                <a:gd name="T56" fmla="*/ 29 w 1183"/>
                <a:gd name="T5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3" h="186">
                  <a:moveTo>
                    <a:pt x="29" y="0"/>
                  </a:moveTo>
                  <a:cubicBezTo>
                    <a:pt x="1153" y="0"/>
                    <a:pt x="1153" y="0"/>
                    <a:pt x="1153" y="0"/>
                  </a:cubicBezTo>
                  <a:cubicBezTo>
                    <a:pt x="1169" y="0"/>
                    <a:pt x="1183" y="13"/>
                    <a:pt x="1183" y="29"/>
                  </a:cubicBezTo>
                  <a:cubicBezTo>
                    <a:pt x="1183" y="34"/>
                    <a:pt x="1183" y="34"/>
                    <a:pt x="1183" y="34"/>
                  </a:cubicBezTo>
                  <a:cubicBezTo>
                    <a:pt x="1183" y="50"/>
                    <a:pt x="1169" y="63"/>
                    <a:pt x="1153" y="63"/>
                  </a:cubicBezTo>
                  <a:cubicBezTo>
                    <a:pt x="710" y="63"/>
                    <a:pt x="710" y="63"/>
                    <a:pt x="710" y="63"/>
                  </a:cubicBezTo>
                  <a:cubicBezTo>
                    <a:pt x="696" y="64"/>
                    <a:pt x="685" y="76"/>
                    <a:pt x="685" y="90"/>
                  </a:cubicBezTo>
                  <a:cubicBezTo>
                    <a:pt x="685" y="95"/>
                    <a:pt x="685" y="95"/>
                    <a:pt x="685" y="95"/>
                  </a:cubicBezTo>
                  <a:cubicBezTo>
                    <a:pt x="685" y="110"/>
                    <a:pt x="697" y="123"/>
                    <a:pt x="712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818" y="123"/>
                    <a:pt x="818" y="123"/>
                    <a:pt x="818" y="123"/>
                  </a:cubicBezTo>
                  <a:cubicBezTo>
                    <a:pt x="834" y="123"/>
                    <a:pt x="847" y="136"/>
                    <a:pt x="847" y="152"/>
                  </a:cubicBezTo>
                  <a:cubicBezTo>
                    <a:pt x="847" y="157"/>
                    <a:pt x="847" y="157"/>
                    <a:pt x="847" y="157"/>
                  </a:cubicBezTo>
                  <a:cubicBezTo>
                    <a:pt x="847" y="173"/>
                    <a:pt x="834" y="186"/>
                    <a:pt x="818" y="186"/>
                  </a:cubicBezTo>
                  <a:cubicBezTo>
                    <a:pt x="222" y="186"/>
                    <a:pt x="222" y="186"/>
                    <a:pt x="222" y="186"/>
                  </a:cubicBezTo>
                  <a:cubicBezTo>
                    <a:pt x="206" y="186"/>
                    <a:pt x="193" y="173"/>
                    <a:pt x="193" y="157"/>
                  </a:cubicBezTo>
                  <a:cubicBezTo>
                    <a:pt x="193" y="152"/>
                    <a:pt x="193" y="152"/>
                    <a:pt x="193" y="152"/>
                  </a:cubicBezTo>
                  <a:cubicBezTo>
                    <a:pt x="193" y="136"/>
                    <a:pt x="206" y="123"/>
                    <a:pt x="222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93" y="123"/>
                    <a:pt x="293" y="123"/>
                    <a:pt x="293" y="123"/>
                  </a:cubicBezTo>
                  <a:cubicBezTo>
                    <a:pt x="308" y="123"/>
                    <a:pt x="320" y="110"/>
                    <a:pt x="320" y="95"/>
                  </a:cubicBezTo>
                  <a:cubicBezTo>
                    <a:pt x="320" y="90"/>
                    <a:pt x="320" y="90"/>
                    <a:pt x="320" y="90"/>
                  </a:cubicBezTo>
                  <a:cubicBezTo>
                    <a:pt x="320" y="76"/>
                    <a:pt x="309" y="64"/>
                    <a:pt x="295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8">
              <a:extLst>
                <a:ext uri="{FF2B5EF4-FFF2-40B4-BE49-F238E27FC236}">
                  <a16:creationId xmlns:a16="http://schemas.microsoft.com/office/drawing/2014/main" id="{A17FAD6E-9C69-4A05-ABD3-36A1BB53F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2969" y="-10291734"/>
              <a:ext cx="1446255" cy="430262"/>
            </a:xfrm>
            <a:custGeom>
              <a:avLst/>
              <a:gdLst>
                <a:gd name="T0" fmla="*/ 184 w 213"/>
                <a:gd name="T1" fmla="*/ 63 h 63"/>
                <a:gd name="T2" fmla="*/ 30 w 213"/>
                <a:gd name="T3" fmla="*/ 63 h 63"/>
                <a:gd name="T4" fmla="*/ 0 w 213"/>
                <a:gd name="T5" fmla="*/ 34 h 63"/>
                <a:gd name="T6" fmla="*/ 0 w 213"/>
                <a:gd name="T7" fmla="*/ 29 h 63"/>
                <a:gd name="T8" fmla="*/ 30 w 213"/>
                <a:gd name="T9" fmla="*/ 0 h 63"/>
                <a:gd name="T10" fmla="*/ 184 w 213"/>
                <a:gd name="T11" fmla="*/ 0 h 63"/>
                <a:gd name="T12" fmla="*/ 213 w 213"/>
                <a:gd name="T13" fmla="*/ 29 h 63"/>
                <a:gd name="T14" fmla="*/ 213 w 213"/>
                <a:gd name="T15" fmla="*/ 34 h 63"/>
                <a:gd name="T16" fmla="*/ 184 w 213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" h="63">
                  <a:moveTo>
                    <a:pt x="184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00" y="0"/>
                    <a:pt x="213" y="13"/>
                    <a:pt x="213" y="29"/>
                  </a:cubicBezTo>
                  <a:cubicBezTo>
                    <a:pt x="213" y="34"/>
                    <a:pt x="213" y="34"/>
                    <a:pt x="213" y="34"/>
                  </a:cubicBezTo>
                  <a:cubicBezTo>
                    <a:pt x="213" y="50"/>
                    <a:pt x="200" y="63"/>
                    <a:pt x="184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9">
              <a:extLst>
                <a:ext uri="{FF2B5EF4-FFF2-40B4-BE49-F238E27FC236}">
                  <a16:creationId xmlns:a16="http://schemas.microsoft.com/office/drawing/2014/main" id="{C08B6B22-336A-4BE6-90DC-840CD7A1C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657" y="-8632157"/>
              <a:ext cx="1442640" cy="426645"/>
            </a:xfrm>
            <a:custGeom>
              <a:avLst/>
              <a:gdLst>
                <a:gd name="T0" fmla="*/ 183 w 212"/>
                <a:gd name="T1" fmla="*/ 63 h 63"/>
                <a:gd name="T2" fmla="*/ 29 w 212"/>
                <a:gd name="T3" fmla="*/ 63 h 63"/>
                <a:gd name="T4" fmla="*/ 0 w 212"/>
                <a:gd name="T5" fmla="*/ 34 h 63"/>
                <a:gd name="T6" fmla="*/ 0 w 212"/>
                <a:gd name="T7" fmla="*/ 29 h 63"/>
                <a:gd name="T8" fmla="*/ 29 w 212"/>
                <a:gd name="T9" fmla="*/ 0 h 63"/>
                <a:gd name="T10" fmla="*/ 183 w 212"/>
                <a:gd name="T11" fmla="*/ 0 h 63"/>
                <a:gd name="T12" fmla="*/ 212 w 212"/>
                <a:gd name="T13" fmla="*/ 29 h 63"/>
                <a:gd name="T14" fmla="*/ 212 w 212"/>
                <a:gd name="T15" fmla="*/ 34 h 63"/>
                <a:gd name="T16" fmla="*/ 183 w 212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63">
                  <a:moveTo>
                    <a:pt x="183" y="63"/>
                  </a:move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99" y="0"/>
                    <a:pt x="212" y="13"/>
                    <a:pt x="212" y="29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50"/>
                    <a:pt x="199" y="63"/>
                    <a:pt x="183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24DA4C3-BB23-4CE0-8CBE-7C41D1A4FE48}"/>
              </a:ext>
            </a:extLst>
          </p:cNvPr>
          <p:cNvGrpSpPr/>
          <p:nvPr/>
        </p:nvGrpSpPr>
        <p:grpSpPr>
          <a:xfrm flipH="1">
            <a:off x="4856762" y="4513681"/>
            <a:ext cx="4356531" cy="1212983"/>
            <a:chOff x="1209676" y="-11126947"/>
            <a:chExt cx="10492578" cy="2921436"/>
          </a:xfrm>
        </p:grpSpPr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id="{61244E90-EAC6-40BD-9277-A1FB9BB8B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676" y="-11126947"/>
              <a:ext cx="10492578" cy="1659578"/>
            </a:xfrm>
            <a:custGeom>
              <a:avLst/>
              <a:gdLst>
                <a:gd name="T0" fmla="*/ 1542 w 1542"/>
                <a:gd name="T1" fmla="*/ 29 h 244"/>
                <a:gd name="T2" fmla="*/ 1542 w 1542"/>
                <a:gd name="T3" fmla="*/ 34 h 244"/>
                <a:gd name="T4" fmla="*/ 1512 w 1542"/>
                <a:gd name="T5" fmla="*/ 63 h 244"/>
                <a:gd name="T6" fmla="*/ 608 w 1542"/>
                <a:gd name="T7" fmla="*/ 63 h 244"/>
                <a:gd name="T8" fmla="*/ 582 w 1542"/>
                <a:gd name="T9" fmla="*/ 92 h 244"/>
                <a:gd name="T10" fmla="*/ 582 w 1542"/>
                <a:gd name="T11" fmla="*/ 94 h 244"/>
                <a:gd name="T12" fmla="*/ 611 w 1542"/>
                <a:gd name="T13" fmla="*/ 123 h 244"/>
                <a:gd name="T14" fmla="*/ 1045 w 1542"/>
                <a:gd name="T15" fmla="*/ 123 h 244"/>
                <a:gd name="T16" fmla="*/ 1074 w 1542"/>
                <a:gd name="T17" fmla="*/ 152 h 244"/>
                <a:gd name="T18" fmla="*/ 1074 w 1542"/>
                <a:gd name="T19" fmla="*/ 157 h 244"/>
                <a:gd name="T20" fmla="*/ 1047 w 1542"/>
                <a:gd name="T21" fmla="*/ 186 h 244"/>
                <a:gd name="T22" fmla="*/ 1045 w 1542"/>
                <a:gd name="T23" fmla="*/ 186 h 244"/>
                <a:gd name="T24" fmla="*/ 986 w 1542"/>
                <a:gd name="T25" fmla="*/ 186 h 244"/>
                <a:gd name="T26" fmla="*/ 961 w 1542"/>
                <a:gd name="T27" fmla="*/ 214 h 244"/>
                <a:gd name="T28" fmla="*/ 961 w 1542"/>
                <a:gd name="T29" fmla="*/ 216 h 244"/>
                <a:gd name="T30" fmla="*/ 989 w 1542"/>
                <a:gd name="T31" fmla="*/ 243 h 244"/>
                <a:gd name="T32" fmla="*/ 998 w 1542"/>
                <a:gd name="T33" fmla="*/ 243 h 244"/>
                <a:gd name="T34" fmla="*/ 998 w 1542"/>
                <a:gd name="T35" fmla="*/ 244 h 244"/>
                <a:gd name="T36" fmla="*/ 415 w 1542"/>
                <a:gd name="T37" fmla="*/ 244 h 244"/>
                <a:gd name="T38" fmla="*/ 442 w 1542"/>
                <a:gd name="T39" fmla="*/ 216 h 244"/>
                <a:gd name="T40" fmla="*/ 442 w 1542"/>
                <a:gd name="T41" fmla="*/ 214 h 244"/>
                <a:gd name="T42" fmla="*/ 417 w 1542"/>
                <a:gd name="T43" fmla="*/ 186 h 244"/>
                <a:gd name="T44" fmla="*/ 79 w 1542"/>
                <a:gd name="T45" fmla="*/ 186 h 244"/>
                <a:gd name="T46" fmla="*/ 50 w 1542"/>
                <a:gd name="T47" fmla="*/ 157 h 244"/>
                <a:gd name="T48" fmla="*/ 50 w 1542"/>
                <a:gd name="T49" fmla="*/ 152 h 244"/>
                <a:gd name="T50" fmla="*/ 79 w 1542"/>
                <a:gd name="T51" fmla="*/ 123 h 244"/>
                <a:gd name="T52" fmla="*/ 150 w 1542"/>
                <a:gd name="T53" fmla="*/ 123 h 244"/>
                <a:gd name="T54" fmla="*/ 179 w 1542"/>
                <a:gd name="T55" fmla="*/ 94 h 244"/>
                <a:gd name="T56" fmla="*/ 179 w 1542"/>
                <a:gd name="T57" fmla="*/ 92 h 244"/>
                <a:gd name="T58" fmla="*/ 153 w 1542"/>
                <a:gd name="T59" fmla="*/ 63 h 244"/>
                <a:gd name="T60" fmla="*/ 29 w 1542"/>
                <a:gd name="T61" fmla="*/ 63 h 244"/>
                <a:gd name="T62" fmla="*/ 26 w 1542"/>
                <a:gd name="T63" fmla="*/ 63 h 244"/>
                <a:gd name="T64" fmla="*/ 0 w 1542"/>
                <a:gd name="T65" fmla="*/ 34 h 244"/>
                <a:gd name="T66" fmla="*/ 0 w 1542"/>
                <a:gd name="T67" fmla="*/ 29 h 244"/>
                <a:gd name="T68" fmla="*/ 29 w 1542"/>
                <a:gd name="T69" fmla="*/ 0 h 244"/>
                <a:gd name="T70" fmla="*/ 1512 w 1542"/>
                <a:gd name="T71" fmla="*/ 0 h 244"/>
                <a:gd name="T72" fmla="*/ 1542 w 1542"/>
                <a:gd name="T73" fmla="*/ 2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42" h="244">
                  <a:moveTo>
                    <a:pt x="1542" y="29"/>
                  </a:moveTo>
                  <a:cubicBezTo>
                    <a:pt x="1542" y="34"/>
                    <a:pt x="1542" y="34"/>
                    <a:pt x="1542" y="34"/>
                  </a:cubicBezTo>
                  <a:cubicBezTo>
                    <a:pt x="1542" y="50"/>
                    <a:pt x="1528" y="63"/>
                    <a:pt x="1512" y="63"/>
                  </a:cubicBezTo>
                  <a:cubicBezTo>
                    <a:pt x="608" y="63"/>
                    <a:pt x="608" y="63"/>
                    <a:pt x="608" y="63"/>
                  </a:cubicBezTo>
                  <a:cubicBezTo>
                    <a:pt x="593" y="64"/>
                    <a:pt x="582" y="77"/>
                    <a:pt x="582" y="92"/>
                  </a:cubicBezTo>
                  <a:cubicBezTo>
                    <a:pt x="582" y="94"/>
                    <a:pt x="582" y="94"/>
                    <a:pt x="582" y="94"/>
                  </a:cubicBezTo>
                  <a:cubicBezTo>
                    <a:pt x="582" y="110"/>
                    <a:pt x="595" y="123"/>
                    <a:pt x="611" y="123"/>
                  </a:cubicBezTo>
                  <a:cubicBezTo>
                    <a:pt x="1045" y="123"/>
                    <a:pt x="1045" y="123"/>
                    <a:pt x="1045" y="123"/>
                  </a:cubicBezTo>
                  <a:cubicBezTo>
                    <a:pt x="1061" y="123"/>
                    <a:pt x="1074" y="136"/>
                    <a:pt x="1074" y="152"/>
                  </a:cubicBezTo>
                  <a:cubicBezTo>
                    <a:pt x="1074" y="157"/>
                    <a:pt x="1074" y="157"/>
                    <a:pt x="1074" y="157"/>
                  </a:cubicBezTo>
                  <a:cubicBezTo>
                    <a:pt x="1074" y="173"/>
                    <a:pt x="1062" y="185"/>
                    <a:pt x="1047" y="186"/>
                  </a:cubicBezTo>
                  <a:cubicBezTo>
                    <a:pt x="1046" y="186"/>
                    <a:pt x="1046" y="186"/>
                    <a:pt x="1045" y="186"/>
                  </a:cubicBezTo>
                  <a:cubicBezTo>
                    <a:pt x="986" y="186"/>
                    <a:pt x="986" y="186"/>
                    <a:pt x="986" y="186"/>
                  </a:cubicBezTo>
                  <a:cubicBezTo>
                    <a:pt x="972" y="188"/>
                    <a:pt x="961" y="199"/>
                    <a:pt x="961" y="214"/>
                  </a:cubicBezTo>
                  <a:cubicBezTo>
                    <a:pt x="961" y="216"/>
                    <a:pt x="961" y="216"/>
                    <a:pt x="961" y="216"/>
                  </a:cubicBezTo>
                  <a:cubicBezTo>
                    <a:pt x="961" y="231"/>
                    <a:pt x="973" y="243"/>
                    <a:pt x="989" y="243"/>
                  </a:cubicBezTo>
                  <a:cubicBezTo>
                    <a:pt x="998" y="243"/>
                    <a:pt x="998" y="243"/>
                    <a:pt x="998" y="243"/>
                  </a:cubicBezTo>
                  <a:cubicBezTo>
                    <a:pt x="998" y="244"/>
                    <a:pt x="998" y="244"/>
                    <a:pt x="998" y="244"/>
                  </a:cubicBezTo>
                  <a:cubicBezTo>
                    <a:pt x="415" y="244"/>
                    <a:pt x="415" y="244"/>
                    <a:pt x="415" y="244"/>
                  </a:cubicBezTo>
                  <a:cubicBezTo>
                    <a:pt x="430" y="244"/>
                    <a:pt x="442" y="231"/>
                    <a:pt x="442" y="216"/>
                  </a:cubicBezTo>
                  <a:cubicBezTo>
                    <a:pt x="442" y="214"/>
                    <a:pt x="442" y="214"/>
                    <a:pt x="442" y="214"/>
                  </a:cubicBezTo>
                  <a:cubicBezTo>
                    <a:pt x="442" y="199"/>
                    <a:pt x="431" y="188"/>
                    <a:pt x="417" y="186"/>
                  </a:cubicBezTo>
                  <a:cubicBezTo>
                    <a:pt x="79" y="186"/>
                    <a:pt x="79" y="186"/>
                    <a:pt x="79" y="186"/>
                  </a:cubicBezTo>
                  <a:cubicBezTo>
                    <a:pt x="63" y="186"/>
                    <a:pt x="50" y="173"/>
                    <a:pt x="50" y="157"/>
                  </a:cubicBezTo>
                  <a:cubicBezTo>
                    <a:pt x="50" y="152"/>
                    <a:pt x="50" y="152"/>
                    <a:pt x="50" y="152"/>
                  </a:cubicBezTo>
                  <a:cubicBezTo>
                    <a:pt x="50" y="136"/>
                    <a:pt x="63" y="123"/>
                    <a:pt x="79" y="123"/>
                  </a:cubicBezTo>
                  <a:cubicBezTo>
                    <a:pt x="150" y="123"/>
                    <a:pt x="150" y="123"/>
                    <a:pt x="150" y="123"/>
                  </a:cubicBezTo>
                  <a:cubicBezTo>
                    <a:pt x="166" y="123"/>
                    <a:pt x="179" y="110"/>
                    <a:pt x="179" y="94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77"/>
                    <a:pt x="168" y="64"/>
                    <a:pt x="153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8" y="63"/>
                    <a:pt x="27" y="63"/>
                    <a:pt x="26" y="63"/>
                  </a:cubicBezTo>
                  <a:cubicBezTo>
                    <a:pt x="11" y="61"/>
                    <a:pt x="0" y="49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512" y="0"/>
                    <a:pt x="1512" y="0"/>
                    <a:pt x="1512" y="0"/>
                  </a:cubicBezTo>
                  <a:cubicBezTo>
                    <a:pt x="1528" y="0"/>
                    <a:pt x="1542" y="13"/>
                    <a:pt x="1542" y="29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7DC12752-E422-46F1-8E02-A75818B9A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688" y="-9467369"/>
              <a:ext cx="8048408" cy="1261858"/>
            </a:xfrm>
            <a:custGeom>
              <a:avLst/>
              <a:gdLst>
                <a:gd name="T0" fmla="*/ 29 w 1183"/>
                <a:gd name="T1" fmla="*/ 0 h 186"/>
                <a:gd name="T2" fmla="*/ 1153 w 1183"/>
                <a:gd name="T3" fmla="*/ 0 h 186"/>
                <a:gd name="T4" fmla="*/ 1183 w 1183"/>
                <a:gd name="T5" fmla="*/ 29 h 186"/>
                <a:gd name="T6" fmla="*/ 1183 w 1183"/>
                <a:gd name="T7" fmla="*/ 34 h 186"/>
                <a:gd name="T8" fmla="*/ 1153 w 1183"/>
                <a:gd name="T9" fmla="*/ 63 h 186"/>
                <a:gd name="T10" fmla="*/ 710 w 1183"/>
                <a:gd name="T11" fmla="*/ 63 h 186"/>
                <a:gd name="T12" fmla="*/ 685 w 1183"/>
                <a:gd name="T13" fmla="*/ 90 h 186"/>
                <a:gd name="T14" fmla="*/ 685 w 1183"/>
                <a:gd name="T15" fmla="*/ 95 h 186"/>
                <a:gd name="T16" fmla="*/ 712 w 1183"/>
                <a:gd name="T17" fmla="*/ 123 h 186"/>
                <a:gd name="T18" fmla="*/ 716 w 1183"/>
                <a:gd name="T19" fmla="*/ 123 h 186"/>
                <a:gd name="T20" fmla="*/ 716 w 1183"/>
                <a:gd name="T21" fmla="*/ 123 h 186"/>
                <a:gd name="T22" fmla="*/ 818 w 1183"/>
                <a:gd name="T23" fmla="*/ 123 h 186"/>
                <a:gd name="T24" fmla="*/ 847 w 1183"/>
                <a:gd name="T25" fmla="*/ 152 h 186"/>
                <a:gd name="T26" fmla="*/ 847 w 1183"/>
                <a:gd name="T27" fmla="*/ 157 h 186"/>
                <a:gd name="T28" fmla="*/ 818 w 1183"/>
                <a:gd name="T29" fmla="*/ 186 h 186"/>
                <a:gd name="T30" fmla="*/ 222 w 1183"/>
                <a:gd name="T31" fmla="*/ 186 h 186"/>
                <a:gd name="T32" fmla="*/ 193 w 1183"/>
                <a:gd name="T33" fmla="*/ 157 h 186"/>
                <a:gd name="T34" fmla="*/ 193 w 1183"/>
                <a:gd name="T35" fmla="*/ 152 h 186"/>
                <a:gd name="T36" fmla="*/ 222 w 1183"/>
                <a:gd name="T37" fmla="*/ 123 h 186"/>
                <a:gd name="T38" fmla="*/ 279 w 1183"/>
                <a:gd name="T39" fmla="*/ 123 h 186"/>
                <a:gd name="T40" fmla="*/ 279 w 1183"/>
                <a:gd name="T41" fmla="*/ 123 h 186"/>
                <a:gd name="T42" fmla="*/ 293 w 1183"/>
                <a:gd name="T43" fmla="*/ 123 h 186"/>
                <a:gd name="T44" fmla="*/ 320 w 1183"/>
                <a:gd name="T45" fmla="*/ 95 h 186"/>
                <a:gd name="T46" fmla="*/ 320 w 1183"/>
                <a:gd name="T47" fmla="*/ 90 h 186"/>
                <a:gd name="T48" fmla="*/ 295 w 1183"/>
                <a:gd name="T49" fmla="*/ 63 h 186"/>
                <a:gd name="T50" fmla="*/ 29 w 1183"/>
                <a:gd name="T51" fmla="*/ 63 h 186"/>
                <a:gd name="T52" fmla="*/ 0 w 1183"/>
                <a:gd name="T53" fmla="*/ 34 h 186"/>
                <a:gd name="T54" fmla="*/ 0 w 1183"/>
                <a:gd name="T55" fmla="*/ 29 h 186"/>
                <a:gd name="T56" fmla="*/ 29 w 1183"/>
                <a:gd name="T5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3" h="186">
                  <a:moveTo>
                    <a:pt x="29" y="0"/>
                  </a:moveTo>
                  <a:cubicBezTo>
                    <a:pt x="1153" y="0"/>
                    <a:pt x="1153" y="0"/>
                    <a:pt x="1153" y="0"/>
                  </a:cubicBezTo>
                  <a:cubicBezTo>
                    <a:pt x="1169" y="0"/>
                    <a:pt x="1183" y="13"/>
                    <a:pt x="1183" y="29"/>
                  </a:cubicBezTo>
                  <a:cubicBezTo>
                    <a:pt x="1183" y="34"/>
                    <a:pt x="1183" y="34"/>
                    <a:pt x="1183" y="34"/>
                  </a:cubicBezTo>
                  <a:cubicBezTo>
                    <a:pt x="1183" y="50"/>
                    <a:pt x="1169" y="63"/>
                    <a:pt x="1153" y="63"/>
                  </a:cubicBezTo>
                  <a:cubicBezTo>
                    <a:pt x="710" y="63"/>
                    <a:pt x="710" y="63"/>
                    <a:pt x="710" y="63"/>
                  </a:cubicBezTo>
                  <a:cubicBezTo>
                    <a:pt x="696" y="64"/>
                    <a:pt x="685" y="76"/>
                    <a:pt x="685" y="90"/>
                  </a:cubicBezTo>
                  <a:cubicBezTo>
                    <a:pt x="685" y="95"/>
                    <a:pt x="685" y="95"/>
                    <a:pt x="685" y="95"/>
                  </a:cubicBezTo>
                  <a:cubicBezTo>
                    <a:pt x="685" y="110"/>
                    <a:pt x="697" y="123"/>
                    <a:pt x="712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818" y="123"/>
                    <a:pt x="818" y="123"/>
                    <a:pt x="818" y="123"/>
                  </a:cubicBezTo>
                  <a:cubicBezTo>
                    <a:pt x="834" y="123"/>
                    <a:pt x="847" y="136"/>
                    <a:pt x="847" y="152"/>
                  </a:cubicBezTo>
                  <a:cubicBezTo>
                    <a:pt x="847" y="157"/>
                    <a:pt x="847" y="157"/>
                    <a:pt x="847" y="157"/>
                  </a:cubicBezTo>
                  <a:cubicBezTo>
                    <a:pt x="847" y="173"/>
                    <a:pt x="834" y="186"/>
                    <a:pt x="818" y="186"/>
                  </a:cubicBezTo>
                  <a:cubicBezTo>
                    <a:pt x="222" y="186"/>
                    <a:pt x="222" y="186"/>
                    <a:pt x="222" y="186"/>
                  </a:cubicBezTo>
                  <a:cubicBezTo>
                    <a:pt x="206" y="186"/>
                    <a:pt x="193" y="173"/>
                    <a:pt x="193" y="157"/>
                  </a:cubicBezTo>
                  <a:cubicBezTo>
                    <a:pt x="193" y="152"/>
                    <a:pt x="193" y="152"/>
                    <a:pt x="193" y="152"/>
                  </a:cubicBezTo>
                  <a:cubicBezTo>
                    <a:pt x="193" y="136"/>
                    <a:pt x="206" y="123"/>
                    <a:pt x="222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93" y="123"/>
                    <a:pt x="293" y="123"/>
                    <a:pt x="293" y="123"/>
                  </a:cubicBezTo>
                  <a:cubicBezTo>
                    <a:pt x="308" y="123"/>
                    <a:pt x="320" y="110"/>
                    <a:pt x="320" y="95"/>
                  </a:cubicBezTo>
                  <a:cubicBezTo>
                    <a:pt x="320" y="90"/>
                    <a:pt x="320" y="90"/>
                    <a:pt x="320" y="90"/>
                  </a:cubicBezTo>
                  <a:cubicBezTo>
                    <a:pt x="320" y="76"/>
                    <a:pt x="309" y="64"/>
                    <a:pt x="295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3CB4EC3E-533F-4676-8A58-B65F7ABBF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2969" y="-10291734"/>
              <a:ext cx="1446255" cy="430262"/>
            </a:xfrm>
            <a:custGeom>
              <a:avLst/>
              <a:gdLst>
                <a:gd name="T0" fmla="*/ 184 w 213"/>
                <a:gd name="T1" fmla="*/ 63 h 63"/>
                <a:gd name="T2" fmla="*/ 30 w 213"/>
                <a:gd name="T3" fmla="*/ 63 h 63"/>
                <a:gd name="T4" fmla="*/ 0 w 213"/>
                <a:gd name="T5" fmla="*/ 34 h 63"/>
                <a:gd name="T6" fmla="*/ 0 w 213"/>
                <a:gd name="T7" fmla="*/ 29 h 63"/>
                <a:gd name="T8" fmla="*/ 30 w 213"/>
                <a:gd name="T9" fmla="*/ 0 h 63"/>
                <a:gd name="T10" fmla="*/ 184 w 213"/>
                <a:gd name="T11" fmla="*/ 0 h 63"/>
                <a:gd name="T12" fmla="*/ 213 w 213"/>
                <a:gd name="T13" fmla="*/ 29 h 63"/>
                <a:gd name="T14" fmla="*/ 213 w 213"/>
                <a:gd name="T15" fmla="*/ 34 h 63"/>
                <a:gd name="T16" fmla="*/ 184 w 213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" h="63">
                  <a:moveTo>
                    <a:pt x="184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00" y="0"/>
                    <a:pt x="213" y="13"/>
                    <a:pt x="213" y="29"/>
                  </a:cubicBezTo>
                  <a:cubicBezTo>
                    <a:pt x="213" y="34"/>
                    <a:pt x="213" y="34"/>
                    <a:pt x="213" y="34"/>
                  </a:cubicBezTo>
                  <a:cubicBezTo>
                    <a:pt x="213" y="50"/>
                    <a:pt x="200" y="63"/>
                    <a:pt x="184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734C838C-F2F6-43B5-985F-5F07B0B80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657" y="-8632157"/>
              <a:ext cx="1442640" cy="426645"/>
            </a:xfrm>
            <a:custGeom>
              <a:avLst/>
              <a:gdLst>
                <a:gd name="T0" fmla="*/ 183 w 212"/>
                <a:gd name="T1" fmla="*/ 63 h 63"/>
                <a:gd name="T2" fmla="*/ 29 w 212"/>
                <a:gd name="T3" fmla="*/ 63 h 63"/>
                <a:gd name="T4" fmla="*/ 0 w 212"/>
                <a:gd name="T5" fmla="*/ 34 h 63"/>
                <a:gd name="T6" fmla="*/ 0 w 212"/>
                <a:gd name="T7" fmla="*/ 29 h 63"/>
                <a:gd name="T8" fmla="*/ 29 w 212"/>
                <a:gd name="T9" fmla="*/ 0 h 63"/>
                <a:gd name="T10" fmla="*/ 183 w 212"/>
                <a:gd name="T11" fmla="*/ 0 h 63"/>
                <a:gd name="T12" fmla="*/ 212 w 212"/>
                <a:gd name="T13" fmla="*/ 29 h 63"/>
                <a:gd name="T14" fmla="*/ 212 w 212"/>
                <a:gd name="T15" fmla="*/ 34 h 63"/>
                <a:gd name="T16" fmla="*/ 183 w 212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63">
                  <a:moveTo>
                    <a:pt x="183" y="63"/>
                  </a:move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99" y="0"/>
                    <a:pt x="212" y="13"/>
                    <a:pt x="212" y="29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50"/>
                    <a:pt x="199" y="63"/>
                    <a:pt x="183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15" name="Freeform: Shape 214">
            <a:extLst>
              <a:ext uri="{FF2B5EF4-FFF2-40B4-BE49-F238E27FC236}">
                <a16:creationId xmlns:a16="http://schemas.microsoft.com/office/drawing/2014/main" id="{C35E906F-45E1-45EA-93A8-CE89E7C15A4F}"/>
              </a:ext>
            </a:extLst>
          </p:cNvPr>
          <p:cNvSpPr>
            <a:spLocks/>
          </p:cNvSpPr>
          <p:nvPr/>
        </p:nvSpPr>
        <p:spPr bwMode="auto">
          <a:xfrm flipV="1">
            <a:off x="3650193" y="3195608"/>
            <a:ext cx="4887606" cy="2515355"/>
          </a:xfrm>
          <a:custGeom>
            <a:avLst/>
            <a:gdLst>
              <a:gd name="connsiteX0" fmla="*/ 101363 w 4887606"/>
              <a:gd name="connsiteY0" fmla="*/ 2515355 h 2515355"/>
              <a:gd name="connsiteX1" fmla="*/ 4786243 w 4887606"/>
              <a:gd name="connsiteY1" fmla="*/ 2515355 h 2515355"/>
              <a:gd name="connsiteX2" fmla="*/ 4887606 w 4887606"/>
              <a:gd name="connsiteY2" fmla="*/ 2414444 h 2515355"/>
              <a:gd name="connsiteX3" fmla="*/ 4786243 w 4887606"/>
              <a:gd name="connsiteY3" fmla="*/ 2316686 h 2515355"/>
              <a:gd name="connsiteX4" fmla="*/ 4777093 w 4887606"/>
              <a:gd name="connsiteY4" fmla="*/ 2316686 h 2515355"/>
              <a:gd name="connsiteX5" fmla="*/ 4764700 w 4887606"/>
              <a:gd name="connsiteY5" fmla="*/ 2316686 h 2515355"/>
              <a:gd name="connsiteX6" fmla="*/ 4764700 w 4887606"/>
              <a:gd name="connsiteY6" fmla="*/ 2304009 h 2515355"/>
              <a:gd name="connsiteX7" fmla="*/ 2442119 w 4887606"/>
              <a:gd name="connsiteY7" fmla="*/ 0 h 2515355"/>
              <a:gd name="connsiteX8" fmla="*/ 119538 w 4887606"/>
              <a:gd name="connsiteY8" fmla="*/ 2304009 h 2515355"/>
              <a:gd name="connsiteX9" fmla="*/ 119538 w 4887606"/>
              <a:gd name="connsiteY9" fmla="*/ 2316686 h 2515355"/>
              <a:gd name="connsiteX10" fmla="*/ 101363 w 4887606"/>
              <a:gd name="connsiteY10" fmla="*/ 2316686 h 2515355"/>
              <a:gd name="connsiteX11" fmla="*/ 0 w 4887606"/>
              <a:gd name="connsiteY11" fmla="*/ 2414444 h 2515355"/>
              <a:gd name="connsiteX12" fmla="*/ 101363 w 4887606"/>
              <a:gd name="connsiteY12" fmla="*/ 2515355 h 251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87606" h="2515355">
                <a:moveTo>
                  <a:pt x="101363" y="2515355"/>
                </a:moveTo>
                <a:cubicBezTo>
                  <a:pt x="101363" y="2515355"/>
                  <a:pt x="101363" y="2515355"/>
                  <a:pt x="4786243" y="2515355"/>
                </a:cubicBezTo>
                <a:cubicBezTo>
                  <a:pt x="4840092" y="2515355"/>
                  <a:pt x="4887606" y="2471206"/>
                  <a:pt x="4887606" y="2414444"/>
                </a:cubicBezTo>
                <a:cubicBezTo>
                  <a:pt x="4887606" y="2360835"/>
                  <a:pt x="4840092" y="2316686"/>
                  <a:pt x="4786243" y="2316686"/>
                </a:cubicBezTo>
                <a:cubicBezTo>
                  <a:pt x="4786243" y="2316686"/>
                  <a:pt x="4786243" y="2316686"/>
                  <a:pt x="4777093" y="2316686"/>
                </a:cubicBezTo>
                <a:lnTo>
                  <a:pt x="4764700" y="2316686"/>
                </a:lnTo>
                <a:cubicBezTo>
                  <a:pt x="4764700" y="2316686"/>
                  <a:pt x="4764700" y="2316686"/>
                  <a:pt x="4764700" y="2304009"/>
                </a:cubicBezTo>
                <a:cubicBezTo>
                  <a:pt x="4764700" y="1033160"/>
                  <a:pt x="3725401" y="0"/>
                  <a:pt x="2442119" y="0"/>
                </a:cubicBezTo>
                <a:cubicBezTo>
                  <a:pt x="1158838" y="0"/>
                  <a:pt x="119538" y="1033160"/>
                  <a:pt x="119538" y="2304009"/>
                </a:cubicBezTo>
                <a:cubicBezTo>
                  <a:pt x="119538" y="2304009"/>
                  <a:pt x="119538" y="2304009"/>
                  <a:pt x="119538" y="2316686"/>
                </a:cubicBezTo>
                <a:lnTo>
                  <a:pt x="101363" y="2316686"/>
                </a:lnTo>
                <a:cubicBezTo>
                  <a:pt x="44346" y="2316686"/>
                  <a:pt x="0" y="2360835"/>
                  <a:pt x="0" y="2414444"/>
                </a:cubicBezTo>
                <a:cubicBezTo>
                  <a:pt x="0" y="2471206"/>
                  <a:pt x="44346" y="2515355"/>
                  <a:pt x="101363" y="2515355"/>
                </a:cubicBezTo>
                <a:close/>
              </a:path>
            </a:pathLst>
          </a:custGeom>
          <a:gradFill>
            <a:gsLst>
              <a:gs pos="50000">
                <a:schemeClr val="accent2"/>
              </a:gs>
              <a:gs pos="0">
                <a:srgbClr val="3B40A3"/>
              </a:gs>
              <a:gs pos="100000">
                <a:srgbClr val="6F35A1"/>
              </a:gs>
            </a:gsLst>
            <a:lin ang="2700000" scaled="0"/>
          </a:gra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18" name="Freeform: Shape 617">
            <a:extLst>
              <a:ext uri="{FF2B5EF4-FFF2-40B4-BE49-F238E27FC236}">
                <a16:creationId xmlns:a16="http://schemas.microsoft.com/office/drawing/2014/main" id="{7C42A87E-90A7-492A-BB27-68AD9C613E57}"/>
              </a:ext>
            </a:extLst>
          </p:cNvPr>
          <p:cNvSpPr>
            <a:spLocks/>
          </p:cNvSpPr>
          <p:nvPr/>
        </p:nvSpPr>
        <p:spPr bwMode="auto">
          <a:xfrm flipV="1">
            <a:off x="3650193" y="3195608"/>
            <a:ext cx="4490166" cy="2081738"/>
          </a:xfrm>
          <a:custGeom>
            <a:avLst/>
            <a:gdLst>
              <a:gd name="connsiteX0" fmla="*/ 108446 w 4803915"/>
              <a:gd name="connsiteY0" fmla="*/ 2227201 h 2227201"/>
              <a:gd name="connsiteX1" fmla="*/ 4665315 w 4803915"/>
              <a:gd name="connsiteY1" fmla="*/ 2227201 h 2227201"/>
              <a:gd name="connsiteX2" fmla="*/ 4803915 w 4803915"/>
              <a:gd name="connsiteY2" fmla="*/ 2227201 h 2227201"/>
              <a:gd name="connsiteX3" fmla="*/ 4803205 w 4803915"/>
              <a:gd name="connsiteY3" fmla="*/ 2213258 h 2227201"/>
              <a:gd name="connsiteX4" fmla="*/ 2331157 w 4803915"/>
              <a:gd name="connsiteY4" fmla="*/ 0 h 2227201"/>
              <a:gd name="connsiteX5" fmla="*/ 413518 w 4803915"/>
              <a:gd name="connsiteY5" fmla="*/ 897752 h 2227201"/>
              <a:gd name="connsiteX6" fmla="*/ 356596 w 4803915"/>
              <a:gd name="connsiteY6" fmla="*/ 973300 h 2227201"/>
              <a:gd name="connsiteX7" fmla="*/ 323081 w 4803915"/>
              <a:gd name="connsiteY7" fmla="*/ 1042328 h 2227201"/>
              <a:gd name="connsiteX8" fmla="*/ 127891 w 4803915"/>
              <a:gd name="connsiteY8" fmla="*/ 2001088 h 2227201"/>
              <a:gd name="connsiteX9" fmla="*/ 127891 w 4803915"/>
              <a:gd name="connsiteY9" fmla="*/ 2014650 h 2227201"/>
              <a:gd name="connsiteX10" fmla="*/ 108446 w 4803915"/>
              <a:gd name="connsiteY10" fmla="*/ 2014650 h 2227201"/>
              <a:gd name="connsiteX11" fmla="*/ 0 w 4803915"/>
              <a:gd name="connsiteY11" fmla="*/ 2119239 h 2227201"/>
              <a:gd name="connsiteX12" fmla="*/ 108446 w 4803915"/>
              <a:gd name="connsiteY12" fmla="*/ 2227201 h 2227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3915" h="2227201">
                <a:moveTo>
                  <a:pt x="108446" y="2227201"/>
                </a:moveTo>
                <a:cubicBezTo>
                  <a:pt x="108446" y="2227201"/>
                  <a:pt x="108446" y="2227201"/>
                  <a:pt x="4665315" y="2227201"/>
                </a:cubicBezTo>
                <a:lnTo>
                  <a:pt x="4803915" y="2227201"/>
                </a:lnTo>
                <a:lnTo>
                  <a:pt x="4803205" y="2213258"/>
                </a:lnTo>
                <a:cubicBezTo>
                  <a:pt x="4676018" y="971502"/>
                  <a:pt x="3618298" y="0"/>
                  <a:pt x="2331157" y="0"/>
                </a:cubicBezTo>
                <a:cubicBezTo>
                  <a:pt x="1558872" y="0"/>
                  <a:pt x="869179" y="349741"/>
                  <a:pt x="413518" y="897752"/>
                </a:cubicBezTo>
                <a:lnTo>
                  <a:pt x="356596" y="973300"/>
                </a:lnTo>
                <a:lnTo>
                  <a:pt x="323081" y="1042328"/>
                </a:lnTo>
                <a:cubicBezTo>
                  <a:pt x="197386" y="1337156"/>
                  <a:pt x="127891" y="1661175"/>
                  <a:pt x="127891" y="2001088"/>
                </a:cubicBezTo>
                <a:cubicBezTo>
                  <a:pt x="127891" y="2001088"/>
                  <a:pt x="127891" y="2001088"/>
                  <a:pt x="127891" y="2014650"/>
                </a:cubicBezTo>
                <a:lnTo>
                  <a:pt x="108446" y="2014650"/>
                </a:lnTo>
                <a:cubicBezTo>
                  <a:pt x="47445" y="2014650"/>
                  <a:pt x="0" y="2061884"/>
                  <a:pt x="0" y="2119239"/>
                </a:cubicBezTo>
                <a:cubicBezTo>
                  <a:pt x="0" y="2179968"/>
                  <a:pt x="47445" y="2227201"/>
                  <a:pt x="108446" y="2227201"/>
                </a:cubicBezTo>
                <a:close/>
              </a:path>
            </a:pathLst>
          </a:custGeom>
          <a:solidFill>
            <a:schemeClr val="accent2">
              <a:lumMod val="50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38" name="Group 737">
            <a:extLst>
              <a:ext uri="{FF2B5EF4-FFF2-40B4-BE49-F238E27FC236}">
                <a16:creationId xmlns:a16="http://schemas.microsoft.com/office/drawing/2014/main" id="{D0AB1BC9-464C-47B1-901A-7748FFEEDCFB}"/>
              </a:ext>
            </a:extLst>
          </p:cNvPr>
          <p:cNvGrpSpPr/>
          <p:nvPr/>
        </p:nvGrpSpPr>
        <p:grpSpPr>
          <a:xfrm>
            <a:off x="3543743" y="1601845"/>
            <a:ext cx="4591915" cy="3571600"/>
            <a:chOff x="3543743" y="1684677"/>
            <a:chExt cx="4591915" cy="3571600"/>
          </a:xfrm>
        </p:grpSpPr>
        <p:grpSp>
          <p:nvGrpSpPr>
            <p:cNvPr id="510" name="Group 509">
              <a:extLst>
                <a:ext uri="{FF2B5EF4-FFF2-40B4-BE49-F238E27FC236}">
                  <a16:creationId xmlns:a16="http://schemas.microsoft.com/office/drawing/2014/main" id="{DC053A91-5356-45FA-AFC0-2277A2D9705F}"/>
                </a:ext>
              </a:extLst>
            </p:cNvPr>
            <p:cNvGrpSpPr/>
            <p:nvPr/>
          </p:nvGrpSpPr>
          <p:grpSpPr>
            <a:xfrm flipH="1">
              <a:off x="5638235" y="1684677"/>
              <a:ext cx="2497423" cy="1665740"/>
              <a:chOff x="-8774112" y="9498970"/>
              <a:chExt cx="4995863" cy="3332162"/>
            </a:xfrm>
          </p:grpSpPr>
          <p:grpSp>
            <p:nvGrpSpPr>
              <p:cNvPr id="511" name="Group 510">
                <a:extLst>
                  <a:ext uri="{FF2B5EF4-FFF2-40B4-BE49-F238E27FC236}">
                    <a16:creationId xmlns:a16="http://schemas.microsoft.com/office/drawing/2014/main" id="{4939101C-35B4-4A9A-8645-E49A75031DD6}"/>
                  </a:ext>
                </a:extLst>
              </p:cNvPr>
              <p:cNvGrpSpPr/>
              <p:nvPr/>
            </p:nvGrpSpPr>
            <p:grpSpPr>
              <a:xfrm>
                <a:off x="-6958012" y="9586283"/>
                <a:ext cx="339726" cy="1454149"/>
                <a:chOff x="-6958012" y="9586283"/>
                <a:chExt cx="339726" cy="1454149"/>
              </a:xfrm>
              <a:solidFill>
                <a:schemeClr val="accent4">
                  <a:lumMod val="50000"/>
                </a:schemeClr>
              </a:solidFill>
            </p:grpSpPr>
            <p:sp>
              <p:nvSpPr>
                <p:cNvPr id="586" name="Freeform 19">
                  <a:extLst>
                    <a:ext uri="{FF2B5EF4-FFF2-40B4-BE49-F238E27FC236}">
                      <a16:creationId xmlns:a16="http://schemas.microsoft.com/office/drawing/2014/main" id="{3A01AEE3-D848-4257-8910-26F7D5FFD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880224" y="9586283"/>
                  <a:ext cx="111125" cy="209550"/>
                </a:xfrm>
                <a:custGeom>
                  <a:avLst/>
                  <a:gdLst>
                    <a:gd name="T0" fmla="*/ 28 w 46"/>
                    <a:gd name="T1" fmla="*/ 86 h 86"/>
                    <a:gd name="T2" fmla="*/ 2 w 46"/>
                    <a:gd name="T3" fmla="*/ 34 h 86"/>
                    <a:gd name="T4" fmla="*/ 19 w 46"/>
                    <a:gd name="T5" fmla="*/ 1 h 86"/>
                    <a:gd name="T6" fmla="*/ 43 w 46"/>
                    <a:gd name="T7" fmla="*/ 29 h 86"/>
                    <a:gd name="T8" fmla="*/ 28 w 46"/>
                    <a:gd name="T9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6" h="86">
                      <a:moveTo>
                        <a:pt x="28" y="86"/>
                      </a:moveTo>
                      <a:cubicBezTo>
                        <a:pt x="28" y="86"/>
                        <a:pt x="5" y="64"/>
                        <a:pt x="2" y="34"/>
                      </a:cubicBezTo>
                      <a:cubicBezTo>
                        <a:pt x="0" y="22"/>
                        <a:pt x="8" y="2"/>
                        <a:pt x="19" y="1"/>
                      </a:cubicBezTo>
                      <a:cubicBezTo>
                        <a:pt x="30" y="0"/>
                        <a:pt x="41" y="13"/>
                        <a:pt x="43" y="29"/>
                      </a:cubicBezTo>
                      <a:cubicBezTo>
                        <a:pt x="46" y="59"/>
                        <a:pt x="28" y="86"/>
                        <a:pt x="28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7" name="Freeform 20">
                  <a:extLst>
                    <a:ext uri="{FF2B5EF4-FFF2-40B4-BE49-F238E27FC236}">
                      <a16:creationId xmlns:a16="http://schemas.microsoft.com/office/drawing/2014/main" id="{FFFDF4DC-A4CE-43C5-AE51-4CCEDA1CC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88149" y="9768845"/>
                  <a:ext cx="138113" cy="149225"/>
                </a:xfrm>
                <a:custGeom>
                  <a:avLst/>
                  <a:gdLst>
                    <a:gd name="T0" fmla="*/ 0 w 57"/>
                    <a:gd name="T1" fmla="*/ 62 h 62"/>
                    <a:gd name="T2" fmla="*/ 18 w 57"/>
                    <a:gd name="T3" fmla="*/ 14 h 62"/>
                    <a:gd name="T4" fmla="*/ 49 w 57"/>
                    <a:gd name="T5" fmla="*/ 7 h 62"/>
                    <a:gd name="T6" fmla="*/ 45 w 57"/>
                    <a:gd name="T7" fmla="*/ 38 h 62"/>
                    <a:gd name="T8" fmla="*/ 0 w 57"/>
                    <a:gd name="T9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62">
                      <a:moveTo>
                        <a:pt x="0" y="62"/>
                      </a:moveTo>
                      <a:cubicBezTo>
                        <a:pt x="0" y="62"/>
                        <a:pt x="0" y="33"/>
                        <a:pt x="18" y="14"/>
                      </a:cubicBezTo>
                      <a:cubicBezTo>
                        <a:pt x="24" y="6"/>
                        <a:pt x="41" y="0"/>
                        <a:pt x="49" y="7"/>
                      </a:cubicBezTo>
                      <a:cubicBezTo>
                        <a:pt x="57" y="13"/>
                        <a:pt x="55" y="28"/>
                        <a:pt x="45" y="38"/>
                      </a:cubicBezTo>
                      <a:cubicBezTo>
                        <a:pt x="28" y="58"/>
                        <a:pt x="0" y="62"/>
                        <a:pt x="0" y="6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8" name="Freeform 21">
                  <a:extLst>
                    <a:ext uri="{FF2B5EF4-FFF2-40B4-BE49-F238E27FC236}">
                      <a16:creationId xmlns:a16="http://schemas.microsoft.com/office/drawing/2014/main" id="{21B6E8C6-869A-4AAA-A006-91A583A09E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91324" y="9964108"/>
                  <a:ext cx="173038" cy="117475"/>
                </a:xfrm>
                <a:custGeom>
                  <a:avLst/>
                  <a:gdLst>
                    <a:gd name="T0" fmla="*/ 0 w 71"/>
                    <a:gd name="T1" fmla="*/ 40 h 48"/>
                    <a:gd name="T2" fmla="*/ 36 w 71"/>
                    <a:gd name="T3" fmla="*/ 4 h 48"/>
                    <a:gd name="T4" fmla="*/ 67 w 71"/>
                    <a:gd name="T5" fmla="*/ 10 h 48"/>
                    <a:gd name="T6" fmla="*/ 51 w 71"/>
                    <a:gd name="T7" fmla="*/ 38 h 48"/>
                    <a:gd name="T8" fmla="*/ 0 w 71"/>
                    <a:gd name="T9" fmla="*/ 4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1" h="48">
                      <a:moveTo>
                        <a:pt x="0" y="40"/>
                      </a:moveTo>
                      <a:cubicBezTo>
                        <a:pt x="0" y="40"/>
                        <a:pt x="12" y="15"/>
                        <a:pt x="36" y="4"/>
                      </a:cubicBezTo>
                      <a:cubicBezTo>
                        <a:pt x="45" y="0"/>
                        <a:pt x="63" y="1"/>
                        <a:pt x="67" y="10"/>
                      </a:cubicBezTo>
                      <a:cubicBezTo>
                        <a:pt x="71" y="20"/>
                        <a:pt x="64" y="32"/>
                        <a:pt x="51" y="38"/>
                      </a:cubicBezTo>
                      <a:cubicBezTo>
                        <a:pt x="27" y="48"/>
                        <a:pt x="0" y="40"/>
                        <a:pt x="0" y="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9" name="Freeform 22">
                  <a:extLst>
                    <a:ext uri="{FF2B5EF4-FFF2-40B4-BE49-F238E27FC236}">
                      <a16:creationId xmlns:a16="http://schemas.microsoft.com/office/drawing/2014/main" id="{FE814CE9-83BA-42A1-99AB-0969D82DE9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58012" y="9814883"/>
                  <a:ext cx="166688" cy="114300"/>
                </a:xfrm>
                <a:custGeom>
                  <a:avLst/>
                  <a:gdLst>
                    <a:gd name="T0" fmla="*/ 69 w 69"/>
                    <a:gd name="T1" fmla="*/ 44 h 47"/>
                    <a:gd name="T2" fmla="*/ 20 w 69"/>
                    <a:gd name="T3" fmla="*/ 34 h 47"/>
                    <a:gd name="T4" fmla="*/ 5 w 69"/>
                    <a:gd name="T5" fmla="*/ 8 h 47"/>
                    <a:gd name="T6" fmla="*/ 35 w 69"/>
                    <a:gd name="T7" fmla="*/ 7 h 47"/>
                    <a:gd name="T8" fmla="*/ 69 w 69"/>
                    <a:gd name="T9" fmla="*/ 44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47">
                      <a:moveTo>
                        <a:pt x="69" y="44"/>
                      </a:moveTo>
                      <a:cubicBezTo>
                        <a:pt x="69" y="44"/>
                        <a:pt x="43" y="47"/>
                        <a:pt x="20" y="34"/>
                      </a:cubicBezTo>
                      <a:cubicBezTo>
                        <a:pt x="11" y="29"/>
                        <a:pt x="0" y="15"/>
                        <a:pt x="5" y="8"/>
                      </a:cubicBezTo>
                      <a:cubicBezTo>
                        <a:pt x="9" y="0"/>
                        <a:pt x="23" y="0"/>
                        <a:pt x="35" y="7"/>
                      </a:cubicBezTo>
                      <a:cubicBezTo>
                        <a:pt x="58" y="20"/>
                        <a:pt x="69" y="44"/>
                        <a:pt x="69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0" name="Freeform 23">
                  <a:extLst>
                    <a:ext uri="{FF2B5EF4-FFF2-40B4-BE49-F238E27FC236}">
                      <a16:creationId xmlns:a16="http://schemas.microsoft.com/office/drawing/2014/main" id="{04A3F82F-9804-4332-A526-D76C5F9E9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48487" y="9954583"/>
                  <a:ext cx="165100" cy="117475"/>
                </a:xfrm>
                <a:custGeom>
                  <a:avLst/>
                  <a:gdLst>
                    <a:gd name="T0" fmla="*/ 68 w 68"/>
                    <a:gd name="T1" fmla="*/ 44 h 48"/>
                    <a:gd name="T2" fmla="*/ 19 w 68"/>
                    <a:gd name="T3" fmla="*/ 35 h 48"/>
                    <a:gd name="T4" fmla="*/ 4 w 68"/>
                    <a:gd name="T5" fmla="*/ 8 h 48"/>
                    <a:gd name="T6" fmla="*/ 35 w 68"/>
                    <a:gd name="T7" fmla="*/ 7 h 48"/>
                    <a:gd name="T8" fmla="*/ 68 w 68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48">
                      <a:moveTo>
                        <a:pt x="68" y="44"/>
                      </a:moveTo>
                      <a:cubicBezTo>
                        <a:pt x="68" y="44"/>
                        <a:pt x="42" y="48"/>
                        <a:pt x="19" y="35"/>
                      </a:cubicBezTo>
                      <a:cubicBezTo>
                        <a:pt x="11" y="30"/>
                        <a:pt x="0" y="15"/>
                        <a:pt x="4" y="8"/>
                      </a:cubicBezTo>
                      <a:cubicBezTo>
                        <a:pt x="9" y="0"/>
                        <a:pt x="23" y="0"/>
                        <a:pt x="35" y="7"/>
                      </a:cubicBezTo>
                      <a:cubicBezTo>
                        <a:pt x="58" y="20"/>
                        <a:pt x="68" y="44"/>
                        <a:pt x="68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1" name="Freeform 24">
                  <a:extLst>
                    <a:ext uri="{FF2B5EF4-FFF2-40B4-BE49-F238E27FC236}">
                      <a16:creationId xmlns:a16="http://schemas.microsoft.com/office/drawing/2014/main" id="{D58106B7-99EA-4F04-BF70-F554331958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35787" y="10165720"/>
                  <a:ext cx="130175" cy="104775"/>
                </a:xfrm>
                <a:custGeom>
                  <a:avLst/>
                  <a:gdLst>
                    <a:gd name="T0" fmla="*/ 54 w 54"/>
                    <a:gd name="T1" fmla="*/ 37 h 43"/>
                    <a:gd name="T2" fmla="*/ 14 w 54"/>
                    <a:gd name="T3" fmla="*/ 33 h 43"/>
                    <a:gd name="T4" fmla="*/ 5 w 54"/>
                    <a:gd name="T5" fmla="*/ 9 h 43"/>
                    <a:gd name="T6" fmla="*/ 30 w 54"/>
                    <a:gd name="T7" fmla="*/ 5 h 43"/>
                    <a:gd name="T8" fmla="*/ 54 w 54"/>
                    <a:gd name="T9" fmla="*/ 37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" h="43">
                      <a:moveTo>
                        <a:pt x="54" y="37"/>
                      </a:moveTo>
                      <a:cubicBezTo>
                        <a:pt x="54" y="37"/>
                        <a:pt x="32" y="43"/>
                        <a:pt x="14" y="33"/>
                      </a:cubicBezTo>
                      <a:cubicBezTo>
                        <a:pt x="8" y="29"/>
                        <a:pt x="0" y="17"/>
                        <a:pt x="5" y="9"/>
                      </a:cubicBezTo>
                      <a:cubicBezTo>
                        <a:pt x="9" y="1"/>
                        <a:pt x="21" y="0"/>
                        <a:pt x="30" y="5"/>
                      </a:cubicBezTo>
                      <a:cubicBezTo>
                        <a:pt x="48" y="15"/>
                        <a:pt x="54" y="37"/>
                        <a:pt x="54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2" name="Freeform 25">
                  <a:extLst>
                    <a:ext uri="{FF2B5EF4-FFF2-40B4-BE49-F238E27FC236}">
                      <a16:creationId xmlns:a16="http://schemas.microsoft.com/office/drawing/2014/main" id="{03B46727-6D10-40E6-9299-D8D3EB8D7A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97674" y="10160958"/>
                  <a:ext cx="133350" cy="100012"/>
                </a:xfrm>
                <a:custGeom>
                  <a:avLst/>
                  <a:gdLst>
                    <a:gd name="T0" fmla="*/ 0 w 55"/>
                    <a:gd name="T1" fmla="*/ 39 h 41"/>
                    <a:gd name="T2" fmla="*/ 26 w 55"/>
                    <a:gd name="T3" fmla="*/ 7 h 41"/>
                    <a:gd name="T4" fmla="*/ 51 w 55"/>
                    <a:gd name="T5" fmla="*/ 7 h 41"/>
                    <a:gd name="T6" fmla="*/ 40 w 55"/>
                    <a:gd name="T7" fmla="*/ 29 h 41"/>
                    <a:gd name="T8" fmla="*/ 0 w 55"/>
                    <a:gd name="T9" fmla="*/ 39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5" h="41">
                      <a:moveTo>
                        <a:pt x="0" y="39"/>
                      </a:moveTo>
                      <a:cubicBezTo>
                        <a:pt x="0" y="39"/>
                        <a:pt x="8" y="18"/>
                        <a:pt x="26" y="7"/>
                      </a:cubicBezTo>
                      <a:cubicBezTo>
                        <a:pt x="32" y="3"/>
                        <a:pt x="47" y="0"/>
                        <a:pt x="51" y="7"/>
                      </a:cubicBezTo>
                      <a:cubicBezTo>
                        <a:pt x="55" y="13"/>
                        <a:pt x="49" y="23"/>
                        <a:pt x="40" y="29"/>
                      </a:cubicBezTo>
                      <a:cubicBezTo>
                        <a:pt x="22" y="41"/>
                        <a:pt x="0" y="39"/>
                        <a:pt x="0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3" name="Freeform 26">
                  <a:extLst>
                    <a:ext uri="{FF2B5EF4-FFF2-40B4-BE49-F238E27FC236}">
                      <a16:creationId xmlns:a16="http://schemas.microsoft.com/office/drawing/2014/main" id="{94BCB61E-0EA6-43F7-959B-ED4BCDE463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892924" y="9759320"/>
                  <a:ext cx="192088" cy="1281112"/>
                </a:xfrm>
                <a:custGeom>
                  <a:avLst/>
                  <a:gdLst>
                    <a:gd name="T0" fmla="*/ 67 w 79"/>
                    <a:gd name="T1" fmla="*/ 527 h 529"/>
                    <a:gd name="T2" fmla="*/ 79 w 79"/>
                    <a:gd name="T3" fmla="*/ 528 h 529"/>
                    <a:gd name="T4" fmla="*/ 78 w 79"/>
                    <a:gd name="T5" fmla="*/ 523 h 529"/>
                    <a:gd name="T6" fmla="*/ 78 w 79"/>
                    <a:gd name="T7" fmla="*/ 526 h 529"/>
                    <a:gd name="T8" fmla="*/ 78 w 79"/>
                    <a:gd name="T9" fmla="*/ 523 h 529"/>
                    <a:gd name="T10" fmla="*/ 52 w 79"/>
                    <a:gd name="T11" fmla="*/ 512 h 529"/>
                    <a:gd name="T12" fmla="*/ 24 w 79"/>
                    <a:gd name="T13" fmla="*/ 434 h 529"/>
                    <a:gd name="T14" fmla="*/ 37 w 79"/>
                    <a:gd name="T15" fmla="*/ 222 h 529"/>
                    <a:gd name="T16" fmla="*/ 37 w 79"/>
                    <a:gd name="T17" fmla="*/ 25 h 529"/>
                    <a:gd name="T18" fmla="*/ 34 w 79"/>
                    <a:gd name="T19" fmla="*/ 0 h 529"/>
                    <a:gd name="T20" fmla="*/ 28 w 79"/>
                    <a:gd name="T21" fmla="*/ 0 h 529"/>
                    <a:gd name="T22" fmla="*/ 32 w 79"/>
                    <a:gd name="T23" fmla="*/ 26 h 529"/>
                    <a:gd name="T24" fmla="*/ 32 w 79"/>
                    <a:gd name="T25" fmla="*/ 221 h 529"/>
                    <a:gd name="T26" fmla="*/ 49 w 79"/>
                    <a:gd name="T27" fmla="*/ 516 h 529"/>
                    <a:gd name="T28" fmla="*/ 67 w 79"/>
                    <a:gd name="T29" fmla="*/ 527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9" h="529">
                      <a:moveTo>
                        <a:pt x="67" y="527"/>
                      </a:moveTo>
                      <a:cubicBezTo>
                        <a:pt x="74" y="529"/>
                        <a:pt x="78" y="528"/>
                        <a:pt x="79" y="528"/>
                      </a:cubicBezTo>
                      <a:cubicBezTo>
                        <a:pt x="78" y="523"/>
                        <a:pt x="78" y="523"/>
                        <a:pt x="78" y="523"/>
                      </a:cubicBezTo>
                      <a:cubicBezTo>
                        <a:pt x="78" y="526"/>
                        <a:pt x="78" y="526"/>
                        <a:pt x="78" y="526"/>
                      </a:cubicBezTo>
                      <a:cubicBezTo>
                        <a:pt x="78" y="523"/>
                        <a:pt x="78" y="523"/>
                        <a:pt x="78" y="523"/>
                      </a:cubicBezTo>
                      <a:cubicBezTo>
                        <a:pt x="77" y="523"/>
                        <a:pt x="65" y="525"/>
                        <a:pt x="52" y="512"/>
                      </a:cubicBezTo>
                      <a:cubicBezTo>
                        <a:pt x="38" y="498"/>
                        <a:pt x="29" y="471"/>
                        <a:pt x="24" y="434"/>
                      </a:cubicBezTo>
                      <a:cubicBezTo>
                        <a:pt x="18" y="382"/>
                        <a:pt x="23" y="311"/>
                        <a:pt x="37" y="222"/>
                      </a:cubicBezTo>
                      <a:cubicBezTo>
                        <a:pt x="54" y="118"/>
                        <a:pt x="44" y="62"/>
                        <a:pt x="37" y="25"/>
                      </a:cubicBezTo>
                      <a:cubicBezTo>
                        <a:pt x="36" y="15"/>
                        <a:pt x="34" y="7"/>
                        <a:pt x="34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9" y="8"/>
                        <a:pt x="30" y="16"/>
                        <a:pt x="32" y="26"/>
                      </a:cubicBezTo>
                      <a:cubicBezTo>
                        <a:pt x="39" y="63"/>
                        <a:pt x="49" y="118"/>
                        <a:pt x="32" y="221"/>
                      </a:cubicBezTo>
                      <a:cubicBezTo>
                        <a:pt x="0" y="419"/>
                        <a:pt x="23" y="491"/>
                        <a:pt x="49" y="516"/>
                      </a:cubicBezTo>
                      <a:cubicBezTo>
                        <a:pt x="56" y="523"/>
                        <a:pt x="62" y="526"/>
                        <a:pt x="67" y="52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12" name="Freeform 39">
                <a:extLst>
                  <a:ext uri="{FF2B5EF4-FFF2-40B4-BE49-F238E27FC236}">
                    <a16:creationId xmlns:a16="http://schemas.microsoft.com/office/drawing/2014/main" id="{AAB8358D-9C8B-419D-865D-86497B39D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774112" y="11537320"/>
                <a:ext cx="2605088" cy="1165225"/>
              </a:xfrm>
              <a:custGeom>
                <a:avLst/>
                <a:gdLst>
                  <a:gd name="T0" fmla="*/ 1019 w 1076"/>
                  <a:gd name="T1" fmla="*/ 433 h 481"/>
                  <a:gd name="T2" fmla="*/ 596 w 1076"/>
                  <a:gd name="T3" fmla="*/ 49 h 481"/>
                  <a:gd name="T4" fmla="*/ 737 w 1076"/>
                  <a:gd name="T5" fmla="*/ 305 h 481"/>
                  <a:gd name="T6" fmla="*/ 531 w 1076"/>
                  <a:gd name="T7" fmla="*/ 165 h 481"/>
                  <a:gd name="T8" fmla="*/ 469 w 1076"/>
                  <a:gd name="T9" fmla="*/ 307 h 481"/>
                  <a:gd name="T10" fmla="*/ 382 w 1076"/>
                  <a:gd name="T11" fmla="*/ 234 h 481"/>
                  <a:gd name="T12" fmla="*/ 277 w 1076"/>
                  <a:gd name="T13" fmla="*/ 320 h 481"/>
                  <a:gd name="T14" fmla="*/ 579 w 1076"/>
                  <a:gd name="T15" fmla="*/ 375 h 481"/>
                  <a:gd name="T16" fmla="*/ 100 w 1076"/>
                  <a:gd name="T17" fmla="*/ 344 h 481"/>
                  <a:gd name="T18" fmla="*/ 1019 w 1076"/>
                  <a:gd name="T19" fmla="*/ 433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6" h="481">
                    <a:moveTo>
                      <a:pt x="1019" y="433"/>
                    </a:moveTo>
                    <a:cubicBezTo>
                      <a:pt x="1076" y="425"/>
                      <a:pt x="721" y="0"/>
                      <a:pt x="596" y="49"/>
                    </a:cubicBezTo>
                    <a:cubicBezTo>
                      <a:pt x="427" y="115"/>
                      <a:pt x="588" y="238"/>
                      <a:pt x="737" y="305"/>
                    </a:cubicBezTo>
                    <a:cubicBezTo>
                      <a:pt x="885" y="373"/>
                      <a:pt x="569" y="186"/>
                      <a:pt x="531" y="165"/>
                    </a:cubicBezTo>
                    <a:cubicBezTo>
                      <a:pt x="398" y="91"/>
                      <a:pt x="229" y="234"/>
                      <a:pt x="469" y="307"/>
                    </a:cubicBezTo>
                    <a:cubicBezTo>
                      <a:pt x="709" y="380"/>
                      <a:pt x="495" y="257"/>
                      <a:pt x="382" y="234"/>
                    </a:cubicBezTo>
                    <a:cubicBezTo>
                      <a:pt x="269" y="211"/>
                      <a:pt x="31" y="221"/>
                      <a:pt x="277" y="320"/>
                    </a:cubicBezTo>
                    <a:cubicBezTo>
                      <a:pt x="523" y="420"/>
                      <a:pt x="646" y="409"/>
                      <a:pt x="579" y="375"/>
                    </a:cubicBezTo>
                    <a:cubicBezTo>
                      <a:pt x="513" y="342"/>
                      <a:pt x="0" y="232"/>
                      <a:pt x="100" y="344"/>
                    </a:cubicBezTo>
                    <a:cubicBezTo>
                      <a:pt x="199" y="457"/>
                      <a:pt x="679" y="481"/>
                      <a:pt x="1019" y="433"/>
                    </a:cubicBez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Freeform 72">
                <a:extLst>
                  <a:ext uri="{FF2B5EF4-FFF2-40B4-BE49-F238E27FC236}">
                    <a16:creationId xmlns:a16="http://schemas.microsoft.com/office/drawing/2014/main" id="{BCADAAD8-7216-477A-96EF-0BD88F4B3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70737" y="10684833"/>
                <a:ext cx="3392488" cy="1279525"/>
              </a:xfrm>
              <a:custGeom>
                <a:avLst/>
                <a:gdLst>
                  <a:gd name="T0" fmla="*/ 1361 w 1401"/>
                  <a:gd name="T1" fmla="*/ 528 h 528"/>
                  <a:gd name="T2" fmla="*/ 1267 w 1401"/>
                  <a:gd name="T3" fmla="*/ 457 h 528"/>
                  <a:gd name="T4" fmla="*/ 991 w 1401"/>
                  <a:gd name="T5" fmla="*/ 461 h 528"/>
                  <a:gd name="T6" fmla="*/ 1203 w 1401"/>
                  <a:gd name="T7" fmla="*/ 236 h 528"/>
                  <a:gd name="T8" fmla="*/ 938 w 1401"/>
                  <a:gd name="T9" fmla="*/ 300 h 528"/>
                  <a:gd name="T10" fmla="*/ 1056 w 1401"/>
                  <a:gd name="T11" fmla="*/ 114 h 528"/>
                  <a:gd name="T12" fmla="*/ 705 w 1401"/>
                  <a:gd name="T13" fmla="*/ 271 h 528"/>
                  <a:gd name="T14" fmla="*/ 804 w 1401"/>
                  <a:gd name="T15" fmla="*/ 76 h 528"/>
                  <a:gd name="T16" fmla="*/ 634 w 1401"/>
                  <a:gd name="T17" fmla="*/ 137 h 528"/>
                  <a:gd name="T18" fmla="*/ 564 w 1401"/>
                  <a:gd name="T19" fmla="*/ 54 h 528"/>
                  <a:gd name="T20" fmla="*/ 442 w 1401"/>
                  <a:gd name="T21" fmla="*/ 195 h 528"/>
                  <a:gd name="T22" fmla="*/ 150 w 1401"/>
                  <a:gd name="T23" fmla="*/ 32 h 528"/>
                  <a:gd name="T24" fmla="*/ 172 w 1401"/>
                  <a:gd name="T25" fmla="*/ 491 h 528"/>
                  <a:gd name="T26" fmla="*/ 1361 w 1401"/>
                  <a:gd name="T27" fmla="*/ 528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01" h="528">
                    <a:moveTo>
                      <a:pt x="1361" y="528"/>
                    </a:moveTo>
                    <a:cubicBezTo>
                      <a:pt x="1382" y="499"/>
                      <a:pt x="1358" y="473"/>
                      <a:pt x="1267" y="457"/>
                    </a:cubicBezTo>
                    <a:cubicBezTo>
                      <a:pt x="1167" y="439"/>
                      <a:pt x="1070" y="446"/>
                      <a:pt x="991" y="461"/>
                    </a:cubicBezTo>
                    <a:cubicBezTo>
                      <a:pt x="1180" y="377"/>
                      <a:pt x="1401" y="257"/>
                      <a:pt x="1203" y="236"/>
                    </a:cubicBezTo>
                    <a:cubicBezTo>
                      <a:pt x="1142" y="230"/>
                      <a:pt x="1046" y="257"/>
                      <a:pt x="938" y="300"/>
                    </a:cubicBezTo>
                    <a:cubicBezTo>
                      <a:pt x="1059" y="208"/>
                      <a:pt x="1127" y="131"/>
                      <a:pt x="1056" y="114"/>
                    </a:cubicBezTo>
                    <a:cubicBezTo>
                      <a:pt x="990" y="98"/>
                      <a:pt x="852" y="172"/>
                      <a:pt x="705" y="271"/>
                    </a:cubicBezTo>
                    <a:cubicBezTo>
                      <a:pt x="790" y="187"/>
                      <a:pt x="840" y="113"/>
                      <a:pt x="804" y="76"/>
                    </a:cubicBezTo>
                    <a:cubicBezTo>
                      <a:pt x="775" y="46"/>
                      <a:pt x="710" y="77"/>
                      <a:pt x="634" y="137"/>
                    </a:cubicBezTo>
                    <a:cubicBezTo>
                      <a:pt x="639" y="82"/>
                      <a:pt x="617" y="49"/>
                      <a:pt x="564" y="54"/>
                    </a:cubicBezTo>
                    <a:cubicBezTo>
                      <a:pt x="515" y="58"/>
                      <a:pt x="473" y="120"/>
                      <a:pt x="442" y="195"/>
                    </a:cubicBezTo>
                    <a:cubicBezTo>
                      <a:pt x="399" y="76"/>
                      <a:pt x="276" y="0"/>
                      <a:pt x="150" y="32"/>
                    </a:cubicBezTo>
                    <a:cubicBezTo>
                      <a:pt x="0" y="69"/>
                      <a:pt x="110" y="355"/>
                      <a:pt x="172" y="491"/>
                    </a:cubicBezTo>
                    <a:lnTo>
                      <a:pt x="1361" y="528"/>
                    </a:lnTo>
                    <a:close/>
                  </a:path>
                </a:pathLst>
              </a:custGeom>
              <a:solidFill>
                <a:srgbClr val="2805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Freeform 73">
                <a:extLst>
                  <a:ext uri="{FF2B5EF4-FFF2-40B4-BE49-F238E27FC236}">
                    <a16:creationId xmlns:a16="http://schemas.microsoft.com/office/drawing/2014/main" id="{EEB33CB4-24DC-415D-9204-997FA2901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304212" y="10521320"/>
                <a:ext cx="2160588" cy="2066925"/>
              </a:xfrm>
              <a:custGeom>
                <a:avLst/>
                <a:gdLst>
                  <a:gd name="T0" fmla="*/ 844 w 892"/>
                  <a:gd name="T1" fmla="*/ 853 h 853"/>
                  <a:gd name="T2" fmla="*/ 836 w 892"/>
                  <a:gd name="T3" fmla="*/ 575 h 853"/>
                  <a:gd name="T4" fmla="*/ 802 w 892"/>
                  <a:gd name="T5" fmla="*/ 472 h 853"/>
                  <a:gd name="T6" fmla="*/ 715 w 892"/>
                  <a:gd name="T7" fmla="*/ 433 h 853"/>
                  <a:gd name="T8" fmla="*/ 540 w 892"/>
                  <a:gd name="T9" fmla="*/ 230 h 853"/>
                  <a:gd name="T10" fmla="*/ 441 w 892"/>
                  <a:gd name="T11" fmla="*/ 204 h 853"/>
                  <a:gd name="T12" fmla="*/ 341 w 892"/>
                  <a:gd name="T13" fmla="*/ 98 h 853"/>
                  <a:gd name="T14" fmla="*/ 232 w 892"/>
                  <a:gd name="T15" fmla="*/ 124 h 853"/>
                  <a:gd name="T16" fmla="*/ 145 w 892"/>
                  <a:gd name="T17" fmla="*/ 22 h 853"/>
                  <a:gd name="T18" fmla="*/ 108 w 892"/>
                  <a:gd name="T19" fmla="*/ 169 h 853"/>
                  <a:gd name="T20" fmla="*/ 101 w 892"/>
                  <a:gd name="T21" fmla="*/ 295 h 853"/>
                  <a:gd name="T22" fmla="*/ 80 w 892"/>
                  <a:gd name="T23" fmla="*/ 388 h 853"/>
                  <a:gd name="T24" fmla="*/ 207 w 892"/>
                  <a:gd name="T25" fmla="*/ 511 h 853"/>
                  <a:gd name="T26" fmla="*/ 244 w 892"/>
                  <a:gd name="T27" fmla="*/ 621 h 853"/>
                  <a:gd name="T28" fmla="*/ 373 w 892"/>
                  <a:gd name="T29" fmla="*/ 662 h 853"/>
                  <a:gd name="T30" fmla="*/ 422 w 892"/>
                  <a:gd name="T31" fmla="*/ 765 h 853"/>
                  <a:gd name="T32" fmla="*/ 844 w 892"/>
                  <a:gd name="T33" fmla="*/ 853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92" h="853">
                    <a:moveTo>
                      <a:pt x="844" y="853"/>
                    </a:moveTo>
                    <a:cubicBezTo>
                      <a:pt x="839" y="833"/>
                      <a:pt x="765" y="677"/>
                      <a:pt x="836" y="575"/>
                    </a:cubicBezTo>
                    <a:cubicBezTo>
                      <a:pt x="892" y="495"/>
                      <a:pt x="846" y="474"/>
                      <a:pt x="802" y="472"/>
                    </a:cubicBezTo>
                    <a:cubicBezTo>
                      <a:pt x="758" y="470"/>
                      <a:pt x="716" y="488"/>
                      <a:pt x="715" y="433"/>
                    </a:cubicBezTo>
                    <a:cubicBezTo>
                      <a:pt x="709" y="251"/>
                      <a:pt x="589" y="116"/>
                      <a:pt x="540" y="230"/>
                    </a:cubicBezTo>
                    <a:cubicBezTo>
                      <a:pt x="514" y="291"/>
                      <a:pt x="443" y="250"/>
                      <a:pt x="441" y="204"/>
                    </a:cubicBezTo>
                    <a:cubicBezTo>
                      <a:pt x="436" y="106"/>
                      <a:pt x="388" y="43"/>
                      <a:pt x="341" y="98"/>
                    </a:cubicBezTo>
                    <a:cubicBezTo>
                      <a:pt x="294" y="152"/>
                      <a:pt x="249" y="164"/>
                      <a:pt x="232" y="124"/>
                    </a:cubicBezTo>
                    <a:cubicBezTo>
                      <a:pt x="215" y="84"/>
                      <a:pt x="225" y="0"/>
                      <a:pt x="145" y="22"/>
                    </a:cubicBezTo>
                    <a:cubicBezTo>
                      <a:pt x="113" y="30"/>
                      <a:pt x="82" y="107"/>
                      <a:pt x="108" y="169"/>
                    </a:cubicBezTo>
                    <a:cubicBezTo>
                      <a:pt x="123" y="205"/>
                      <a:pt x="198" y="302"/>
                      <a:pt x="101" y="295"/>
                    </a:cubicBezTo>
                    <a:cubicBezTo>
                      <a:pt x="0" y="288"/>
                      <a:pt x="30" y="364"/>
                      <a:pt x="80" y="388"/>
                    </a:cubicBezTo>
                    <a:cubicBezTo>
                      <a:pt x="99" y="396"/>
                      <a:pt x="267" y="491"/>
                      <a:pt x="207" y="511"/>
                    </a:cubicBezTo>
                    <a:cubicBezTo>
                      <a:pt x="136" y="534"/>
                      <a:pt x="152" y="598"/>
                      <a:pt x="244" y="621"/>
                    </a:cubicBezTo>
                    <a:cubicBezTo>
                      <a:pt x="287" y="631"/>
                      <a:pt x="385" y="626"/>
                      <a:pt x="373" y="662"/>
                    </a:cubicBezTo>
                    <a:cubicBezTo>
                      <a:pt x="362" y="697"/>
                      <a:pt x="357" y="750"/>
                      <a:pt x="422" y="765"/>
                    </a:cubicBezTo>
                    <a:cubicBezTo>
                      <a:pt x="534" y="791"/>
                      <a:pt x="835" y="811"/>
                      <a:pt x="844" y="853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Freeform 74">
                <a:extLst>
                  <a:ext uri="{FF2B5EF4-FFF2-40B4-BE49-F238E27FC236}">
                    <a16:creationId xmlns:a16="http://schemas.microsoft.com/office/drawing/2014/main" id="{A3C2D114-F961-4015-941F-450373006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75599" y="10718170"/>
                <a:ext cx="1935163" cy="2112962"/>
              </a:xfrm>
              <a:custGeom>
                <a:avLst/>
                <a:gdLst>
                  <a:gd name="T0" fmla="*/ 0 w 799"/>
                  <a:gd name="T1" fmla="*/ 0 h 872"/>
                  <a:gd name="T2" fmla="*/ 322 w 799"/>
                  <a:gd name="T3" fmla="*/ 459 h 872"/>
                  <a:gd name="T4" fmla="*/ 799 w 799"/>
                  <a:gd name="T5" fmla="*/ 872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9" h="872">
                    <a:moveTo>
                      <a:pt x="0" y="0"/>
                    </a:moveTo>
                    <a:cubicBezTo>
                      <a:pt x="0" y="0"/>
                      <a:pt x="74" y="265"/>
                      <a:pt x="322" y="459"/>
                    </a:cubicBezTo>
                    <a:cubicBezTo>
                      <a:pt x="570" y="653"/>
                      <a:pt x="681" y="720"/>
                      <a:pt x="799" y="872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Freeform 75">
                <a:extLst>
                  <a:ext uri="{FF2B5EF4-FFF2-40B4-BE49-F238E27FC236}">
                    <a16:creationId xmlns:a16="http://schemas.microsoft.com/office/drawing/2014/main" id="{5BF2DEE7-E5E5-459C-934F-0E556B14D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588249" y="10970583"/>
                <a:ext cx="133350" cy="579437"/>
              </a:xfrm>
              <a:custGeom>
                <a:avLst/>
                <a:gdLst>
                  <a:gd name="T0" fmla="*/ 55 w 55"/>
                  <a:gd name="T1" fmla="*/ 0 h 239"/>
                  <a:gd name="T2" fmla="*/ 39 w 55"/>
                  <a:gd name="T3" fmla="*/ 2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5" h="239">
                    <a:moveTo>
                      <a:pt x="55" y="0"/>
                    </a:moveTo>
                    <a:cubicBezTo>
                      <a:pt x="55" y="0"/>
                      <a:pt x="0" y="141"/>
                      <a:pt x="39" y="239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Freeform 76">
                <a:extLst>
                  <a:ext uri="{FF2B5EF4-FFF2-40B4-BE49-F238E27FC236}">
                    <a16:creationId xmlns:a16="http://schemas.microsoft.com/office/drawing/2014/main" id="{307A0475-C098-4364-8DCD-5B1D366818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72437" y="11362695"/>
                <a:ext cx="620713" cy="230187"/>
              </a:xfrm>
              <a:custGeom>
                <a:avLst/>
                <a:gdLst>
                  <a:gd name="T0" fmla="*/ 0 w 256"/>
                  <a:gd name="T1" fmla="*/ 0 h 95"/>
                  <a:gd name="T2" fmla="*/ 256 w 256"/>
                  <a:gd name="T3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6" h="95">
                    <a:moveTo>
                      <a:pt x="0" y="0"/>
                    </a:moveTo>
                    <a:cubicBezTo>
                      <a:pt x="0" y="0"/>
                      <a:pt x="146" y="11"/>
                      <a:pt x="256" y="95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Freeform 77">
                <a:extLst>
                  <a:ext uri="{FF2B5EF4-FFF2-40B4-BE49-F238E27FC236}">
                    <a16:creationId xmlns:a16="http://schemas.microsoft.com/office/drawing/2014/main" id="{66B380EA-E601-4685-8DB4-DBD91E8AD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965949" y="11186483"/>
                <a:ext cx="131763" cy="819150"/>
              </a:xfrm>
              <a:custGeom>
                <a:avLst/>
                <a:gdLst>
                  <a:gd name="T0" fmla="*/ 36 w 54"/>
                  <a:gd name="T1" fmla="*/ 0 h 338"/>
                  <a:gd name="T2" fmla="*/ 0 w 54"/>
                  <a:gd name="T3" fmla="*/ 338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4" h="338">
                    <a:moveTo>
                      <a:pt x="36" y="0"/>
                    </a:moveTo>
                    <a:cubicBezTo>
                      <a:pt x="36" y="0"/>
                      <a:pt x="54" y="70"/>
                      <a:pt x="0" y="338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Freeform 78">
                <a:extLst>
                  <a:ext uri="{FF2B5EF4-FFF2-40B4-BE49-F238E27FC236}">
                    <a16:creationId xmlns:a16="http://schemas.microsoft.com/office/drawing/2014/main" id="{F54A4AEC-6360-493B-BC7B-D65709FB8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827962" y="11831008"/>
                <a:ext cx="681038" cy="52387"/>
              </a:xfrm>
              <a:custGeom>
                <a:avLst/>
                <a:gdLst>
                  <a:gd name="T0" fmla="*/ 0 w 281"/>
                  <a:gd name="T1" fmla="*/ 22 h 22"/>
                  <a:gd name="T2" fmla="*/ 281 w 281"/>
                  <a:gd name="T3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81" h="22">
                    <a:moveTo>
                      <a:pt x="0" y="22"/>
                    </a:moveTo>
                    <a:cubicBezTo>
                      <a:pt x="0" y="22"/>
                      <a:pt x="227" y="0"/>
                      <a:pt x="281" y="15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79">
                <a:extLst>
                  <a:ext uri="{FF2B5EF4-FFF2-40B4-BE49-F238E27FC236}">
                    <a16:creationId xmlns:a16="http://schemas.microsoft.com/office/drawing/2014/main" id="{12E60AD7-E47A-4835-9E8E-D7CE1176F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12024" y="12162795"/>
                <a:ext cx="704850" cy="120650"/>
              </a:xfrm>
              <a:custGeom>
                <a:avLst/>
                <a:gdLst>
                  <a:gd name="T0" fmla="*/ 0 w 291"/>
                  <a:gd name="T1" fmla="*/ 40 h 50"/>
                  <a:gd name="T2" fmla="*/ 291 w 291"/>
                  <a:gd name="T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91" h="50">
                    <a:moveTo>
                      <a:pt x="0" y="40"/>
                    </a:moveTo>
                    <a:cubicBezTo>
                      <a:pt x="0" y="40"/>
                      <a:pt x="183" y="0"/>
                      <a:pt x="291" y="50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Freeform 96">
                <a:extLst>
                  <a:ext uri="{FF2B5EF4-FFF2-40B4-BE49-F238E27FC236}">
                    <a16:creationId xmlns:a16="http://schemas.microsoft.com/office/drawing/2014/main" id="{DC9834F5-5C28-492A-A003-5CA2B5CE8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61212" y="11294433"/>
                <a:ext cx="160338" cy="127000"/>
              </a:xfrm>
              <a:custGeom>
                <a:avLst/>
                <a:gdLst>
                  <a:gd name="T0" fmla="*/ 66 w 66"/>
                  <a:gd name="T1" fmla="*/ 52 h 52"/>
                  <a:gd name="T2" fmla="*/ 40 w 66"/>
                  <a:gd name="T3" fmla="*/ 12 h 52"/>
                  <a:gd name="T4" fmla="*/ 7 w 66"/>
                  <a:gd name="T5" fmla="*/ 5 h 52"/>
                  <a:gd name="T6" fmla="*/ 15 w 66"/>
                  <a:gd name="T7" fmla="*/ 31 h 52"/>
                  <a:gd name="T8" fmla="*/ 66 w 66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2">
                    <a:moveTo>
                      <a:pt x="66" y="52"/>
                    </a:moveTo>
                    <a:cubicBezTo>
                      <a:pt x="66" y="52"/>
                      <a:pt x="61" y="29"/>
                      <a:pt x="40" y="12"/>
                    </a:cubicBezTo>
                    <a:cubicBezTo>
                      <a:pt x="32" y="6"/>
                      <a:pt x="13" y="0"/>
                      <a:pt x="7" y="5"/>
                    </a:cubicBezTo>
                    <a:cubicBezTo>
                      <a:pt x="0" y="10"/>
                      <a:pt x="4" y="22"/>
                      <a:pt x="15" y="31"/>
                    </a:cubicBezTo>
                    <a:cubicBezTo>
                      <a:pt x="36" y="48"/>
                      <a:pt x="66" y="52"/>
                      <a:pt x="66" y="52"/>
                    </a:cubicBezTo>
                    <a:close/>
                  </a:path>
                </a:pathLst>
              </a:custGeom>
              <a:solidFill>
                <a:srgbClr val="B0B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Freeform 99">
                <a:extLst>
                  <a:ext uri="{FF2B5EF4-FFF2-40B4-BE49-F238E27FC236}">
                    <a16:creationId xmlns:a16="http://schemas.microsoft.com/office/drawing/2014/main" id="{C2365945-0D65-44C3-AD7E-AAFC90EF2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00874" y="11288083"/>
                <a:ext cx="158750" cy="139700"/>
              </a:xfrm>
              <a:custGeom>
                <a:avLst/>
                <a:gdLst>
                  <a:gd name="T0" fmla="*/ 1 w 66"/>
                  <a:gd name="T1" fmla="*/ 58 h 58"/>
                  <a:gd name="T2" fmla="*/ 54 w 66"/>
                  <a:gd name="T3" fmla="*/ 30 h 58"/>
                  <a:gd name="T4" fmla="*/ 56 w 66"/>
                  <a:gd name="T5" fmla="*/ 4 h 58"/>
                  <a:gd name="T6" fmla="*/ 20 w 66"/>
                  <a:gd name="T7" fmla="*/ 16 h 58"/>
                  <a:gd name="T8" fmla="*/ 1 w 66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8">
                    <a:moveTo>
                      <a:pt x="1" y="58"/>
                    </a:moveTo>
                    <a:cubicBezTo>
                      <a:pt x="1" y="58"/>
                      <a:pt x="34" y="49"/>
                      <a:pt x="54" y="30"/>
                    </a:cubicBezTo>
                    <a:cubicBezTo>
                      <a:pt x="61" y="23"/>
                      <a:pt x="66" y="8"/>
                      <a:pt x="56" y="4"/>
                    </a:cubicBezTo>
                    <a:cubicBezTo>
                      <a:pt x="47" y="0"/>
                      <a:pt x="31" y="6"/>
                      <a:pt x="20" y="16"/>
                    </a:cubicBezTo>
                    <a:cubicBezTo>
                      <a:pt x="0" y="36"/>
                      <a:pt x="1" y="58"/>
                      <a:pt x="1" y="58"/>
                    </a:cubicBezTo>
                    <a:close/>
                  </a:path>
                </a:pathLst>
              </a:custGeom>
              <a:solidFill>
                <a:srgbClr val="B0B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23" name="Group 522">
                <a:extLst>
                  <a:ext uri="{FF2B5EF4-FFF2-40B4-BE49-F238E27FC236}">
                    <a16:creationId xmlns:a16="http://schemas.microsoft.com/office/drawing/2014/main" id="{7F8B2795-3836-4230-B1A4-F1CA2FDE1756}"/>
                  </a:ext>
                </a:extLst>
              </p:cNvPr>
              <p:cNvGrpSpPr/>
              <p:nvPr/>
            </p:nvGrpSpPr>
            <p:grpSpPr>
              <a:xfrm>
                <a:off x="-8054974" y="9498970"/>
                <a:ext cx="1189037" cy="2079625"/>
                <a:chOff x="-8054974" y="9498970"/>
                <a:chExt cx="1189037" cy="2079625"/>
              </a:xfrm>
            </p:grpSpPr>
            <p:sp>
              <p:nvSpPr>
                <p:cNvPr id="566" name="Freeform 80">
                  <a:extLst>
                    <a:ext uri="{FF2B5EF4-FFF2-40B4-BE49-F238E27FC236}">
                      <a16:creationId xmlns:a16="http://schemas.microsoft.com/office/drawing/2014/main" id="{84837665-AB58-4D77-8214-AEA2E551CE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61262" y="9635495"/>
                  <a:ext cx="671513" cy="1943100"/>
                </a:xfrm>
                <a:custGeom>
                  <a:avLst/>
                  <a:gdLst>
                    <a:gd name="T0" fmla="*/ 233 w 277"/>
                    <a:gd name="T1" fmla="*/ 802 h 802"/>
                    <a:gd name="T2" fmla="*/ 7 w 277"/>
                    <a:gd name="T3" fmla="*/ 0 h 802"/>
                    <a:gd name="T4" fmla="*/ 0 w 277"/>
                    <a:gd name="T5" fmla="*/ 6 h 802"/>
                    <a:gd name="T6" fmla="*/ 224 w 277"/>
                    <a:gd name="T7" fmla="*/ 801 h 802"/>
                    <a:gd name="T8" fmla="*/ 233 w 277"/>
                    <a:gd name="T9" fmla="*/ 802 h 8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7" h="802">
                      <a:moveTo>
                        <a:pt x="233" y="802"/>
                      </a:moveTo>
                      <a:cubicBezTo>
                        <a:pt x="277" y="315"/>
                        <a:pt x="10" y="3"/>
                        <a:pt x="7" y="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3" y="9"/>
                        <a:pt x="267" y="319"/>
                        <a:pt x="224" y="801"/>
                      </a:cubicBezTo>
                      <a:lnTo>
                        <a:pt x="233" y="802"/>
                      </a:ln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7" name="Freeform 81">
                  <a:extLst>
                    <a:ext uri="{FF2B5EF4-FFF2-40B4-BE49-F238E27FC236}">
                      <a16:creationId xmlns:a16="http://schemas.microsoft.com/office/drawing/2014/main" id="{6A7199C8-EC36-4B8B-B9BF-A0F82D2C32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85087" y="9498970"/>
                  <a:ext cx="155575" cy="165100"/>
                </a:xfrm>
                <a:custGeom>
                  <a:avLst/>
                  <a:gdLst>
                    <a:gd name="T0" fmla="*/ 64 w 64"/>
                    <a:gd name="T1" fmla="*/ 68 h 68"/>
                    <a:gd name="T2" fmla="*/ 40 w 64"/>
                    <a:gd name="T3" fmla="*/ 16 h 68"/>
                    <a:gd name="T4" fmla="*/ 7 w 64"/>
                    <a:gd name="T5" fmla="*/ 7 h 68"/>
                    <a:gd name="T6" fmla="*/ 14 w 64"/>
                    <a:gd name="T7" fmla="*/ 41 h 68"/>
                    <a:gd name="T8" fmla="*/ 64 w 64"/>
                    <a:gd name="T9" fmla="*/ 6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8">
                      <a:moveTo>
                        <a:pt x="64" y="68"/>
                      </a:moveTo>
                      <a:cubicBezTo>
                        <a:pt x="64" y="68"/>
                        <a:pt x="60" y="38"/>
                        <a:pt x="40" y="16"/>
                      </a:cubicBezTo>
                      <a:cubicBezTo>
                        <a:pt x="33" y="8"/>
                        <a:pt x="14" y="0"/>
                        <a:pt x="7" y="7"/>
                      </a:cubicBezTo>
                      <a:cubicBezTo>
                        <a:pt x="0" y="14"/>
                        <a:pt x="3" y="30"/>
                        <a:pt x="14" y="41"/>
                      </a:cubicBezTo>
                      <a:cubicBezTo>
                        <a:pt x="34" y="62"/>
                        <a:pt x="64" y="68"/>
                        <a:pt x="64" y="6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8" name="Freeform 82">
                  <a:extLst>
                    <a:ext uri="{FF2B5EF4-FFF2-40B4-BE49-F238E27FC236}">
                      <a16:creationId xmlns:a16="http://schemas.microsoft.com/office/drawing/2014/main" id="{2758B35C-F395-4704-9B37-EDCC96EEA6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43812" y="9698995"/>
                  <a:ext cx="182563" cy="93662"/>
                </a:xfrm>
                <a:custGeom>
                  <a:avLst/>
                  <a:gdLst>
                    <a:gd name="T0" fmla="*/ 75 w 75"/>
                    <a:gd name="T1" fmla="*/ 28 h 39"/>
                    <a:gd name="T2" fmla="*/ 31 w 75"/>
                    <a:gd name="T3" fmla="*/ 3 h 39"/>
                    <a:gd name="T4" fmla="*/ 2 w 75"/>
                    <a:gd name="T5" fmla="*/ 12 h 39"/>
                    <a:gd name="T6" fmla="*/ 24 w 75"/>
                    <a:gd name="T7" fmla="*/ 33 h 39"/>
                    <a:gd name="T8" fmla="*/ 75 w 75"/>
                    <a:gd name="T9" fmla="*/ 28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" h="39">
                      <a:moveTo>
                        <a:pt x="75" y="28"/>
                      </a:moveTo>
                      <a:cubicBezTo>
                        <a:pt x="75" y="28"/>
                        <a:pt x="57" y="8"/>
                        <a:pt x="31" y="3"/>
                      </a:cubicBezTo>
                      <a:cubicBezTo>
                        <a:pt x="21" y="0"/>
                        <a:pt x="4" y="4"/>
                        <a:pt x="2" y="12"/>
                      </a:cubicBezTo>
                      <a:cubicBezTo>
                        <a:pt x="0" y="20"/>
                        <a:pt x="11" y="30"/>
                        <a:pt x="24" y="33"/>
                      </a:cubicBezTo>
                      <a:cubicBezTo>
                        <a:pt x="51" y="39"/>
                        <a:pt x="75" y="28"/>
                        <a:pt x="75" y="2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9" name="Freeform 83">
                  <a:extLst>
                    <a:ext uri="{FF2B5EF4-FFF2-40B4-BE49-F238E27FC236}">
                      <a16:creationId xmlns:a16="http://schemas.microsoft.com/office/drawing/2014/main" id="{BA202A7D-518D-49D3-9AE3-473DC00B33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15224" y="9906958"/>
                  <a:ext cx="155575" cy="82550"/>
                </a:xfrm>
                <a:custGeom>
                  <a:avLst/>
                  <a:gdLst>
                    <a:gd name="T0" fmla="*/ 64 w 64"/>
                    <a:gd name="T1" fmla="*/ 18 h 34"/>
                    <a:gd name="T2" fmla="*/ 24 w 64"/>
                    <a:gd name="T3" fmla="*/ 0 h 34"/>
                    <a:gd name="T4" fmla="*/ 1 w 64"/>
                    <a:gd name="T5" fmla="*/ 15 h 34"/>
                    <a:gd name="T6" fmla="*/ 22 w 64"/>
                    <a:gd name="T7" fmla="*/ 33 h 34"/>
                    <a:gd name="T8" fmla="*/ 64 w 64"/>
                    <a:gd name="T9" fmla="*/ 18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34">
                      <a:moveTo>
                        <a:pt x="64" y="18"/>
                      </a:moveTo>
                      <a:cubicBezTo>
                        <a:pt x="64" y="18"/>
                        <a:pt x="47" y="1"/>
                        <a:pt x="24" y="0"/>
                      </a:cubicBezTo>
                      <a:cubicBezTo>
                        <a:pt x="16" y="0"/>
                        <a:pt x="1" y="6"/>
                        <a:pt x="1" y="15"/>
                      </a:cubicBezTo>
                      <a:cubicBezTo>
                        <a:pt x="0" y="24"/>
                        <a:pt x="10" y="32"/>
                        <a:pt x="22" y="33"/>
                      </a:cubicBezTo>
                      <a:cubicBezTo>
                        <a:pt x="45" y="34"/>
                        <a:pt x="64" y="18"/>
                        <a:pt x="64" y="1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0" name="Freeform 84">
                  <a:extLst>
                    <a:ext uri="{FF2B5EF4-FFF2-40B4-BE49-F238E27FC236}">
                      <a16:creationId xmlns:a16="http://schemas.microsoft.com/office/drawing/2014/main" id="{6AD327E9-E5B1-41C4-A3D2-D18D813D62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488237" y="9616445"/>
                  <a:ext cx="101600" cy="147637"/>
                </a:xfrm>
                <a:custGeom>
                  <a:avLst/>
                  <a:gdLst>
                    <a:gd name="T0" fmla="*/ 7 w 42"/>
                    <a:gd name="T1" fmla="*/ 61 h 61"/>
                    <a:gd name="T2" fmla="*/ 39 w 42"/>
                    <a:gd name="T3" fmla="*/ 31 h 61"/>
                    <a:gd name="T4" fmla="*/ 34 w 42"/>
                    <a:gd name="T5" fmla="*/ 4 h 61"/>
                    <a:gd name="T6" fmla="*/ 9 w 42"/>
                    <a:gd name="T7" fmla="*/ 17 h 61"/>
                    <a:gd name="T8" fmla="*/ 7 w 42"/>
                    <a:gd name="T9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2" h="61">
                      <a:moveTo>
                        <a:pt x="7" y="61"/>
                      </a:moveTo>
                      <a:cubicBezTo>
                        <a:pt x="7" y="61"/>
                        <a:pt x="29" y="51"/>
                        <a:pt x="39" y="31"/>
                      </a:cubicBezTo>
                      <a:cubicBezTo>
                        <a:pt x="42" y="23"/>
                        <a:pt x="42" y="7"/>
                        <a:pt x="34" y="4"/>
                      </a:cubicBezTo>
                      <a:cubicBezTo>
                        <a:pt x="25" y="0"/>
                        <a:pt x="14" y="6"/>
                        <a:pt x="9" y="17"/>
                      </a:cubicBezTo>
                      <a:cubicBezTo>
                        <a:pt x="0" y="38"/>
                        <a:pt x="7" y="61"/>
                        <a:pt x="7" y="61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1" name="Freeform 85">
                  <a:extLst>
                    <a:ext uri="{FF2B5EF4-FFF2-40B4-BE49-F238E27FC236}">
                      <a16:creationId xmlns:a16="http://schemas.microsoft.com/office/drawing/2014/main" id="{BD9D9471-FBF7-4601-A54D-D799687124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08812" y="10878508"/>
                  <a:ext cx="138113" cy="125412"/>
                </a:xfrm>
                <a:custGeom>
                  <a:avLst/>
                  <a:gdLst>
                    <a:gd name="T0" fmla="*/ 0 w 57"/>
                    <a:gd name="T1" fmla="*/ 52 h 52"/>
                    <a:gd name="T2" fmla="*/ 43 w 57"/>
                    <a:gd name="T3" fmla="*/ 33 h 52"/>
                    <a:gd name="T4" fmla="*/ 51 w 57"/>
                    <a:gd name="T5" fmla="*/ 6 h 52"/>
                    <a:gd name="T6" fmla="*/ 23 w 57"/>
                    <a:gd name="T7" fmla="*/ 11 h 52"/>
                    <a:gd name="T8" fmla="*/ 0 w 57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2">
                      <a:moveTo>
                        <a:pt x="0" y="52"/>
                      </a:moveTo>
                      <a:cubicBezTo>
                        <a:pt x="0" y="52"/>
                        <a:pt x="25" y="50"/>
                        <a:pt x="43" y="33"/>
                      </a:cubicBezTo>
                      <a:cubicBezTo>
                        <a:pt x="50" y="27"/>
                        <a:pt x="57" y="12"/>
                        <a:pt x="51" y="6"/>
                      </a:cubicBezTo>
                      <a:cubicBezTo>
                        <a:pt x="46" y="0"/>
                        <a:pt x="33" y="2"/>
                        <a:pt x="23" y="11"/>
                      </a:cubicBezTo>
                      <a:cubicBezTo>
                        <a:pt x="5" y="27"/>
                        <a:pt x="0" y="52"/>
                        <a:pt x="0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2" name="Freeform 86">
                  <a:extLst>
                    <a:ext uri="{FF2B5EF4-FFF2-40B4-BE49-F238E27FC236}">
                      <a16:creationId xmlns:a16="http://schemas.microsoft.com/office/drawing/2014/main" id="{E94F0186-8405-456C-A1D7-825DC59FA2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62824" y="9764083"/>
                  <a:ext cx="114300" cy="180975"/>
                </a:xfrm>
                <a:custGeom>
                  <a:avLst/>
                  <a:gdLst>
                    <a:gd name="T0" fmla="*/ 6 w 47"/>
                    <a:gd name="T1" fmla="*/ 75 h 75"/>
                    <a:gd name="T2" fmla="*/ 42 w 47"/>
                    <a:gd name="T3" fmla="*/ 36 h 75"/>
                    <a:gd name="T4" fmla="*/ 38 w 47"/>
                    <a:gd name="T5" fmla="*/ 4 h 75"/>
                    <a:gd name="T6" fmla="*/ 12 w 47"/>
                    <a:gd name="T7" fmla="*/ 22 h 75"/>
                    <a:gd name="T8" fmla="*/ 6 w 47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7" h="75">
                      <a:moveTo>
                        <a:pt x="6" y="75"/>
                      </a:moveTo>
                      <a:cubicBezTo>
                        <a:pt x="6" y="75"/>
                        <a:pt x="31" y="61"/>
                        <a:pt x="42" y="36"/>
                      </a:cubicBezTo>
                      <a:cubicBezTo>
                        <a:pt x="46" y="27"/>
                        <a:pt x="47" y="8"/>
                        <a:pt x="38" y="4"/>
                      </a:cubicBezTo>
                      <a:cubicBezTo>
                        <a:pt x="30" y="0"/>
                        <a:pt x="18" y="9"/>
                        <a:pt x="12" y="22"/>
                      </a:cubicBezTo>
                      <a:cubicBezTo>
                        <a:pt x="0" y="47"/>
                        <a:pt x="6" y="75"/>
                        <a:pt x="6" y="75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3" name="Freeform 87">
                  <a:extLst>
                    <a:ext uri="{FF2B5EF4-FFF2-40B4-BE49-F238E27FC236}">
                      <a16:creationId xmlns:a16="http://schemas.microsoft.com/office/drawing/2014/main" id="{E9C1D94E-92B0-4D83-8AE7-37E639A936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62812" y="9981570"/>
                  <a:ext cx="119063" cy="161925"/>
                </a:xfrm>
                <a:custGeom>
                  <a:avLst/>
                  <a:gdLst>
                    <a:gd name="T0" fmla="*/ 9 w 49"/>
                    <a:gd name="T1" fmla="*/ 67 h 67"/>
                    <a:gd name="T2" fmla="*/ 46 w 49"/>
                    <a:gd name="T3" fmla="*/ 35 h 67"/>
                    <a:gd name="T4" fmla="*/ 38 w 49"/>
                    <a:gd name="T5" fmla="*/ 5 h 67"/>
                    <a:gd name="T6" fmla="*/ 10 w 49"/>
                    <a:gd name="T7" fmla="*/ 18 h 67"/>
                    <a:gd name="T8" fmla="*/ 9 w 49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67">
                      <a:moveTo>
                        <a:pt x="9" y="67"/>
                      </a:moveTo>
                      <a:cubicBezTo>
                        <a:pt x="9" y="67"/>
                        <a:pt x="36" y="57"/>
                        <a:pt x="46" y="35"/>
                      </a:cubicBezTo>
                      <a:cubicBezTo>
                        <a:pt x="49" y="27"/>
                        <a:pt x="48" y="10"/>
                        <a:pt x="38" y="5"/>
                      </a:cubicBezTo>
                      <a:cubicBezTo>
                        <a:pt x="28" y="0"/>
                        <a:pt x="15" y="7"/>
                        <a:pt x="10" y="18"/>
                      </a:cubicBezTo>
                      <a:cubicBezTo>
                        <a:pt x="0" y="40"/>
                        <a:pt x="9" y="67"/>
                        <a:pt x="9" y="67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4" name="Freeform 88">
                  <a:extLst>
                    <a:ext uri="{FF2B5EF4-FFF2-40B4-BE49-F238E27FC236}">
                      <a16:creationId xmlns:a16="http://schemas.microsoft.com/office/drawing/2014/main" id="{74C38AB0-D9B4-4C17-BEB9-7967C8A65D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427912" y="10073645"/>
                  <a:ext cx="169863" cy="106362"/>
                </a:xfrm>
                <a:custGeom>
                  <a:avLst/>
                  <a:gdLst>
                    <a:gd name="T0" fmla="*/ 70 w 70"/>
                    <a:gd name="T1" fmla="*/ 30 h 44"/>
                    <a:gd name="T2" fmla="*/ 30 w 70"/>
                    <a:gd name="T3" fmla="*/ 2 h 44"/>
                    <a:gd name="T4" fmla="*/ 2 w 70"/>
                    <a:gd name="T5" fmla="*/ 15 h 44"/>
                    <a:gd name="T6" fmla="*/ 23 w 70"/>
                    <a:gd name="T7" fmla="*/ 39 h 44"/>
                    <a:gd name="T8" fmla="*/ 70 w 70"/>
                    <a:gd name="T9" fmla="*/ 3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0" h="44">
                      <a:moveTo>
                        <a:pt x="70" y="30"/>
                      </a:moveTo>
                      <a:cubicBezTo>
                        <a:pt x="70" y="30"/>
                        <a:pt x="55" y="7"/>
                        <a:pt x="30" y="2"/>
                      </a:cubicBezTo>
                      <a:cubicBezTo>
                        <a:pt x="22" y="0"/>
                        <a:pt x="5" y="5"/>
                        <a:pt x="2" y="15"/>
                      </a:cubicBezTo>
                      <a:cubicBezTo>
                        <a:pt x="0" y="26"/>
                        <a:pt x="10" y="36"/>
                        <a:pt x="23" y="39"/>
                      </a:cubicBezTo>
                      <a:cubicBezTo>
                        <a:pt x="47" y="44"/>
                        <a:pt x="70" y="30"/>
                        <a:pt x="70" y="3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5" name="Freeform 89">
                  <a:extLst>
                    <a:ext uri="{FF2B5EF4-FFF2-40B4-BE49-F238E27FC236}">
                      <a16:creationId xmlns:a16="http://schemas.microsoft.com/office/drawing/2014/main" id="{D5B57273-2D54-4118-9DE8-8ABE24D5F0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73912" y="10888033"/>
                  <a:ext cx="157163" cy="125412"/>
                </a:xfrm>
                <a:custGeom>
                  <a:avLst/>
                  <a:gdLst>
                    <a:gd name="T0" fmla="*/ 65 w 65"/>
                    <a:gd name="T1" fmla="*/ 52 h 52"/>
                    <a:gd name="T2" fmla="*/ 40 w 65"/>
                    <a:gd name="T3" fmla="*/ 12 h 52"/>
                    <a:gd name="T4" fmla="*/ 6 w 65"/>
                    <a:gd name="T5" fmla="*/ 5 h 52"/>
                    <a:gd name="T6" fmla="*/ 15 w 65"/>
                    <a:gd name="T7" fmla="*/ 31 h 52"/>
                    <a:gd name="T8" fmla="*/ 65 w 65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52">
                      <a:moveTo>
                        <a:pt x="65" y="52"/>
                      </a:moveTo>
                      <a:cubicBezTo>
                        <a:pt x="65" y="52"/>
                        <a:pt x="61" y="29"/>
                        <a:pt x="40" y="12"/>
                      </a:cubicBezTo>
                      <a:cubicBezTo>
                        <a:pt x="32" y="6"/>
                        <a:pt x="13" y="0"/>
                        <a:pt x="6" y="5"/>
                      </a:cubicBezTo>
                      <a:cubicBezTo>
                        <a:pt x="0" y="10"/>
                        <a:pt x="4" y="22"/>
                        <a:pt x="15" y="31"/>
                      </a:cubicBezTo>
                      <a:cubicBezTo>
                        <a:pt x="36" y="48"/>
                        <a:pt x="65" y="52"/>
                        <a:pt x="65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6" name="Freeform 90">
                  <a:extLst>
                    <a:ext uri="{FF2B5EF4-FFF2-40B4-BE49-F238E27FC236}">
                      <a16:creationId xmlns:a16="http://schemas.microsoft.com/office/drawing/2014/main" id="{32B63A02-9F38-4A5B-B888-CCA2C38D64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65987" y="10524495"/>
                  <a:ext cx="168275" cy="55562"/>
                </a:xfrm>
                <a:custGeom>
                  <a:avLst/>
                  <a:gdLst>
                    <a:gd name="T0" fmla="*/ 69 w 69"/>
                    <a:gd name="T1" fmla="*/ 12 h 23"/>
                    <a:gd name="T2" fmla="*/ 32 w 69"/>
                    <a:gd name="T3" fmla="*/ 1 h 23"/>
                    <a:gd name="T4" fmla="*/ 3 w 69"/>
                    <a:gd name="T5" fmla="*/ 12 h 23"/>
                    <a:gd name="T6" fmla="*/ 21 w 69"/>
                    <a:gd name="T7" fmla="*/ 23 h 23"/>
                    <a:gd name="T8" fmla="*/ 69 w 69"/>
                    <a:gd name="T9" fmla="*/ 1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23">
                      <a:moveTo>
                        <a:pt x="69" y="12"/>
                      </a:moveTo>
                      <a:cubicBezTo>
                        <a:pt x="69" y="12"/>
                        <a:pt x="55" y="1"/>
                        <a:pt x="32" y="1"/>
                      </a:cubicBezTo>
                      <a:cubicBezTo>
                        <a:pt x="23" y="0"/>
                        <a:pt x="6" y="5"/>
                        <a:pt x="3" y="12"/>
                      </a:cubicBezTo>
                      <a:cubicBezTo>
                        <a:pt x="0" y="18"/>
                        <a:pt x="9" y="23"/>
                        <a:pt x="21" y="23"/>
                      </a:cubicBezTo>
                      <a:cubicBezTo>
                        <a:pt x="45" y="23"/>
                        <a:pt x="69" y="12"/>
                        <a:pt x="69" y="1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7" name="Freeform 91">
                  <a:extLst>
                    <a:ext uri="{FF2B5EF4-FFF2-40B4-BE49-F238E27FC236}">
                      <a16:creationId xmlns:a16="http://schemas.microsoft.com/office/drawing/2014/main" id="{38ED5E6C-214F-4427-9376-572FCA4BC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61212" y="10211758"/>
                  <a:ext cx="68263" cy="146050"/>
                </a:xfrm>
                <a:custGeom>
                  <a:avLst/>
                  <a:gdLst>
                    <a:gd name="T0" fmla="*/ 4 w 28"/>
                    <a:gd name="T1" fmla="*/ 60 h 60"/>
                    <a:gd name="T2" fmla="*/ 25 w 28"/>
                    <a:gd name="T3" fmla="*/ 32 h 60"/>
                    <a:gd name="T4" fmla="*/ 23 w 28"/>
                    <a:gd name="T5" fmla="*/ 5 h 60"/>
                    <a:gd name="T6" fmla="*/ 7 w 28"/>
                    <a:gd name="T7" fmla="*/ 16 h 60"/>
                    <a:gd name="T8" fmla="*/ 4 w 28"/>
                    <a:gd name="T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60">
                      <a:moveTo>
                        <a:pt x="4" y="60"/>
                      </a:moveTo>
                      <a:cubicBezTo>
                        <a:pt x="4" y="60"/>
                        <a:pt x="18" y="52"/>
                        <a:pt x="25" y="32"/>
                      </a:cubicBezTo>
                      <a:cubicBezTo>
                        <a:pt x="28" y="25"/>
                        <a:pt x="28" y="9"/>
                        <a:pt x="23" y="5"/>
                      </a:cubicBezTo>
                      <a:cubicBezTo>
                        <a:pt x="18" y="0"/>
                        <a:pt x="11" y="6"/>
                        <a:pt x="7" y="16"/>
                      </a:cubicBezTo>
                      <a:cubicBezTo>
                        <a:pt x="0" y="36"/>
                        <a:pt x="4" y="60"/>
                        <a:pt x="4" y="6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8" name="Freeform 92">
                  <a:extLst>
                    <a:ext uri="{FF2B5EF4-FFF2-40B4-BE49-F238E27FC236}">
                      <a16:creationId xmlns:a16="http://schemas.microsoft.com/office/drawing/2014/main" id="{32A0724D-E988-482D-A683-70FBE970EE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65974" y="10675308"/>
                  <a:ext cx="115888" cy="130175"/>
                </a:xfrm>
                <a:custGeom>
                  <a:avLst/>
                  <a:gdLst>
                    <a:gd name="T0" fmla="*/ 48 w 48"/>
                    <a:gd name="T1" fmla="*/ 50 h 54"/>
                    <a:gd name="T2" fmla="*/ 25 w 48"/>
                    <a:gd name="T3" fmla="*/ 7 h 54"/>
                    <a:gd name="T4" fmla="*/ 3 w 48"/>
                    <a:gd name="T5" fmla="*/ 9 h 54"/>
                    <a:gd name="T6" fmla="*/ 14 w 48"/>
                    <a:gd name="T7" fmla="*/ 40 h 54"/>
                    <a:gd name="T8" fmla="*/ 48 w 48"/>
                    <a:gd name="T9" fmla="*/ 5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54">
                      <a:moveTo>
                        <a:pt x="48" y="50"/>
                      </a:moveTo>
                      <a:cubicBezTo>
                        <a:pt x="48" y="50"/>
                        <a:pt x="41" y="22"/>
                        <a:pt x="25" y="7"/>
                      </a:cubicBezTo>
                      <a:cubicBezTo>
                        <a:pt x="19" y="2"/>
                        <a:pt x="6" y="0"/>
                        <a:pt x="3" y="9"/>
                      </a:cubicBezTo>
                      <a:cubicBezTo>
                        <a:pt x="0" y="18"/>
                        <a:pt x="5" y="32"/>
                        <a:pt x="14" y="40"/>
                      </a:cubicBezTo>
                      <a:cubicBezTo>
                        <a:pt x="30" y="54"/>
                        <a:pt x="48" y="50"/>
                        <a:pt x="48" y="5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9" name="Freeform 93">
                  <a:extLst>
                    <a:ext uri="{FF2B5EF4-FFF2-40B4-BE49-F238E27FC236}">
                      <a16:creationId xmlns:a16="http://schemas.microsoft.com/office/drawing/2014/main" id="{1CF29C99-76CF-415E-A8A4-B597CE7EB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08824" y="10413370"/>
                  <a:ext cx="147638" cy="149225"/>
                </a:xfrm>
                <a:custGeom>
                  <a:avLst/>
                  <a:gdLst>
                    <a:gd name="T0" fmla="*/ 3 w 61"/>
                    <a:gd name="T1" fmla="*/ 62 h 62"/>
                    <a:gd name="T2" fmla="*/ 52 w 61"/>
                    <a:gd name="T3" fmla="*/ 28 h 62"/>
                    <a:gd name="T4" fmla="*/ 51 w 61"/>
                    <a:gd name="T5" fmla="*/ 2 h 62"/>
                    <a:gd name="T6" fmla="*/ 17 w 61"/>
                    <a:gd name="T7" fmla="*/ 19 h 62"/>
                    <a:gd name="T8" fmla="*/ 3 w 61"/>
                    <a:gd name="T9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2">
                      <a:moveTo>
                        <a:pt x="3" y="62"/>
                      </a:moveTo>
                      <a:cubicBezTo>
                        <a:pt x="3" y="62"/>
                        <a:pt x="35" y="49"/>
                        <a:pt x="52" y="28"/>
                      </a:cubicBezTo>
                      <a:cubicBezTo>
                        <a:pt x="58" y="20"/>
                        <a:pt x="61" y="4"/>
                        <a:pt x="51" y="2"/>
                      </a:cubicBezTo>
                      <a:cubicBezTo>
                        <a:pt x="41" y="0"/>
                        <a:pt x="26" y="8"/>
                        <a:pt x="17" y="19"/>
                      </a:cubicBezTo>
                      <a:cubicBezTo>
                        <a:pt x="0" y="40"/>
                        <a:pt x="3" y="62"/>
                        <a:pt x="3" y="6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0" name="Freeform 94">
                  <a:extLst>
                    <a:ext uri="{FF2B5EF4-FFF2-40B4-BE49-F238E27FC236}">
                      <a16:creationId xmlns:a16="http://schemas.microsoft.com/office/drawing/2014/main" id="{8812382D-9DAA-4FEB-833F-ADD9FB2A3E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51674" y="10659433"/>
                  <a:ext cx="136525" cy="144462"/>
                </a:xfrm>
                <a:custGeom>
                  <a:avLst/>
                  <a:gdLst>
                    <a:gd name="T0" fmla="*/ 6 w 57"/>
                    <a:gd name="T1" fmla="*/ 59 h 59"/>
                    <a:gd name="T2" fmla="*/ 50 w 57"/>
                    <a:gd name="T3" fmla="*/ 26 h 59"/>
                    <a:gd name="T4" fmla="*/ 47 w 57"/>
                    <a:gd name="T5" fmla="*/ 3 h 59"/>
                    <a:gd name="T6" fmla="*/ 14 w 57"/>
                    <a:gd name="T7" fmla="*/ 19 h 59"/>
                    <a:gd name="T8" fmla="*/ 6 w 57"/>
                    <a:gd name="T9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6" y="59"/>
                      </a:moveTo>
                      <a:cubicBezTo>
                        <a:pt x="6" y="59"/>
                        <a:pt x="35" y="46"/>
                        <a:pt x="50" y="26"/>
                      </a:cubicBezTo>
                      <a:cubicBezTo>
                        <a:pt x="55" y="19"/>
                        <a:pt x="57" y="5"/>
                        <a:pt x="47" y="3"/>
                      </a:cubicBezTo>
                      <a:cubicBezTo>
                        <a:pt x="37" y="0"/>
                        <a:pt x="22" y="8"/>
                        <a:pt x="14" y="19"/>
                      </a:cubicBezTo>
                      <a:cubicBezTo>
                        <a:pt x="0" y="39"/>
                        <a:pt x="6" y="59"/>
                        <a:pt x="6" y="59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1" name="Freeform 95">
                  <a:extLst>
                    <a:ext uri="{FF2B5EF4-FFF2-40B4-BE49-F238E27FC236}">
                      <a16:creationId xmlns:a16="http://schemas.microsoft.com/office/drawing/2014/main" id="{47D1F5B1-F1F1-434A-8D2A-97AA317AF8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54974" y="9994270"/>
                  <a:ext cx="138113" cy="125412"/>
                </a:xfrm>
                <a:custGeom>
                  <a:avLst/>
                  <a:gdLst>
                    <a:gd name="T0" fmla="*/ 0 w 57"/>
                    <a:gd name="T1" fmla="*/ 52 h 52"/>
                    <a:gd name="T2" fmla="*/ 43 w 57"/>
                    <a:gd name="T3" fmla="*/ 33 h 52"/>
                    <a:gd name="T4" fmla="*/ 52 w 57"/>
                    <a:gd name="T5" fmla="*/ 6 h 52"/>
                    <a:gd name="T6" fmla="*/ 23 w 57"/>
                    <a:gd name="T7" fmla="*/ 11 h 52"/>
                    <a:gd name="T8" fmla="*/ 0 w 57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2">
                      <a:moveTo>
                        <a:pt x="0" y="52"/>
                      </a:moveTo>
                      <a:cubicBezTo>
                        <a:pt x="0" y="52"/>
                        <a:pt x="25" y="50"/>
                        <a:pt x="43" y="33"/>
                      </a:cubicBezTo>
                      <a:cubicBezTo>
                        <a:pt x="50" y="27"/>
                        <a:pt x="57" y="12"/>
                        <a:pt x="52" y="6"/>
                      </a:cubicBezTo>
                      <a:cubicBezTo>
                        <a:pt x="46" y="0"/>
                        <a:pt x="33" y="2"/>
                        <a:pt x="23" y="11"/>
                      </a:cubicBezTo>
                      <a:cubicBezTo>
                        <a:pt x="5" y="27"/>
                        <a:pt x="0" y="52"/>
                        <a:pt x="0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2" name="Freeform 97">
                  <a:extLst>
                    <a:ext uri="{FF2B5EF4-FFF2-40B4-BE49-F238E27FC236}">
                      <a16:creationId xmlns:a16="http://schemas.microsoft.com/office/drawing/2014/main" id="{389C700B-809B-4560-93FF-987D097A9F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46924" y="11126158"/>
                  <a:ext cx="150813" cy="92075"/>
                </a:xfrm>
                <a:custGeom>
                  <a:avLst/>
                  <a:gdLst>
                    <a:gd name="T0" fmla="*/ 62 w 62"/>
                    <a:gd name="T1" fmla="*/ 38 h 38"/>
                    <a:gd name="T2" fmla="*/ 36 w 62"/>
                    <a:gd name="T3" fmla="*/ 9 h 38"/>
                    <a:gd name="T4" fmla="*/ 5 w 62"/>
                    <a:gd name="T5" fmla="*/ 4 h 38"/>
                    <a:gd name="T6" fmla="*/ 15 w 62"/>
                    <a:gd name="T7" fmla="*/ 23 h 38"/>
                    <a:gd name="T8" fmla="*/ 62 w 62"/>
                    <a:gd name="T9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38">
                      <a:moveTo>
                        <a:pt x="62" y="38"/>
                      </a:moveTo>
                      <a:cubicBezTo>
                        <a:pt x="62" y="38"/>
                        <a:pt x="56" y="21"/>
                        <a:pt x="36" y="9"/>
                      </a:cubicBezTo>
                      <a:cubicBezTo>
                        <a:pt x="28" y="4"/>
                        <a:pt x="11" y="0"/>
                        <a:pt x="5" y="4"/>
                      </a:cubicBezTo>
                      <a:cubicBezTo>
                        <a:pt x="0" y="7"/>
                        <a:pt x="4" y="16"/>
                        <a:pt x="15" y="23"/>
                      </a:cubicBezTo>
                      <a:cubicBezTo>
                        <a:pt x="35" y="35"/>
                        <a:pt x="62" y="38"/>
                        <a:pt x="62" y="3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3" name="Freeform 98">
                  <a:extLst>
                    <a:ext uri="{FF2B5EF4-FFF2-40B4-BE49-F238E27FC236}">
                      <a16:creationId xmlns:a16="http://schemas.microsoft.com/office/drawing/2014/main" id="{AE7EA035-F542-4832-A25C-86EA93A73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43799" y="10326058"/>
                  <a:ext cx="133350" cy="98425"/>
                </a:xfrm>
                <a:custGeom>
                  <a:avLst/>
                  <a:gdLst>
                    <a:gd name="T0" fmla="*/ 55 w 55"/>
                    <a:gd name="T1" fmla="*/ 34 h 41"/>
                    <a:gd name="T2" fmla="*/ 19 w 55"/>
                    <a:gd name="T3" fmla="*/ 3 h 41"/>
                    <a:gd name="T4" fmla="*/ 0 w 55"/>
                    <a:gd name="T5" fmla="*/ 10 h 41"/>
                    <a:gd name="T6" fmla="*/ 20 w 55"/>
                    <a:gd name="T7" fmla="*/ 33 h 41"/>
                    <a:gd name="T8" fmla="*/ 55 w 55"/>
                    <a:gd name="T9" fmla="*/ 34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5" h="41">
                      <a:moveTo>
                        <a:pt x="55" y="34"/>
                      </a:moveTo>
                      <a:cubicBezTo>
                        <a:pt x="55" y="34"/>
                        <a:pt x="39" y="12"/>
                        <a:pt x="19" y="3"/>
                      </a:cubicBezTo>
                      <a:cubicBezTo>
                        <a:pt x="12" y="0"/>
                        <a:pt x="0" y="2"/>
                        <a:pt x="0" y="10"/>
                      </a:cubicBezTo>
                      <a:cubicBezTo>
                        <a:pt x="0" y="18"/>
                        <a:pt x="9" y="29"/>
                        <a:pt x="20" y="33"/>
                      </a:cubicBezTo>
                      <a:cubicBezTo>
                        <a:pt x="40" y="41"/>
                        <a:pt x="55" y="34"/>
                        <a:pt x="55" y="34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4" name="Freeform 100">
                  <a:extLst>
                    <a:ext uri="{FF2B5EF4-FFF2-40B4-BE49-F238E27FC236}">
                      <a16:creationId xmlns:a16="http://schemas.microsoft.com/office/drawing/2014/main" id="{48F900CB-EE73-4FF3-9ED1-D49C6C622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05637" y="11099170"/>
                  <a:ext cx="139700" cy="123825"/>
                </a:xfrm>
                <a:custGeom>
                  <a:avLst/>
                  <a:gdLst>
                    <a:gd name="T0" fmla="*/ 5 w 58"/>
                    <a:gd name="T1" fmla="*/ 51 h 51"/>
                    <a:gd name="T2" fmla="*/ 50 w 58"/>
                    <a:gd name="T3" fmla="*/ 25 h 51"/>
                    <a:gd name="T4" fmla="*/ 48 w 58"/>
                    <a:gd name="T5" fmla="*/ 3 h 51"/>
                    <a:gd name="T6" fmla="*/ 16 w 58"/>
                    <a:gd name="T7" fmla="*/ 14 h 51"/>
                    <a:gd name="T8" fmla="*/ 5 w 58"/>
                    <a:gd name="T9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" h="51">
                      <a:moveTo>
                        <a:pt x="5" y="51"/>
                      </a:moveTo>
                      <a:cubicBezTo>
                        <a:pt x="5" y="51"/>
                        <a:pt x="35" y="43"/>
                        <a:pt x="50" y="25"/>
                      </a:cubicBezTo>
                      <a:cubicBezTo>
                        <a:pt x="56" y="19"/>
                        <a:pt x="58" y="6"/>
                        <a:pt x="48" y="3"/>
                      </a:cubicBezTo>
                      <a:cubicBezTo>
                        <a:pt x="39" y="0"/>
                        <a:pt x="24" y="5"/>
                        <a:pt x="16" y="14"/>
                      </a:cubicBezTo>
                      <a:cubicBezTo>
                        <a:pt x="0" y="31"/>
                        <a:pt x="5" y="51"/>
                        <a:pt x="5" y="51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5" name="Freeform 101">
                  <a:extLst>
                    <a:ext uri="{FF2B5EF4-FFF2-40B4-BE49-F238E27FC236}">
                      <a16:creationId xmlns:a16="http://schemas.microsoft.com/office/drawing/2014/main" id="{7D37152A-3F54-4846-9EC8-E6F496A9BA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50124" y="10291133"/>
                  <a:ext cx="195263" cy="87312"/>
                </a:xfrm>
                <a:custGeom>
                  <a:avLst/>
                  <a:gdLst>
                    <a:gd name="T0" fmla="*/ 81 w 81"/>
                    <a:gd name="T1" fmla="*/ 34 h 36"/>
                    <a:gd name="T2" fmla="*/ 40 w 81"/>
                    <a:gd name="T3" fmla="*/ 5 h 36"/>
                    <a:gd name="T4" fmla="*/ 5 w 81"/>
                    <a:gd name="T5" fmla="*/ 6 h 36"/>
                    <a:gd name="T6" fmla="*/ 23 w 81"/>
                    <a:gd name="T7" fmla="*/ 26 h 36"/>
                    <a:gd name="T8" fmla="*/ 81 w 81"/>
                    <a:gd name="T9" fmla="*/ 3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1" h="36">
                      <a:moveTo>
                        <a:pt x="81" y="34"/>
                      </a:moveTo>
                      <a:cubicBezTo>
                        <a:pt x="81" y="34"/>
                        <a:pt x="67" y="15"/>
                        <a:pt x="40" y="5"/>
                      </a:cubicBezTo>
                      <a:cubicBezTo>
                        <a:pt x="30" y="1"/>
                        <a:pt x="9" y="0"/>
                        <a:pt x="5" y="6"/>
                      </a:cubicBezTo>
                      <a:cubicBezTo>
                        <a:pt x="0" y="11"/>
                        <a:pt x="9" y="21"/>
                        <a:pt x="23" y="26"/>
                      </a:cubicBezTo>
                      <a:cubicBezTo>
                        <a:pt x="50" y="36"/>
                        <a:pt x="81" y="34"/>
                        <a:pt x="81" y="34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24" name="Freeform 102">
                <a:extLst>
                  <a:ext uri="{FF2B5EF4-FFF2-40B4-BE49-F238E27FC236}">
                    <a16:creationId xmlns:a16="http://schemas.microsoft.com/office/drawing/2014/main" id="{6D314DB7-D0E2-46B7-8151-9F8963168E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73874" y="9952995"/>
                <a:ext cx="1366838" cy="2463800"/>
              </a:xfrm>
              <a:custGeom>
                <a:avLst/>
                <a:gdLst>
                  <a:gd name="T0" fmla="*/ 158 w 564"/>
                  <a:gd name="T1" fmla="*/ 626 h 1017"/>
                  <a:gd name="T2" fmla="*/ 184 w 564"/>
                  <a:gd name="T3" fmla="*/ 625 h 1017"/>
                  <a:gd name="T4" fmla="*/ 104 w 564"/>
                  <a:gd name="T5" fmla="*/ 578 h 1017"/>
                  <a:gd name="T6" fmla="*/ 66 w 564"/>
                  <a:gd name="T7" fmla="*/ 538 h 1017"/>
                  <a:gd name="T8" fmla="*/ 74 w 564"/>
                  <a:gd name="T9" fmla="*/ 524 h 1017"/>
                  <a:gd name="T10" fmla="*/ 94 w 564"/>
                  <a:gd name="T11" fmla="*/ 491 h 1017"/>
                  <a:gd name="T12" fmla="*/ 152 w 564"/>
                  <a:gd name="T13" fmla="*/ 538 h 1017"/>
                  <a:gd name="T14" fmla="*/ 104 w 564"/>
                  <a:gd name="T15" fmla="*/ 471 h 1017"/>
                  <a:gd name="T16" fmla="*/ 183 w 564"/>
                  <a:gd name="T17" fmla="*/ 307 h 1017"/>
                  <a:gd name="T18" fmla="*/ 267 w 564"/>
                  <a:gd name="T19" fmla="*/ 358 h 1017"/>
                  <a:gd name="T20" fmla="*/ 276 w 564"/>
                  <a:gd name="T21" fmla="*/ 358 h 1017"/>
                  <a:gd name="T22" fmla="*/ 196 w 564"/>
                  <a:gd name="T23" fmla="*/ 282 h 1017"/>
                  <a:gd name="T24" fmla="*/ 198 w 564"/>
                  <a:gd name="T25" fmla="*/ 279 h 1017"/>
                  <a:gd name="T26" fmla="*/ 236 w 564"/>
                  <a:gd name="T27" fmla="*/ 207 h 1017"/>
                  <a:gd name="T28" fmla="*/ 259 w 564"/>
                  <a:gd name="T29" fmla="*/ 213 h 1017"/>
                  <a:gd name="T30" fmla="*/ 239 w 564"/>
                  <a:gd name="T31" fmla="*/ 200 h 1017"/>
                  <a:gd name="T32" fmla="*/ 273 w 564"/>
                  <a:gd name="T33" fmla="*/ 136 h 1017"/>
                  <a:gd name="T34" fmla="*/ 364 w 564"/>
                  <a:gd name="T35" fmla="*/ 206 h 1017"/>
                  <a:gd name="T36" fmla="*/ 295 w 564"/>
                  <a:gd name="T37" fmla="*/ 99 h 1017"/>
                  <a:gd name="T38" fmla="*/ 312 w 564"/>
                  <a:gd name="T39" fmla="*/ 78 h 1017"/>
                  <a:gd name="T40" fmla="*/ 465 w 564"/>
                  <a:gd name="T41" fmla="*/ 9 h 1017"/>
                  <a:gd name="T42" fmla="*/ 534 w 564"/>
                  <a:gd name="T43" fmla="*/ 138 h 1017"/>
                  <a:gd name="T44" fmla="*/ 554 w 564"/>
                  <a:gd name="T45" fmla="*/ 205 h 1017"/>
                  <a:gd name="T46" fmla="*/ 454 w 564"/>
                  <a:gd name="T47" fmla="*/ 236 h 1017"/>
                  <a:gd name="T48" fmla="*/ 502 w 564"/>
                  <a:gd name="T49" fmla="*/ 247 h 1017"/>
                  <a:gd name="T50" fmla="*/ 560 w 564"/>
                  <a:gd name="T51" fmla="*/ 243 h 1017"/>
                  <a:gd name="T52" fmla="*/ 562 w 564"/>
                  <a:gd name="T53" fmla="*/ 345 h 1017"/>
                  <a:gd name="T54" fmla="*/ 492 w 564"/>
                  <a:gd name="T55" fmla="*/ 357 h 1017"/>
                  <a:gd name="T56" fmla="*/ 479 w 564"/>
                  <a:gd name="T57" fmla="*/ 356 h 1017"/>
                  <a:gd name="T58" fmla="*/ 542 w 564"/>
                  <a:gd name="T59" fmla="*/ 377 h 1017"/>
                  <a:gd name="T60" fmla="*/ 559 w 564"/>
                  <a:gd name="T61" fmla="*/ 378 h 1017"/>
                  <a:gd name="T62" fmla="*/ 548 w 564"/>
                  <a:gd name="T63" fmla="*/ 446 h 1017"/>
                  <a:gd name="T64" fmla="*/ 527 w 564"/>
                  <a:gd name="T65" fmla="*/ 515 h 1017"/>
                  <a:gd name="T66" fmla="*/ 523 w 564"/>
                  <a:gd name="T67" fmla="*/ 512 h 1017"/>
                  <a:gd name="T68" fmla="*/ 499 w 564"/>
                  <a:gd name="T69" fmla="*/ 500 h 1017"/>
                  <a:gd name="T70" fmla="*/ 522 w 564"/>
                  <a:gd name="T71" fmla="*/ 526 h 1017"/>
                  <a:gd name="T72" fmla="*/ 490 w 564"/>
                  <a:gd name="T73" fmla="*/ 594 h 1017"/>
                  <a:gd name="T74" fmla="*/ 415 w 564"/>
                  <a:gd name="T75" fmla="*/ 571 h 1017"/>
                  <a:gd name="T76" fmla="*/ 477 w 564"/>
                  <a:gd name="T77" fmla="*/ 618 h 1017"/>
                  <a:gd name="T78" fmla="*/ 429 w 564"/>
                  <a:gd name="T79" fmla="*/ 705 h 1017"/>
                  <a:gd name="T80" fmla="*/ 378 w 564"/>
                  <a:gd name="T81" fmla="*/ 664 h 1017"/>
                  <a:gd name="T82" fmla="*/ 419 w 564"/>
                  <a:gd name="T83" fmla="*/ 722 h 1017"/>
                  <a:gd name="T84" fmla="*/ 343 w 564"/>
                  <a:gd name="T85" fmla="*/ 844 h 1017"/>
                  <a:gd name="T86" fmla="*/ 294 w 564"/>
                  <a:gd name="T87" fmla="*/ 793 h 1017"/>
                  <a:gd name="T88" fmla="*/ 332 w 564"/>
                  <a:gd name="T89" fmla="*/ 861 h 1017"/>
                  <a:gd name="T90" fmla="*/ 319 w 564"/>
                  <a:gd name="T91" fmla="*/ 882 h 1017"/>
                  <a:gd name="T92" fmla="*/ 94 w 564"/>
                  <a:gd name="T93" fmla="*/ 922 h 1017"/>
                  <a:gd name="T94" fmla="*/ 4 w 564"/>
                  <a:gd name="T95" fmla="*/ 731 h 1017"/>
                  <a:gd name="T96" fmla="*/ 59 w 564"/>
                  <a:gd name="T97" fmla="*/ 551 h 1017"/>
                  <a:gd name="T98" fmla="*/ 158 w 564"/>
                  <a:gd name="T99" fmla="*/ 626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64" h="1017">
                    <a:moveTo>
                      <a:pt x="158" y="626"/>
                    </a:moveTo>
                    <a:cubicBezTo>
                      <a:pt x="167" y="627"/>
                      <a:pt x="176" y="626"/>
                      <a:pt x="184" y="625"/>
                    </a:cubicBezTo>
                    <a:cubicBezTo>
                      <a:pt x="157" y="616"/>
                      <a:pt x="130" y="600"/>
                      <a:pt x="104" y="578"/>
                    </a:cubicBezTo>
                    <a:cubicBezTo>
                      <a:pt x="90" y="566"/>
                      <a:pt x="77" y="553"/>
                      <a:pt x="66" y="538"/>
                    </a:cubicBezTo>
                    <a:cubicBezTo>
                      <a:pt x="69" y="533"/>
                      <a:pt x="72" y="529"/>
                      <a:pt x="74" y="524"/>
                    </a:cubicBezTo>
                    <a:cubicBezTo>
                      <a:pt x="80" y="516"/>
                      <a:pt x="87" y="504"/>
                      <a:pt x="94" y="491"/>
                    </a:cubicBezTo>
                    <a:cubicBezTo>
                      <a:pt x="110" y="513"/>
                      <a:pt x="130" y="529"/>
                      <a:pt x="152" y="538"/>
                    </a:cubicBezTo>
                    <a:cubicBezTo>
                      <a:pt x="132" y="522"/>
                      <a:pt x="116" y="499"/>
                      <a:pt x="104" y="471"/>
                    </a:cubicBezTo>
                    <a:cubicBezTo>
                      <a:pt x="130" y="420"/>
                      <a:pt x="160" y="352"/>
                      <a:pt x="183" y="307"/>
                    </a:cubicBezTo>
                    <a:cubicBezTo>
                      <a:pt x="205" y="336"/>
                      <a:pt x="234" y="355"/>
                      <a:pt x="267" y="358"/>
                    </a:cubicBezTo>
                    <a:cubicBezTo>
                      <a:pt x="270" y="358"/>
                      <a:pt x="273" y="358"/>
                      <a:pt x="276" y="358"/>
                    </a:cubicBezTo>
                    <a:cubicBezTo>
                      <a:pt x="242" y="347"/>
                      <a:pt x="214" y="319"/>
                      <a:pt x="196" y="282"/>
                    </a:cubicBezTo>
                    <a:cubicBezTo>
                      <a:pt x="197" y="281"/>
                      <a:pt x="197" y="280"/>
                      <a:pt x="198" y="279"/>
                    </a:cubicBezTo>
                    <a:cubicBezTo>
                      <a:pt x="209" y="260"/>
                      <a:pt x="222" y="234"/>
                      <a:pt x="236" y="207"/>
                    </a:cubicBezTo>
                    <a:cubicBezTo>
                      <a:pt x="244" y="208"/>
                      <a:pt x="252" y="210"/>
                      <a:pt x="259" y="213"/>
                    </a:cubicBezTo>
                    <a:cubicBezTo>
                      <a:pt x="253" y="208"/>
                      <a:pt x="246" y="204"/>
                      <a:pt x="239" y="200"/>
                    </a:cubicBezTo>
                    <a:cubicBezTo>
                      <a:pt x="250" y="178"/>
                      <a:pt x="262" y="156"/>
                      <a:pt x="273" y="136"/>
                    </a:cubicBezTo>
                    <a:cubicBezTo>
                      <a:pt x="294" y="174"/>
                      <a:pt x="326" y="200"/>
                      <a:pt x="364" y="206"/>
                    </a:cubicBezTo>
                    <a:cubicBezTo>
                      <a:pt x="331" y="184"/>
                      <a:pt x="306" y="145"/>
                      <a:pt x="295" y="99"/>
                    </a:cubicBezTo>
                    <a:cubicBezTo>
                      <a:pt x="301" y="91"/>
                      <a:pt x="306" y="83"/>
                      <a:pt x="312" y="78"/>
                    </a:cubicBezTo>
                    <a:cubicBezTo>
                      <a:pt x="347" y="39"/>
                      <a:pt x="464" y="0"/>
                      <a:pt x="465" y="9"/>
                    </a:cubicBezTo>
                    <a:cubicBezTo>
                      <a:pt x="469" y="31"/>
                      <a:pt x="494" y="40"/>
                      <a:pt x="534" y="138"/>
                    </a:cubicBezTo>
                    <a:cubicBezTo>
                      <a:pt x="542" y="160"/>
                      <a:pt x="549" y="182"/>
                      <a:pt x="554" y="205"/>
                    </a:cubicBezTo>
                    <a:cubicBezTo>
                      <a:pt x="528" y="225"/>
                      <a:pt x="493" y="237"/>
                      <a:pt x="454" y="236"/>
                    </a:cubicBezTo>
                    <a:cubicBezTo>
                      <a:pt x="469" y="242"/>
                      <a:pt x="485" y="246"/>
                      <a:pt x="502" y="247"/>
                    </a:cubicBezTo>
                    <a:cubicBezTo>
                      <a:pt x="522" y="249"/>
                      <a:pt x="542" y="247"/>
                      <a:pt x="560" y="243"/>
                    </a:cubicBezTo>
                    <a:cubicBezTo>
                      <a:pt x="564" y="277"/>
                      <a:pt x="564" y="311"/>
                      <a:pt x="562" y="345"/>
                    </a:cubicBezTo>
                    <a:cubicBezTo>
                      <a:pt x="542" y="355"/>
                      <a:pt x="518" y="360"/>
                      <a:pt x="492" y="357"/>
                    </a:cubicBezTo>
                    <a:cubicBezTo>
                      <a:pt x="487" y="357"/>
                      <a:pt x="483" y="356"/>
                      <a:pt x="479" y="356"/>
                    </a:cubicBezTo>
                    <a:cubicBezTo>
                      <a:pt x="497" y="367"/>
                      <a:pt x="519" y="375"/>
                      <a:pt x="542" y="377"/>
                    </a:cubicBezTo>
                    <a:cubicBezTo>
                      <a:pt x="548" y="378"/>
                      <a:pt x="553" y="378"/>
                      <a:pt x="559" y="378"/>
                    </a:cubicBezTo>
                    <a:cubicBezTo>
                      <a:pt x="556" y="401"/>
                      <a:pt x="552" y="424"/>
                      <a:pt x="548" y="446"/>
                    </a:cubicBezTo>
                    <a:cubicBezTo>
                      <a:pt x="544" y="466"/>
                      <a:pt x="537" y="489"/>
                      <a:pt x="527" y="515"/>
                    </a:cubicBezTo>
                    <a:cubicBezTo>
                      <a:pt x="525" y="514"/>
                      <a:pt x="524" y="513"/>
                      <a:pt x="523" y="512"/>
                    </a:cubicBezTo>
                    <a:cubicBezTo>
                      <a:pt x="515" y="508"/>
                      <a:pt x="507" y="504"/>
                      <a:pt x="499" y="500"/>
                    </a:cubicBezTo>
                    <a:cubicBezTo>
                      <a:pt x="508" y="509"/>
                      <a:pt x="516" y="518"/>
                      <a:pt x="522" y="526"/>
                    </a:cubicBezTo>
                    <a:cubicBezTo>
                      <a:pt x="513" y="548"/>
                      <a:pt x="502" y="570"/>
                      <a:pt x="490" y="594"/>
                    </a:cubicBezTo>
                    <a:cubicBezTo>
                      <a:pt x="469" y="592"/>
                      <a:pt x="443" y="585"/>
                      <a:pt x="415" y="571"/>
                    </a:cubicBezTo>
                    <a:cubicBezTo>
                      <a:pt x="431" y="588"/>
                      <a:pt x="453" y="604"/>
                      <a:pt x="477" y="618"/>
                    </a:cubicBezTo>
                    <a:cubicBezTo>
                      <a:pt x="462" y="647"/>
                      <a:pt x="446" y="676"/>
                      <a:pt x="429" y="705"/>
                    </a:cubicBezTo>
                    <a:cubicBezTo>
                      <a:pt x="410" y="692"/>
                      <a:pt x="392" y="678"/>
                      <a:pt x="378" y="664"/>
                    </a:cubicBezTo>
                    <a:cubicBezTo>
                      <a:pt x="384" y="681"/>
                      <a:pt x="398" y="702"/>
                      <a:pt x="419" y="722"/>
                    </a:cubicBezTo>
                    <a:cubicBezTo>
                      <a:pt x="394" y="764"/>
                      <a:pt x="368" y="806"/>
                      <a:pt x="343" y="844"/>
                    </a:cubicBezTo>
                    <a:cubicBezTo>
                      <a:pt x="322" y="827"/>
                      <a:pt x="305" y="809"/>
                      <a:pt x="294" y="793"/>
                    </a:cubicBezTo>
                    <a:cubicBezTo>
                      <a:pt x="292" y="811"/>
                      <a:pt x="307" y="836"/>
                      <a:pt x="332" y="861"/>
                    </a:cubicBezTo>
                    <a:cubicBezTo>
                      <a:pt x="328" y="868"/>
                      <a:pt x="324" y="875"/>
                      <a:pt x="319" y="882"/>
                    </a:cubicBezTo>
                    <a:cubicBezTo>
                      <a:pt x="231" y="1017"/>
                      <a:pt x="94" y="922"/>
                      <a:pt x="94" y="922"/>
                    </a:cubicBezTo>
                    <a:cubicBezTo>
                      <a:pt x="94" y="922"/>
                      <a:pt x="13" y="784"/>
                      <a:pt x="4" y="731"/>
                    </a:cubicBezTo>
                    <a:cubicBezTo>
                      <a:pt x="0" y="700"/>
                      <a:pt x="30" y="608"/>
                      <a:pt x="59" y="551"/>
                    </a:cubicBezTo>
                    <a:cubicBezTo>
                      <a:pt x="81" y="593"/>
                      <a:pt x="117" y="622"/>
                      <a:pt x="158" y="626"/>
                    </a:cubicBez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Freeform 103">
                <a:extLst>
                  <a:ext uri="{FF2B5EF4-FFF2-40B4-BE49-F238E27FC236}">
                    <a16:creationId xmlns:a16="http://schemas.microsoft.com/office/drawing/2014/main" id="{1074F0C0-B232-4C5B-A872-1D2F6C715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73874" y="9962520"/>
                <a:ext cx="1123950" cy="2228850"/>
              </a:xfrm>
              <a:custGeom>
                <a:avLst/>
                <a:gdLst>
                  <a:gd name="T0" fmla="*/ 94 w 464"/>
                  <a:gd name="T1" fmla="*/ 918 h 920"/>
                  <a:gd name="T2" fmla="*/ 4 w 464"/>
                  <a:gd name="T3" fmla="*/ 727 h 920"/>
                  <a:gd name="T4" fmla="*/ 59 w 464"/>
                  <a:gd name="T5" fmla="*/ 547 h 920"/>
                  <a:gd name="T6" fmla="*/ 158 w 464"/>
                  <a:gd name="T7" fmla="*/ 622 h 920"/>
                  <a:gd name="T8" fmla="*/ 184 w 464"/>
                  <a:gd name="T9" fmla="*/ 621 h 920"/>
                  <a:gd name="T10" fmla="*/ 104 w 464"/>
                  <a:gd name="T11" fmla="*/ 574 h 920"/>
                  <a:gd name="T12" fmla="*/ 66 w 464"/>
                  <a:gd name="T13" fmla="*/ 534 h 920"/>
                  <a:gd name="T14" fmla="*/ 74 w 464"/>
                  <a:gd name="T15" fmla="*/ 520 h 920"/>
                  <a:gd name="T16" fmla="*/ 94 w 464"/>
                  <a:gd name="T17" fmla="*/ 487 h 920"/>
                  <a:gd name="T18" fmla="*/ 152 w 464"/>
                  <a:gd name="T19" fmla="*/ 534 h 920"/>
                  <a:gd name="T20" fmla="*/ 104 w 464"/>
                  <a:gd name="T21" fmla="*/ 467 h 920"/>
                  <a:gd name="T22" fmla="*/ 183 w 464"/>
                  <a:gd name="T23" fmla="*/ 303 h 920"/>
                  <a:gd name="T24" fmla="*/ 267 w 464"/>
                  <a:gd name="T25" fmla="*/ 354 h 920"/>
                  <a:gd name="T26" fmla="*/ 276 w 464"/>
                  <a:gd name="T27" fmla="*/ 354 h 920"/>
                  <a:gd name="T28" fmla="*/ 196 w 464"/>
                  <a:gd name="T29" fmla="*/ 278 h 920"/>
                  <a:gd name="T30" fmla="*/ 198 w 464"/>
                  <a:gd name="T31" fmla="*/ 275 h 920"/>
                  <a:gd name="T32" fmla="*/ 236 w 464"/>
                  <a:gd name="T33" fmla="*/ 203 h 920"/>
                  <a:gd name="T34" fmla="*/ 259 w 464"/>
                  <a:gd name="T35" fmla="*/ 209 h 920"/>
                  <a:gd name="T36" fmla="*/ 239 w 464"/>
                  <a:gd name="T37" fmla="*/ 196 h 920"/>
                  <a:gd name="T38" fmla="*/ 273 w 464"/>
                  <a:gd name="T39" fmla="*/ 132 h 920"/>
                  <a:gd name="T40" fmla="*/ 364 w 464"/>
                  <a:gd name="T41" fmla="*/ 202 h 920"/>
                  <a:gd name="T42" fmla="*/ 295 w 464"/>
                  <a:gd name="T43" fmla="*/ 95 h 920"/>
                  <a:gd name="T44" fmla="*/ 312 w 464"/>
                  <a:gd name="T45" fmla="*/ 74 h 920"/>
                  <a:gd name="T46" fmla="*/ 464 w 464"/>
                  <a:gd name="T47" fmla="*/ 4 h 920"/>
                  <a:gd name="T48" fmla="*/ 97 w 464"/>
                  <a:gd name="T49" fmla="*/ 920 h 920"/>
                  <a:gd name="T50" fmla="*/ 94 w 464"/>
                  <a:gd name="T51" fmla="*/ 918 h 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64" h="920">
                    <a:moveTo>
                      <a:pt x="94" y="918"/>
                    </a:moveTo>
                    <a:cubicBezTo>
                      <a:pt x="94" y="918"/>
                      <a:pt x="13" y="780"/>
                      <a:pt x="4" y="727"/>
                    </a:cubicBezTo>
                    <a:cubicBezTo>
                      <a:pt x="0" y="696"/>
                      <a:pt x="30" y="604"/>
                      <a:pt x="59" y="547"/>
                    </a:cubicBezTo>
                    <a:cubicBezTo>
                      <a:pt x="81" y="589"/>
                      <a:pt x="117" y="618"/>
                      <a:pt x="158" y="622"/>
                    </a:cubicBezTo>
                    <a:cubicBezTo>
                      <a:pt x="167" y="623"/>
                      <a:pt x="176" y="622"/>
                      <a:pt x="184" y="621"/>
                    </a:cubicBezTo>
                    <a:cubicBezTo>
                      <a:pt x="157" y="612"/>
                      <a:pt x="130" y="596"/>
                      <a:pt x="104" y="574"/>
                    </a:cubicBezTo>
                    <a:cubicBezTo>
                      <a:pt x="90" y="562"/>
                      <a:pt x="77" y="549"/>
                      <a:pt x="66" y="534"/>
                    </a:cubicBezTo>
                    <a:cubicBezTo>
                      <a:pt x="69" y="529"/>
                      <a:pt x="72" y="525"/>
                      <a:pt x="74" y="520"/>
                    </a:cubicBezTo>
                    <a:cubicBezTo>
                      <a:pt x="80" y="512"/>
                      <a:pt x="87" y="500"/>
                      <a:pt x="94" y="487"/>
                    </a:cubicBezTo>
                    <a:cubicBezTo>
                      <a:pt x="110" y="509"/>
                      <a:pt x="130" y="525"/>
                      <a:pt x="152" y="534"/>
                    </a:cubicBezTo>
                    <a:cubicBezTo>
                      <a:pt x="132" y="518"/>
                      <a:pt x="116" y="495"/>
                      <a:pt x="104" y="467"/>
                    </a:cubicBezTo>
                    <a:cubicBezTo>
                      <a:pt x="130" y="416"/>
                      <a:pt x="160" y="348"/>
                      <a:pt x="183" y="303"/>
                    </a:cubicBezTo>
                    <a:cubicBezTo>
                      <a:pt x="205" y="332"/>
                      <a:pt x="234" y="351"/>
                      <a:pt x="267" y="354"/>
                    </a:cubicBezTo>
                    <a:cubicBezTo>
                      <a:pt x="270" y="354"/>
                      <a:pt x="273" y="354"/>
                      <a:pt x="276" y="354"/>
                    </a:cubicBezTo>
                    <a:cubicBezTo>
                      <a:pt x="242" y="343"/>
                      <a:pt x="214" y="315"/>
                      <a:pt x="196" y="278"/>
                    </a:cubicBezTo>
                    <a:cubicBezTo>
                      <a:pt x="197" y="277"/>
                      <a:pt x="197" y="276"/>
                      <a:pt x="198" y="275"/>
                    </a:cubicBezTo>
                    <a:cubicBezTo>
                      <a:pt x="209" y="256"/>
                      <a:pt x="222" y="230"/>
                      <a:pt x="236" y="203"/>
                    </a:cubicBezTo>
                    <a:cubicBezTo>
                      <a:pt x="244" y="204"/>
                      <a:pt x="252" y="206"/>
                      <a:pt x="259" y="209"/>
                    </a:cubicBezTo>
                    <a:cubicBezTo>
                      <a:pt x="253" y="204"/>
                      <a:pt x="246" y="200"/>
                      <a:pt x="239" y="196"/>
                    </a:cubicBezTo>
                    <a:cubicBezTo>
                      <a:pt x="250" y="174"/>
                      <a:pt x="262" y="152"/>
                      <a:pt x="273" y="132"/>
                    </a:cubicBezTo>
                    <a:cubicBezTo>
                      <a:pt x="294" y="170"/>
                      <a:pt x="326" y="196"/>
                      <a:pt x="364" y="202"/>
                    </a:cubicBezTo>
                    <a:cubicBezTo>
                      <a:pt x="331" y="180"/>
                      <a:pt x="306" y="141"/>
                      <a:pt x="295" y="95"/>
                    </a:cubicBezTo>
                    <a:cubicBezTo>
                      <a:pt x="301" y="87"/>
                      <a:pt x="306" y="79"/>
                      <a:pt x="312" y="74"/>
                    </a:cubicBezTo>
                    <a:cubicBezTo>
                      <a:pt x="345" y="37"/>
                      <a:pt x="452" y="0"/>
                      <a:pt x="464" y="4"/>
                    </a:cubicBezTo>
                    <a:cubicBezTo>
                      <a:pt x="394" y="386"/>
                      <a:pt x="263" y="708"/>
                      <a:pt x="97" y="920"/>
                    </a:cubicBezTo>
                    <a:cubicBezTo>
                      <a:pt x="95" y="919"/>
                      <a:pt x="94" y="918"/>
                      <a:pt x="94" y="918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Freeform 104">
                <a:extLst>
                  <a:ext uri="{FF2B5EF4-FFF2-40B4-BE49-F238E27FC236}">
                    <a16:creationId xmlns:a16="http://schemas.microsoft.com/office/drawing/2014/main" id="{CC4095E9-1653-4F54-BE62-248E3A2B0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11987" y="10573708"/>
                <a:ext cx="1003300" cy="1758950"/>
              </a:xfrm>
              <a:custGeom>
                <a:avLst/>
                <a:gdLst>
                  <a:gd name="T0" fmla="*/ 41 w 414"/>
                  <a:gd name="T1" fmla="*/ 408 h 726"/>
                  <a:gd name="T2" fmla="*/ 305 w 414"/>
                  <a:gd name="T3" fmla="*/ 726 h 726"/>
                  <a:gd name="T4" fmla="*/ 374 w 414"/>
                  <a:gd name="T5" fmla="*/ 318 h 726"/>
                  <a:gd name="T6" fmla="*/ 109 w 414"/>
                  <a:gd name="T7" fmla="*/ 0 h 726"/>
                  <a:gd name="T8" fmla="*/ 41 w 414"/>
                  <a:gd name="T9" fmla="*/ 408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4" h="726">
                    <a:moveTo>
                      <a:pt x="41" y="408"/>
                    </a:moveTo>
                    <a:cubicBezTo>
                      <a:pt x="82" y="558"/>
                      <a:pt x="183" y="674"/>
                      <a:pt x="305" y="726"/>
                    </a:cubicBezTo>
                    <a:cubicBezTo>
                      <a:pt x="384" y="619"/>
                      <a:pt x="414" y="469"/>
                      <a:pt x="374" y="318"/>
                    </a:cubicBezTo>
                    <a:cubicBezTo>
                      <a:pt x="333" y="168"/>
                      <a:pt x="232" y="53"/>
                      <a:pt x="109" y="0"/>
                    </a:cubicBezTo>
                    <a:cubicBezTo>
                      <a:pt x="30" y="107"/>
                      <a:pt x="0" y="257"/>
                      <a:pt x="41" y="408"/>
                    </a:cubicBezTo>
                    <a:close/>
                  </a:path>
                </a:pathLst>
              </a:custGeom>
              <a:solidFill>
                <a:srgbClr val="742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Line 105">
                <a:extLst>
                  <a:ext uri="{FF2B5EF4-FFF2-40B4-BE49-F238E27FC236}">
                    <a16:creationId xmlns:a16="http://schemas.microsoft.com/office/drawing/2014/main" id="{B5754191-1456-4F7F-862A-1960BBC259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6713537" y="10711820"/>
                <a:ext cx="419100" cy="15541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Line 106">
                <a:extLst>
                  <a:ext uri="{FF2B5EF4-FFF2-40B4-BE49-F238E27FC236}">
                    <a16:creationId xmlns:a16="http://schemas.microsoft.com/office/drawing/2014/main" id="{B376059E-6BA8-47B9-B034-DF0520BA0F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626224" y="10813420"/>
                <a:ext cx="125413" cy="2206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Line 107">
                <a:extLst>
                  <a:ext uri="{FF2B5EF4-FFF2-40B4-BE49-F238E27FC236}">
                    <a16:creationId xmlns:a16="http://schemas.microsoft.com/office/drawing/2014/main" id="{072AFF3C-8D3D-4C1B-9A4B-2AA56E40E2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553199" y="11027733"/>
                <a:ext cx="153988" cy="2698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Line 108">
                <a:extLst>
                  <a:ext uri="{FF2B5EF4-FFF2-40B4-BE49-F238E27FC236}">
                    <a16:creationId xmlns:a16="http://schemas.microsoft.com/office/drawing/2014/main" id="{CE12B68C-39C6-4278-B54F-BCE2F82307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483349" y="11110283"/>
                <a:ext cx="261938" cy="454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Line 109">
                <a:extLst>
                  <a:ext uri="{FF2B5EF4-FFF2-40B4-BE49-F238E27FC236}">
                    <a16:creationId xmlns:a16="http://schemas.microsoft.com/office/drawing/2014/main" id="{2A49AA6E-EE05-4AEE-9D53-5B4C52F7CE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410324" y="11389683"/>
                <a:ext cx="250825" cy="4381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Line 110">
                <a:extLst>
                  <a:ext uri="{FF2B5EF4-FFF2-40B4-BE49-F238E27FC236}">
                    <a16:creationId xmlns:a16="http://schemas.microsoft.com/office/drawing/2014/main" id="{5FB44096-E267-4783-9C57-8ED2EA4B5F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340474" y="11846883"/>
                <a:ext cx="141288" cy="2476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Line 111">
                <a:extLst>
                  <a:ext uri="{FF2B5EF4-FFF2-40B4-BE49-F238E27FC236}">
                    <a16:creationId xmlns:a16="http://schemas.microsoft.com/office/drawing/2014/main" id="{545E1080-F184-401A-82F3-ED4ED3F1BC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57999" y="10875333"/>
                <a:ext cx="219075" cy="1270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Line 112">
                <a:extLst>
                  <a:ext uri="{FF2B5EF4-FFF2-40B4-BE49-F238E27FC236}">
                    <a16:creationId xmlns:a16="http://schemas.microsoft.com/office/drawing/2014/main" id="{835B88C6-EA39-4A4C-946F-A414DD93F3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908799" y="11069008"/>
                <a:ext cx="342900" cy="1968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Line 113">
                <a:extLst>
                  <a:ext uri="{FF2B5EF4-FFF2-40B4-BE49-F238E27FC236}">
                    <a16:creationId xmlns:a16="http://schemas.microsoft.com/office/drawing/2014/main" id="{EB0C3A4E-41F7-4770-8936-6F31F646E6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924674" y="11284908"/>
                <a:ext cx="428625" cy="2476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Line 114">
                <a:extLst>
                  <a:ext uri="{FF2B5EF4-FFF2-40B4-BE49-F238E27FC236}">
                    <a16:creationId xmlns:a16="http://schemas.microsoft.com/office/drawing/2014/main" id="{AE72D05F-0C8B-427F-987A-5774494AE5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62762" y="11545258"/>
                <a:ext cx="439738" cy="2508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Line 115">
                <a:extLst>
                  <a:ext uri="{FF2B5EF4-FFF2-40B4-BE49-F238E27FC236}">
                    <a16:creationId xmlns:a16="http://schemas.microsoft.com/office/drawing/2014/main" id="{85605F82-C3E7-480B-BE91-8CB71725D7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730999" y="11845295"/>
                <a:ext cx="377825" cy="2174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116">
                <a:extLst>
                  <a:ext uri="{FF2B5EF4-FFF2-40B4-BE49-F238E27FC236}">
                    <a16:creationId xmlns:a16="http://schemas.microsoft.com/office/drawing/2014/main" id="{A21C5026-1897-4626-900C-DD2A178B2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778749" y="11135683"/>
                <a:ext cx="1392238" cy="1330325"/>
              </a:xfrm>
              <a:custGeom>
                <a:avLst/>
                <a:gdLst>
                  <a:gd name="T0" fmla="*/ 172 w 575"/>
                  <a:gd name="T1" fmla="*/ 402 h 549"/>
                  <a:gd name="T2" fmla="*/ 566 w 575"/>
                  <a:gd name="T3" fmla="*/ 527 h 549"/>
                  <a:gd name="T4" fmla="*/ 403 w 575"/>
                  <a:gd name="T5" fmla="*/ 147 h 549"/>
                  <a:gd name="T6" fmla="*/ 8 w 575"/>
                  <a:gd name="T7" fmla="*/ 22 h 549"/>
                  <a:gd name="T8" fmla="*/ 172 w 575"/>
                  <a:gd name="T9" fmla="*/ 402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5" h="549">
                    <a:moveTo>
                      <a:pt x="172" y="402"/>
                    </a:moveTo>
                    <a:cubicBezTo>
                      <a:pt x="287" y="507"/>
                      <a:pt x="435" y="549"/>
                      <a:pt x="566" y="527"/>
                    </a:cubicBezTo>
                    <a:cubicBezTo>
                      <a:pt x="575" y="394"/>
                      <a:pt x="519" y="251"/>
                      <a:pt x="403" y="147"/>
                    </a:cubicBezTo>
                    <a:cubicBezTo>
                      <a:pt x="287" y="42"/>
                      <a:pt x="140" y="0"/>
                      <a:pt x="8" y="22"/>
                    </a:cubicBezTo>
                    <a:cubicBezTo>
                      <a:pt x="0" y="155"/>
                      <a:pt x="56" y="298"/>
                      <a:pt x="172" y="402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Line 117">
                <a:extLst>
                  <a:ext uri="{FF2B5EF4-FFF2-40B4-BE49-F238E27FC236}">
                    <a16:creationId xmlns:a16="http://schemas.microsoft.com/office/drawing/2014/main" id="{754DB6F4-9308-41D0-88EE-6D344A8D7D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654924" y="11288083"/>
                <a:ext cx="1193800" cy="10826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Line 118">
                <a:extLst>
                  <a:ext uri="{FF2B5EF4-FFF2-40B4-BE49-F238E27FC236}">
                    <a16:creationId xmlns:a16="http://schemas.microsoft.com/office/drawing/2014/main" id="{62851F21-EF72-4FD7-BDEB-E5DD864449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419974" y="11257920"/>
                <a:ext cx="11113" cy="2524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Line 119">
                <a:extLst>
                  <a:ext uri="{FF2B5EF4-FFF2-40B4-BE49-F238E27FC236}">
                    <a16:creationId xmlns:a16="http://schemas.microsoft.com/office/drawing/2014/main" id="{CFCAAED6-C788-4FBD-8936-58FE6A49AD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219949" y="11381745"/>
                <a:ext cx="14288" cy="3127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Line 120">
                <a:extLst>
                  <a:ext uri="{FF2B5EF4-FFF2-40B4-BE49-F238E27FC236}">
                    <a16:creationId xmlns:a16="http://schemas.microsoft.com/office/drawing/2014/main" id="{4A65BB1F-20E5-4690-A82E-13D4864F07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027862" y="11357933"/>
                <a:ext cx="26988" cy="520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Line 121">
                <a:extLst>
                  <a:ext uri="{FF2B5EF4-FFF2-40B4-BE49-F238E27FC236}">
                    <a16:creationId xmlns:a16="http://schemas.microsoft.com/office/drawing/2014/main" id="{CEDF93F7-BC5C-4ABC-97D3-2B30DB972D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23074" y="11556370"/>
                <a:ext cx="25400" cy="5064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Line 122">
                <a:extLst>
                  <a:ext uri="{FF2B5EF4-FFF2-40B4-BE49-F238E27FC236}">
                    <a16:creationId xmlns:a16="http://schemas.microsoft.com/office/drawing/2014/main" id="{841B2402-FD2F-4FF9-B451-885826009C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608762" y="11965945"/>
                <a:ext cx="14288" cy="2809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Line 123">
                <a:extLst>
                  <a:ext uri="{FF2B5EF4-FFF2-40B4-BE49-F238E27FC236}">
                    <a16:creationId xmlns:a16="http://schemas.microsoft.com/office/drawing/2014/main" id="{F400788B-1E46-4A2E-AA1F-97176F8A9A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689849" y="11491283"/>
                <a:ext cx="254000" cy="12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Line 124">
                <a:extLst>
                  <a:ext uri="{FF2B5EF4-FFF2-40B4-BE49-F238E27FC236}">
                    <a16:creationId xmlns:a16="http://schemas.microsoft.com/office/drawing/2014/main" id="{6900958A-8AD8-4F28-81FA-F18C66D4E4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626349" y="11675433"/>
                <a:ext cx="395288" cy="190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Line 125">
                <a:extLst>
                  <a:ext uri="{FF2B5EF4-FFF2-40B4-BE49-F238E27FC236}">
                    <a16:creationId xmlns:a16="http://schemas.microsoft.com/office/drawing/2014/main" id="{D4D8CCB0-C6F6-4BCC-B82F-732A6FE17E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521574" y="11859583"/>
                <a:ext cx="493713" cy="238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Line 126">
                <a:extLst>
                  <a:ext uri="{FF2B5EF4-FFF2-40B4-BE49-F238E27FC236}">
                    <a16:creationId xmlns:a16="http://schemas.microsoft.com/office/drawing/2014/main" id="{94C11194-545D-469D-B166-8C8054173A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331074" y="12043733"/>
                <a:ext cx="506413" cy="26987"/>
              </a:xfrm>
              <a:prstGeom prst="line">
                <a:avLst/>
              </a:prstGeom>
              <a:noFill/>
              <a:ln w="14288" cap="flat">
                <a:solidFill>
                  <a:srgbClr val="0C115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Line 127">
                <a:extLst>
                  <a:ext uri="{FF2B5EF4-FFF2-40B4-BE49-F238E27FC236}">
                    <a16:creationId xmlns:a16="http://schemas.microsoft.com/office/drawing/2014/main" id="{29B1A00F-0877-4B04-873A-063343F4E0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058024" y="12227883"/>
                <a:ext cx="436563" cy="222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Freeform 128">
                <a:extLst>
                  <a:ext uri="{FF2B5EF4-FFF2-40B4-BE49-F238E27FC236}">
                    <a16:creationId xmlns:a16="http://schemas.microsoft.com/office/drawing/2014/main" id="{1EA82D20-8D26-480A-8440-88F0BB2E4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746999" y="11804020"/>
                <a:ext cx="1014413" cy="1022350"/>
              </a:xfrm>
              <a:custGeom>
                <a:avLst/>
                <a:gdLst>
                  <a:gd name="T0" fmla="*/ 150 w 419"/>
                  <a:gd name="T1" fmla="*/ 339 h 422"/>
                  <a:gd name="T2" fmla="*/ 154 w 419"/>
                  <a:gd name="T3" fmla="*/ 387 h 422"/>
                  <a:gd name="T4" fmla="*/ 50 w 419"/>
                  <a:gd name="T5" fmla="*/ 422 h 422"/>
                  <a:gd name="T6" fmla="*/ 23 w 419"/>
                  <a:gd name="T7" fmla="*/ 323 h 422"/>
                  <a:gd name="T8" fmla="*/ 419 w 419"/>
                  <a:gd name="T9" fmla="*/ 111 h 422"/>
                  <a:gd name="T10" fmla="*/ 255 w 419"/>
                  <a:gd name="T11" fmla="*/ 328 h 422"/>
                  <a:gd name="T12" fmla="*/ 183 w 419"/>
                  <a:gd name="T13" fmla="*/ 373 h 422"/>
                  <a:gd name="T14" fmla="*/ 150 w 419"/>
                  <a:gd name="T15" fmla="*/ 339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9" h="422">
                    <a:moveTo>
                      <a:pt x="150" y="339"/>
                    </a:moveTo>
                    <a:cubicBezTo>
                      <a:pt x="154" y="387"/>
                      <a:pt x="154" y="387"/>
                      <a:pt x="154" y="387"/>
                    </a:cubicBezTo>
                    <a:cubicBezTo>
                      <a:pt x="119" y="403"/>
                      <a:pt x="84" y="415"/>
                      <a:pt x="50" y="422"/>
                    </a:cubicBezTo>
                    <a:cubicBezTo>
                      <a:pt x="37" y="391"/>
                      <a:pt x="28" y="358"/>
                      <a:pt x="23" y="323"/>
                    </a:cubicBezTo>
                    <a:cubicBezTo>
                      <a:pt x="0" y="153"/>
                      <a:pt x="224" y="0"/>
                      <a:pt x="419" y="111"/>
                    </a:cubicBezTo>
                    <a:cubicBezTo>
                      <a:pt x="402" y="182"/>
                      <a:pt x="344" y="263"/>
                      <a:pt x="255" y="328"/>
                    </a:cubicBezTo>
                    <a:cubicBezTo>
                      <a:pt x="231" y="345"/>
                      <a:pt x="208" y="360"/>
                      <a:pt x="183" y="373"/>
                    </a:cubicBezTo>
                    <a:lnTo>
                      <a:pt x="150" y="339"/>
                    </a:lnTo>
                    <a:close/>
                  </a:path>
                </a:pathLst>
              </a:custGeom>
              <a:solidFill>
                <a:srgbClr val="641B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Freeform 129">
                <a:extLst>
                  <a:ext uri="{FF2B5EF4-FFF2-40B4-BE49-F238E27FC236}">
                    <a16:creationId xmlns:a16="http://schemas.microsoft.com/office/drawing/2014/main" id="{6F5720BA-CAAE-4679-B323-5849694EF7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26349" y="12072308"/>
                <a:ext cx="893763" cy="754062"/>
              </a:xfrm>
              <a:custGeom>
                <a:avLst/>
                <a:gdLst>
                  <a:gd name="T0" fmla="*/ 0 w 369"/>
                  <a:gd name="T1" fmla="*/ 311 h 311"/>
                  <a:gd name="T2" fmla="*/ 369 w 369"/>
                  <a:gd name="T3" fmla="*/ 0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69" h="311">
                    <a:moveTo>
                      <a:pt x="0" y="311"/>
                    </a:moveTo>
                    <a:cubicBezTo>
                      <a:pt x="0" y="311"/>
                      <a:pt x="62" y="16"/>
                      <a:pt x="369" y="0"/>
                    </a:cubicBezTo>
                  </a:path>
                </a:pathLst>
              </a:cu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Line 130">
                <a:extLst>
                  <a:ext uri="{FF2B5EF4-FFF2-40B4-BE49-F238E27FC236}">
                    <a16:creationId xmlns:a16="http://schemas.microsoft.com/office/drawing/2014/main" id="{B5C6A22D-2300-4BE1-8C2D-EE15D615BD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81912" y="12615233"/>
                <a:ext cx="134938" cy="317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Line 131">
                <a:extLst>
                  <a:ext uri="{FF2B5EF4-FFF2-40B4-BE49-F238E27FC236}">
                    <a16:creationId xmlns:a16="http://schemas.microsoft.com/office/drawing/2014/main" id="{BEBAB6CC-91ED-40E7-8E38-1802BDB21C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91437" y="12480295"/>
                <a:ext cx="222250" cy="285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Line 132">
                <a:extLst>
                  <a:ext uri="{FF2B5EF4-FFF2-40B4-BE49-F238E27FC236}">
                    <a16:creationId xmlns:a16="http://schemas.microsoft.com/office/drawing/2014/main" id="{60561950-BA19-4D6C-970D-C50C0FDE3A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64449" y="12358058"/>
                <a:ext cx="290513" cy="158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Line 133">
                <a:extLst>
                  <a:ext uri="{FF2B5EF4-FFF2-40B4-BE49-F238E27FC236}">
                    <a16:creationId xmlns:a16="http://schemas.microsoft.com/office/drawing/2014/main" id="{F6F84221-4D88-40B3-B571-A2474445DF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585074" y="12227883"/>
                <a:ext cx="319088" cy="333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Line 134">
                <a:extLst>
                  <a:ext uri="{FF2B5EF4-FFF2-40B4-BE49-F238E27FC236}">
                    <a16:creationId xmlns:a16="http://schemas.microsoft.com/office/drawing/2014/main" id="{C7741803-D811-4F3C-B9A1-498D653B42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473949" y="12121520"/>
                <a:ext cx="309563" cy="73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Line 135">
                <a:extLst>
                  <a:ext uri="{FF2B5EF4-FFF2-40B4-BE49-F238E27FC236}">
                    <a16:creationId xmlns:a16="http://schemas.microsoft.com/office/drawing/2014/main" id="{B52428A0-DDE7-4E29-AFA8-733C8B8872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313612" y="12029445"/>
                <a:ext cx="296863" cy="968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Line 136">
                <a:extLst>
                  <a:ext uri="{FF2B5EF4-FFF2-40B4-BE49-F238E27FC236}">
                    <a16:creationId xmlns:a16="http://schemas.microsoft.com/office/drawing/2014/main" id="{59940D78-B3F5-4BDB-838F-E804CFF734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129462" y="11983408"/>
                <a:ext cx="260350" cy="1031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Line 137">
                <a:extLst>
                  <a:ext uri="{FF2B5EF4-FFF2-40B4-BE49-F238E27FC236}">
                    <a16:creationId xmlns:a16="http://schemas.microsoft.com/office/drawing/2014/main" id="{77AAD96D-5430-46C1-8ABC-328BE0F8B6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551737" y="12618408"/>
                <a:ext cx="65088" cy="1666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Line 138">
                <a:extLst>
                  <a:ext uri="{FF2B5EF4-FFF2-40B4-BE49-F238E27FC236}">
                    <a16:creationId xmlns:a16="http://schemas.microsoft.com/office/drawing/2014/main" id="{38BC22EF-DB7B-465F-BCB1-E3D4EA9533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469187" y="12480295"/>
                <a:ext cx="82550" cy="266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Line 139">
                <a:extLst>
                  <a:ext uri="{FF2B5EF4-FFF2-40B4-BE49-F238E27FC236}">
                    <a16:creationId xmlns:a16="http://schemas.microsoft.com/office/drawing/2014/main" id="{FF77A705-635C-40AA-85CC-1E63E481F0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373937" y="12358058"/>
                <a:ext cx="125413" cy="3175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Line 140">
                <a:extLst>
                  <a:ext uri="{FF2B5EF4-FFF2-40B4-BE49-F238E27FC236}">
                    <a16:creationId xmlns:a16="http://schemas.microsoft.com/office/drawing/2014/main" id="{CEDE5FEE-DDF6-4216-BF77-2AB0309CA0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265987" y="12261220"/>
                <a:ext cx="147638" cy="327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Line 141">
                <a:extLst>
                  <a:ext uri="{FF2B5EF4-FFF2-40B4-BE49-F238E27FC236}">
                    <a16:creationId xmlns:a16="http://schemas.microsoft.com/office/drawing/2014/main" id="{329E69A5-21B6-41E2-B831-03C00D420C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164387" y="12194545"/>
                <a:ext cx="152400" cy="3048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Line 142">
                <a:extLst>
                  <a:ext uri="{FF2B5EF4-FFF2-40B4-BE49-F238E27FC236}">
                    <a16:creationId xmlns:a16="http://schemas.microsoft.com/office/drawing/2014/main" id="{87DD9082-5EE5-45C8-95DB-B80E5C07C4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016749" y="12126283"/>
                <a:ext cx="117475" cy="2587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Line 143">
                <a:extLst>
                  <a:ext uri="{FF2B5EF4-FFF2-40B4-BE49-F238E27FC236}">
                    <a16:creationId xmlns:a16="http://schemas.microsoft.com/office/drawing/2014/main" id="{B78D4107-4A11-4AD6-8E67-DB45E90ECA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6869112" y="12086595"/>
                <a:ext cx="58738" cy="1682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448" name="Group 447">
              <a:extLst>
                <a:ext uri="{FF2B5EF4-FFF2-40B4-BE49-F238E27FC236}">
                  <a16:creationId xmlns:a16="http://schemas.microsoft.com/office/drawing/2014/main" id="{E01DD18A-ED51-4099-B2E8-0E7319ECB4CF}"/>
                </a:ext>
              </a:extLst>
            </p:cNvPr>
            <p:cNvGrpSpPr/>
            <p:nvPr/>
          </p:nvGrpSpPr>
          <p:grpSpPr>
            <a:xfrm flipH="1">
              <a:off x="3543743" y="3359682"/>
              <a:ext cx="2248473" cy="1458362"/>
              <a:chOff x="7827963" y="-5399088"/>
              <a:chExt cx="4598988" cy="2982913"/>
            </a:xfrm>
          </p:grpSpPr>
          <p:sp>
            <p:nvSpPr>
              <p:cNvPr id="449" name="Freeform 18">
                <a:extLst>
                  <a:ext uri="{FF2B5EF4-FFF2-40B4-BE49-F238E27FC236}">
                    <a16:creationId xmlns:a16="http://schemas.microsoft.com/office/drawing/2014/main" id="{37F1F09D-61A1-4C4B-ADEA-656D0A5A3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7963" y="-4533900"/>
                <a:ext cx="4598988" cy="1735137"/>
              </a:xfrm>
              <a:custGeom>
                <a:avLst/>
                <a:gdLst>
                  <a:gd name="T0" fmla="*/ 1845 w 1899"/>
                  <a:gd name="T1" fmla="*/ 716 h 716"/>
                  <a:gd name="T2" fmla="*/ 1717 w 1899"/>
                  <a:gd name="T3" fmla="*/ 619 h 716"/>
                  <a:gd name="T4" fmla="*/ 1343 w 1899"/>
                  <a:gd name="T5" fmla="*/ 625 h 716"/>
                  <a:gd name="T6" fmla="*/ 1631 w 1899"/>
                  <a:gd name="T7" fmla="*/ 320 h 716"/>
                  <a:gd name="T8" fmla="*/ 1272 w 1899"/>
                  <a:gd name="T9" fmla="*/ 406 h 716"/>
                  <a:gd name="T10" fmla="*/ 1431 w 1899"/>
                  <a:gd name="T11" fmla="*/ 154 h 716"/>
                  <a:gd name="T12" fmla="*/ 955 w 1899"/>
                  <a:gd name="T13" fmla="*/ 367 h 716"/>
                  <a:gd name="T14" fmla="*/ 1090 w 1899"/>
                  <a:gd name="T15" fmla="*/ 102 h 716"/>
                  <a:gd name="T16" fmla="*/ 859 w 1899"/>
                  <a:gd name="T17" fmla="*/ 185 h 716"/>
                  <a:gd name="T18" fmla="*/ 765 w 1899"/>
                  <a:gd name="T19" fmla="*/ 72 h 716"/>
                  <a:gd name="T20" fmla="*/ 599 w 1899"/>
                  <a:gd name="T21" fmla="*/ 264 h 716"/>
                  <a:gd name="T22" fmla="*/ 202 w 1899"/>
                  <a:gd name="T23" fmla="*/ 43 h 716"/>
                  <a:gd name="T24" fmla="*/ 233 w 1899"/>
                  <a:gd name="T25" fmla="*/ 665 h 716"/>
                  <a:gd name="T26" fmla="*/ 1845 w 1899"/>
                  <a:gd name="T27" fmla="*/ 716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99" h="716">
                    <a:moveTo>
                      <a:pt x="1845" y="716"/>
                    </a:moveTo>
                    <a:cubicBezTo>
                      <a:pt x="1873" y="676"/>
                      <a:pt x="1841" y="641"/>
                      <a:pt x="1717" y="619"/>
                    </a:cubicBezTo>
                    <a:cubicBezTo>
                      <a:pt x="1581" y="594"/>
                      <a:pt x="1451" y="604"/>
                      <a:pt x="1343" y="625"/>
                    </a:cubicBezTo>
                    <a:cubicBezTo>
                      <a:pt x="1599" y="511"/>
                      <a:pt x="1899" y="348"/>
                      <a:pt x="1631" y="320"/>
                    </a:cubicBezTo>
                    <a:cubicBezTo>
                      <a:pt x="1548" y="311"/>
                      <a:pt x="1417" y="348"/>
                      <a:pt x="1272" y="406"/>
                    </a:cubicBezTo>
                    <a:cubicBezTo>
                      <a:pt x="1436" y="281"/>
                      <a:pt x="1527" y="177"/>
                      <a:pt x="1431" y="154"/>
                    </a:cubicBezTo>
                    <a:cubicBezTo>
                      <a:pt x="1342" y="133"/>
                      <a:pt x="1155" y="233"/>
                      <a:pt x="955" y="367"/>
                    </a:cubicBezTo>
                    <a:cubicBezTo>
                      <a:pt x="1070" y="253"/>
                      <a:pt x="1138" y="152"/>
                      <a:pt x="1090" y="102"/>
                    </a:cubicBezTo>
                    <a:cubicBezTo>
                      <a:pt x="1050" y="62"/>
                      <a:pt x="962" y="104"/>
                      <a:pt x="859" y="185"/>
                    </a:cubicBezTo>
                    <a:cubicBezTo>
                      <a:pt x="866" y="111"/>
                      <a:pt x="836" y="66"/>
                      <a:pt x="765" y="72"/>
                    </a:cubicBezTo>
                    <a:cubicBezTo>
                      <a:pt x="698" y="79"/>
                      <a:pt x="641" y="163"/>
                      <a:pt x="599" y="264"/>
                    </a:cubicBezTo>
                    <a:cubicBezTo>
                      <a:pt x="540" y="103"/>
                      <a:pt x="374" y="0"/>
                      <a:pt x="202" y="43"/>
                    </a:cubicBezTo>
                    <a:cubicBezTo>
                      <a:pt x="0" y="93"/>
                      <a:pt x="149" y="480"/>
                      <a:pt x="233" y="665"/>
                    </a:cubicBezTo>
                    <a:lnTo>
                      <a:pt x="1845" y="716"/>
                    </a:lnTo>
                    <a:close/>
                  </a:path>
                </a:pathLst>
              </a:custGeom>
              <a:solidFill>
                <a:srgbClr val="2805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0" name="Freeform 27">
                <a:extLst>
                  <a:ext uri="{FF2B5EF4-FFF2-40B4-BE49-F238E27FC236}">
                    <a16:creationId xmlns:a16="http://schemas.microsoft.com/office/drawing/2014/main" id="{38954E17-5B74-4362-B9A5-2FB3F44DF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3163" y="-5399088"/>
                <a:ext cx="1376363" cy="2038350"/>
              </a:xfrm>
              <a:custGeom>
                <a:avLst/>
                <a:gdLst>
                  <a:gd name="T0" fmla="*/ 62 w 568"/>
                  <a:gd name="T1" fmla="*/ 342 h 841"/>
                  <a:gd name="T2" fmla="*/ 135 w 568"/>
                  <a:gd name="T3" fmla="*/ 841 h 841"/>
                  <a:gd name="T4" fmla="*/ 506 w 568"/>
                  <a:gd name="T5" fmla="*/ 499 h 841"/>
                  <a:gd name="T6" fmla="*/ 433 w 568"/>
                  <a:gd name="T7" fmla="*/ 0 h 841"/>
                  <a:gd name="T8" fmla="*/ 62 w 568"/>
                  <a:gd name="T9" fmla="*/ 34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8" h="841">
                    <a:moveTo>
                      <a:pt x="62" y="342"/>
                    </a:moveTo>
                    <a:cubicBezTo>
                      <a:pt x="0" y="516"/>
                      <a:pt x="34" y="701"/>
                      <a:pt x="135" y="841"/>
                    </a:cubicBezTo>
                    <a:cubicBezTo>
                      <a:pt x="303" y="796"/>
                      <a:pt x="445" y="673"/>
                      <a:pt x="506" y="499"/>
                    </a:cubicBezTo>
                    <a:cubicBezTo>
                      <a:pt x="568" y="325"/>
                      <a:pt x="534" y="140"/>
                      <a:pt x="433" y="0"/>
                    </a:cubicBezTo>
                    <a:cubicBezTo>
                      <a:pt x="266" y="45"/>
                      <a:pt x="123" y="168"/>
                      <a:pt x="62" y="342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1" name="Line 28">
                <a:extLst>
                  <a:ext uri="{FF2B5EF4-FFF2-40B4-BE49-F238E27FC236}">
                    <a16:creationId xmlns:a16="http://schemas.microsoft.com/office/drawing/2014/main" id="{B7777A92-1B62-4BDB-9534-F4A9AC4AF9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142413" y="-5240338"/>
                <a:ext cx="636588" cy="18002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2" name="Line 29">
                <a:extLst>
                  <a:ext uri="{FF2B5EF4-FFF2-40B4-BE49-F238E27FC236}">
                    <a16:creationId xmlns:a16="http://schemas.microsoft.com/office/drawing/2014/main" id="{BE87DA0E-71EA-4F9B-A20D-520D5DC643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648826" y="-4986338"/>
                <a:ext cx="303213" cy="1190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3" name="Line 30">
                <a:extLst>
                  <a:ext uri="{FF2B5EF4-FFF2-40B4-BE49-F238E27FC236}">
                    <a16:creationId xmlns:a16="http://schemas.microsoft.com/office/drawing/2014/main" id="{5777215A-3654-4180-B8EC-E78B399724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542463" y="-4708525"/>
                <a:ext cx="369888" cy="1492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4" name="Line 31">
                <a:extLst>
                  <a:ext uri="{FF2B5EF4-FFF2-40B4-BE49-F238E27FC236}">
                    <a16:creationId xmlns:a16="http://schemas.microsoft.com/office/drawing/2014/main" id="{FBB34D73-2BD7-4A14-8272-40C468763C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32926" y="-4497388"/>
                <a:ext cx="620713" cy="242887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5" name="Line 32">
                <a:extLst>
                  <a:ext uri="{FF2B5EF4-FFF2-40B4-BE49-F238E27FC236}">
                    <a16:creationId xmlns:a16="http://schemas.microsoft.com/office/drawing/2014/main" id="{4EE27BAC-CE01-46BA-9520-931E107483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323388" y="-4184650"/>
                <a:ext cx="606425" cy="238125"/>
              </a:xfrm>
              <a:prstGeom prst="line">
                <a:avLst/>
              </a:pr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6" name="Line 33">
                <a:extLst>
                  <a:ext uri="{FF2B5EF4-FFF2-40B4-BE49-F238E27FC236}">
                    <a16:creationId xmlns:a16="http://schemas.microsoft.com/office/drawing/2014/main" id="{10C3709B-2B77-42BF-91C4-076889D874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15438" y="-3771900"/>
                <a:ext cx="336550" cy="133350"/>
              </a:xfrm>
              <a:prstGeom prst="line">
                <a:avLst/>
              </a:pr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7" name="Line 34">
                <a:extLst>
                  <a:ext uri="{FF2B5EF4-FFF2-40B4-BE49-F238E27FC236}">
                    <a16:creationId xmlns:a16="http://schemas.microsoft.com/office/drawing/2014/main" id="{D8ABC1E1-8BD0-406B-B8E6-7CD5D9EE23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496426" y="-5187950"/>
                <a:ext cx="161925" cy="280987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8" name="Line 35">
                <a:extLst>
                  <a:ext uri="{FF2B5EF4-FFF2-40B4-BE49-F238E27FC236}">
                    <a16:creationId xmlns:a16="http://schemas.microsoft.com/office/drawing/2014/main" id="{D32D5405-9815-4AAA-8031-51B981533D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299576" y="-5040313"/>
                <a:ext cx="249238" cy="4413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9" name="Line 36">
                <a:extLst>
                  <a:ext uri="{FF2B5EF4-FFF2-40B4-BE49-F238E27FC236}">
                    <a16:creationId xmlns:a16="http://schemas.microsoft.com/office/drawing/2014/main" id="{07366D5F-1F09-451E-8F56-3E1CC3A66E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128126" y="-4843463"/>
                <a:ext cx="312738" cy="54927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0" name="Line 37">
                <a:extLst>
                  <a:ext uri="{FF2B5EF4-FFF2-40B4-BE49-F238E27FC236}">
                    <a16:creationId xmlns:a16="http://schemas.microsoft.com/office/drawing/2014/main" id="{E0978656-89F1-4BD4-9F3E-C5E60F6943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012238" y="-4549775"/>
                <a:ext cx="319088" cy="5635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1" name="Line 38">
                <a:extLst>
                  <a:ext uri="{FF2B5EF4-FFF2-40B4-BE49-F238E27FC236}">
                    <a16:creationId xmlns:a16="http://schemas.microsoft.com/office/drawing/2014/main" id="{6DBFDE9D-5508-477F-B3AC-23D9924473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8948738" y="-4165600"/>
                <a:ext cx="273050" cy="4873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2" name="Freeform 40">
                <a:extLst>
                  <a:ext uri="{FF2B5EF4-FFF2-40B4-BE49-F238E27FC236}">
                    <a16:creationId xmlns:a16="http://schemas.microsoft.com/office/drawing/2014/main" id="{50CACAE0-2ACE-44C6-AA36-061A1043E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4638" y="-3997325"/>
                <a:ext cx="1912938" cy="1268412"/>
              </a:xfrm>
              <a:custGeom>
                <a:avLst/>
                <a:gdLst>
                  <a:gd name="T0" fmla="*/ 327 w 790"/>
                  <a:gd name="T1" fmla="*/ 53 h 524"/>
                  <a:gd name="T2" fmla="*/ 0 w 790"/>
                  <a:gd name="T3" fmla="*/ 391 h 524"/>
                  <a:gd name="T4" fmla="*/ 463 w 790"/>
                  <a:gd name="T5" fmla="*/ 471 h 524"/>
                  <a:gd name="T6" fmla="*/ 790 w 790"/>
                  <a:gd name="T7" fmla="*/ 134 h 524"/>
                  <a:gd name="T8" fmla="*/ 327 w 790"/>
                  <a:gd name="T9" fmla="*/ 53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0" h="524">
                    <a:moveTo>
                      <a:pt x="327" y="53"/>
                    </a:moveTo>
                    <a:cubicBezTo>
                      <a:pt x="164" y="107"/>
                      <a:pt x="46" y="236"/>
                      <a:pt x="0" y="391"/>
                    </a:cubicBezTo>
                    <a:cubicBezTo>
                      <a:pt x="128" y="489"/>
                      <a:pt x="300" y="524"/>
                      <a:pt x="463" y="471"/>
                    </a:cubicBezTo>
                    <a:cubicBezTo>
                      <a:pt x="627" y="418"/>
                      <a:pt x="744" y="288"/>
                      <a:pt x="790" y="134"/>
                    </a:cubicBezTo>
                    <a:cubicBezTo>
                      <a:pt x="662" y="36"/>
                      <a:pt x="491" y="0"/>
                      <a:pt x="327" y="53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3" name="Line 41">
                <a:extLst>
                  <a:ext uri="{FF2B5EF4-FFF2-40B4-BE49-F238E27FC236}">
                    <a16:creationId xmlns:a16="http://schemas.microsoft.com/office/drawing/2014/main" id="{0BCDCC50-7127-42DD-9B8F-4BB4DD3F9E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234488" y="-3632200"/>
                <a:ext cx="1690688" cy="550862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4" name="Line 42">
                <a:extLst>
                  <a:ext uri="{FF2B5EF4-FFF2-40B4-BE49-F238E27FC236}">
                    <a16:creationId xmlns:a16="http://schemas.microsoft.com/office/drawing/2014/main" id="{1A50F47E-E9B9-4D4C-9484-DEFD7CF031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575926" y="-3516313"/>
                <a:ext cx="258763" cy="15557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5" name="Line 43">
                <a:extLst>
                  <a:ext uri="{FF2B5EF4-FFF2-40B4-BE49-F238E27FC236}">
                    <a16:creationId xmlns:a16="http://schemas.microsoft.com/office/drawing/2014/main" id="{E59F4EFF-4BD7-4E06-8808-3374525350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288588" y="-3421063"/>
                <a:ext cx="319088" cy="190500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6" name="Line 44">
                <a:extLst>
                  <a:ext uri="{FF2B5EF4-FFF2-40B4-BE49-F238E27FC236}">
                    <a16:creationId xmlns:a16="http://schemas.microsoft.com/office/drawing/2014/main" id="{B64220E8-FB55-4E94-97F6-8D02FAB597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99663" y="-3328988"/>
                <a:ext cx="533400" cy="322262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7" name="Line 45">
                <a:extLst>
                  <a:ext uri="{FF2B5EF4-FFF2-40B4-BE49-F238E27FC236}">
                    <a16:creationId xmlns:a16="http://schemas.microsoft.com/office/drawing/2014/main" id="{31F11620-04AD-484F-B3B8-8609E77DC6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712326" y="-3235325"/>
                <a:ext cx="517525" cy="312737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8" name="Line 46">
                <a:extLst>
                  <a:ext uri="{FF2B5EF4-FFF2-40B4-BE49-F238E27FC236}">
                    <a16:creationId xmlns:a16="http://schemas.microsoft.com/office/drawing/2014/main" id="{969750B5-F770-4AA8-AC4C-06484DF987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26576" y="-3140075"/>
                <a:ext cx="287338" cy="174625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9" name="Line 47">
                <a:extLst>
                  <a:ext uri="{FF2B5EF4-FFF2-40B4-BE49-F238E27FC236}">
                    <a16:creationId xmlns:a16="http://schemas.microsoft.com/office/drawing/2014/main" id="{2BD5D9CC-21EE-42B7-82F1-5C375D357D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610851" y="-3808413"/>
                <a:ext cx="115888" cy="27622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0" name="Line 48">
                <a:extLst>
                  <a:ext uri="{FF2B5EF4-FFF2-40B4-BE49-F238E27FC236}">
                    <a16:creationId xmlns:a16="http://schemas.microsoft.com/office/drawing/2014/main" id="{3D78FBC8-2A02-4DBF-A9F9-B59091AD49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321926" y="-3871913"/>
                <a:ext cx="180975" cy="433387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1" name="Line 49">
                <a:extLst>
                  <a:ext uri="{FF2B5EF4-FFF2-40B4-BE49-F238E27FC236}">
                    <a16:creationId xmlns:a16="http://schemas.microsoft.com/office/drawing/2014/main" id="{9ADB3385-DAFA-4996-945B-D0200C74A5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033001" y="-3886200"/>
                <a:ext cx="228600" cy="54292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2" name="Line 50">
                <a:extLst>
                  <a:ext uri="{FF2B5EF4-FFF2-40B4-BE49-F238E27FC236}">
                    <a16:creationId xmlns:a16="http://schemas.microsoft.com/office/drawing/2014/main" id="{C106E96E-D986-4D03-8EE6-9A0C301BE9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745663" y="-3808413"/>
                <a:ext cx="234950" cy="557212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3" name="Line 51">
                <a:extLst>
                  <a:ext uri="{FF2B5EF4-FFF2-40B4-BE49-F238E27FC236}">
                    <a16:creationId xmlns:a16="http://schemas.microsoft.com/office/drawing/2014/main" id="{B9F62B66-8AA5-4FFA-A367-752BBA9E53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56738" y="-3633788"/>
                <a:ext cx="201613" cy="476250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4" name="Freeform 52">
                <a:extLst>
                  <a:ext uri="{FF2B5EF4-FFF2-40B4-BE49-F238E27FC236}">
                    <a16:creationId xmlns:a16="http://schemas.microsoft.com/office/drawing/2014/main" id="{2E8EC3ED-FE8A-4F02-A95D-DAA8D0177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5376" y="-5008563"/>
                <a:ext cx="174625" cy="211137"/>
              </a:xfrm>
              <a:custGeom>
                <a:avLst/>
                <a:gdLst>
                  <a:gd name="T0" fmla="*/ 3 w 72"/>
                  <a:gd name="T1" fmla="*/ 87 h 87"/>
                  <a:gd name="T2" fmla="*/ 60 w 72"/>
                  <a:gd name="T3" fmla="*/ 51 h 87"/>
                  <a:gd name="T4" fmla="*/ 61 w 72"/>
                  <a:gd name="T5" fmla="*/ 8 h 87"/>
                  <a:gd name="T6" fmla="*/ 21 w 72"/>
                  <a:gd name="T7" fmla="*/ 22 h 87"/>
                  <a:gd name="T8" fmla="*/ 3 w 72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87">
                    <a:moveTo>
                      <a:pt x="3" y="87"/>
                    </a:moveTo>
                    <a:cubicBezTo>
                      <a:pt x="3" y="87"/>
                      <a:pt x="39" y="79"/>
                      <a:pt x="60" y="51"/>
                    </a:cubicBezTo>
                    <a:cubicBezTo>
                      <a:pt x="68" y="40"/>
                      <a:pt x="72" y="16"/>
                      <a:pt x="61" y="8"/>
                    </a:cubicBezTo>
                    <a:cubicBezTo>
                      <a:pt x="51" y="0"/>
                      <a:pt x="33" y="7"/>
                      <a:pt x="21" y="22"/>
                    </a:cubicBezTo>
                    <a:cubicBezTo>
                      <a:pt x="0" y="50"/>
                      <a:pt x="3" y="87"/>
                      <a:pt x="3" y="87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5" name="Freeform 53">
                <a:extLst>
                  <a:ext uri="{FF2B5EF4-FFF2-40B4-BE49-F238E27FC236}">
                    <a16:creationId xmlns:a16="http://schemas.microsoft.com/office/drawing/2014/main" id="{467021C5-A00E-4452-B2C7-D91B050DB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3926" y="-4897438"/>
                <a:ext cx="122238" cy="209550"/>
              </a:xfrm>
              <a:custGeom>
                <a:avLst/>
                <a:gdLst>
                  <a:gd name="T0" fmla="*/ 35 w 51"/>
                  <a:gd name="T1" fmla="*/ 86 h 86"/>
                  <a:gd name="T2" fmla="*/ 45 w 51"/>
                  <a:gd name="T3" fmla="*/ 28 h 86"/>
                  <a:gd name="T4" fmla="*/ 18 w 51"/>
                  <a:gd name="T5" fmla="*/ 3 h 86"/>
                  <a:gd name="T6" fmla="*/ 3 w 51"/>
                  <a:gd name="T7" fmla="*/ 36 h 86"/>
                  <a:gd name="T8" fmla="*/ 35 w 51"/>
                  <a:gd name="T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86">
                    <a:moveTo>
                      <a:pt x="35" y="86"/>
                    </a:moveTo>
                    <a:cubicBezTo>
                      <a:pt x="35" y="86"/>
                      <a:pt x="51" y="58"/>
                      <a:pt x="45" y="28"/>
                    </a:cubicBezTo>
                    <a:cubicBezTo>
                      <a:pt x="43" y="17"/>
                      <a:pt x="30" y="0"/>
                      <a:pt x="18" y="3"/>
                    </a:cubicBezTo>
                    <a:cubicBezTo>
                      <a:pt x="7" y="5"/>
                      <a:pt x="0" y="21"/>
                      <a:pt x="3" y="36"/>
                    </a:cubicBezTo>
                    <a:cubicBezTo>
                      <a:pt x="9" y="66"/>
                      <a:pt x="35" y="86"/>
                      <a:pt x="35" y="8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6" name="Freeform 54">
                <a:extLst>
                  <a:ext uri="{FF2B5EF4-FFF2-40B4-BE49-F238E27FC236}">
                    <a16:creationId xmlns:a16="http://schemas.microsoft.com/office/drawing/2014/main" id="{103C8102-1329-41B5-99EA-BD2BEEFF7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72638" y="-4727575"/>
                <a:ext cx="150813" cy="184150"/>
              </a:xfrm>
              <a:custGeom>
                <a:avLst/>
                <a:gdLst>
                  <a:gd name="T0" fmla="*/ 59 w 62"/>
                  <a:gd name="T1" fmla="*/ 76 h 76"/>
                  <a:gd name="T2" fmla="*/ 45 w 62"/>
                  <a:gd name="T3" fmla="*/ 18 h 76"/>
                  <a:gd name="T4" fmla="*/ 10 w 62"/>
                  <a:gd name="T5" fmla="*/ 6 h 76"/>
                  <a:gd name="T6" fmla="*/ 10 w 62"/>
                  <a:gd name="T7" fmla="*/ 43 h 76"/>
                  <a:gd name="T8" fmla="*/ 59 w 62"/>
                  <a:gd name="T9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76">
                    <a:moveTo>
                      <a:pt x="59" y="76"/>
                    </a:moveTo>
                    <a:cubicBezTo>
                      <a:pt x="59" y="76"/>
                      <a:pt x="62" y="43"/>
                      <a:pt x="45" y="18"/>
                    </a:cubicBezTo>
                    <a:cubicBezTo>
                      <a:pt x="38" y="9"/>
                      <a:pt x="19" y="0"/>
                      <a:pt x="10" y="6"/>
                    </a:cubicBezTo>
                    <a:cubicBezTo>
                      <a:pt x="0" y="13"/>
                      <a:pt x="1" y="30"/>
                      <a:pt x="10" y="43"/>
                    </a:cubicBezTo>
                    <a:cubicBezTo>
                      <a:pt x="28" y="68"/>
                      <a:pt x="59" y="76"/>
                      <a:pt x="59" y="7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7" name="Freeform 55">
                <a:extLst>
                  <a:ext uri="{FF2B5EF4-FFF2-40B4-BE49-F238E27FC236}">
                    <a16:creationId xmlns:a16="http://schemas.microsoft.com/office/drawing/2014/main" id="{1E8618A9-058B-4CCE-9CB0-382DD86C13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8063" y="-4724400"/>
                <a:ext cx="206375" cy="84137"/>
              </a:xfrm>
              <a:custGeom>
                <a:avLst/>
                <a:gdLst>
                  <a:gd name="T0" fmla="*/ 0 w 85"/>
                  <a:gd name="T1" fmla="*/ 17 h 35"/>
                  <a:gd name="T2" fmla="*/ 55 w 85"/>
                  <a:gd name="T3" fmla="*/ 35 h 35"/>
                  <a:gd name="T4" fmla="*/ 85 w 85"/>
                  <a:gd name="T5" fmla="*/ 18 h 35"/>
                  <a:gd name="T6" fmla="*/ 55 w 85"/>
                  <a:gd name="T7" fmla="*/ 0 h 35"/>
                  <a:gd name="T8" fmla="*/ 0 w 85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35">
                    <a:moveTo>
                      <a:pt x="0" y="17"/>
                    </a:moveTo>
                    <a:cubicBezTo>
                      <a:pt x="0" y="17"/>
                      <a:pt x="24" y="35"/>
                      <a:pt x="55" y="35"/>
                    </a:cubicBezTo>
                    <a:cubicBezTo>
                      <a:pt x="66" y="35"/>
                      <a:pt x="85" y="28"/>
                      <a:pt x="85" y="18"/>
                    </a:cubicBezTo>
                    <a:cubicBezTo>
                      <a:pt x="85" y="8"/>
                      <a:pt x="71" y="0"/>
                      <a:pt x="55" y="0"/>
                    </a:cubicBezTo>
                    <a:cubicBezTo>
                      <a:pt x="25" y="0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8" name="Freeform 56">
                <a:extLst>
                  <a:ext uri="{FF2B5EF4-FFF2-40B4-BE49-F238E27FC236}">
                    <a16:creationId xmlns:a16="http://schemas.microsoft.com/office/drawing/2014/main" id="{4C403C5A-C90A-4173-963E-19F002CA0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09163" y="-4594225"/>
                <a:ext cx="204788" cy="92075"/>
              </a:xfrm>
              <a:custGeom>
                <a:avLst/>
                <a:gdLst>
                  <a:gd name="T0" fmla="*/ 0 w 85"/>
                  <a:gd name="T1" fmla="*/ 18 h 38"/>
                  <a:gd name="T2" fmla="*/ 54 w 85"/>
                  <a:gd name="T3" fmla="*/ 38 h 38"/>
                  <a:gd name="T4" fmla="*/ 85 w 85"/>
                  <a:gd name="T5" fmla="*/ 20 h 38"/>
                  <a:gd name="T6" fmla="*/ 55 w 85"/>
                  <a:gd name="T7" fmla="*/ 1 h 38"/>
                  <a:gd name="T8" fmla="*/ 0 w 85"/>
                  <a:gd name="T9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38">
                    <a:moveTo>
                      <a:pt x="0" y="18"/>
                    </a:moveTo>
                    <a:cubicBezTo>
                      <a:pt x="0" y="18"/>
                      <a:pt x="24" y="37"/>
                      <a:pt x="54" y="38"/>
                    </a:cubicBezTo>
                    <a:cubicBezTo>
                      <a:pt x="65" y="38"/>
                      <a:pt x="84" y="30"/>
                      <a:pt x="85" y="20"/>
                    </a:cubicBezTo>
                    <a:cubicBezTo>
                      <a:pt x="85" y="9"/>
                      <a:pt x="71" y="1"/>
                      <a:pt x="55" y="1"/>
                    </a:cubicBezTo>
                    <a:cubicBezTo>
                      <a:pt x="24" y="0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9" name="Freeform 57">
                <a:extLst>
                  <a:ext uri="{FF2B5EF4-FFF2-40B4-BE49-F238E27FC236}">
                    <a16:creationId xmlns:a16="http://schemas.microsoft.com/office/drawing/2014/main" id="{251DF43C-E7C8-4A9B-8343-0399BFF20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18676" y="-4387850"/>
                <a:ext cx="157163" cy="88900"/>
              </a:xfrm>
              <a:custGeom>
                <a:avLst/>
                <a:gdLst>
                  <a:gd name="T0" fmla="*/ 0 w 65"/>
                  <a:gd name="T1" fmla="*/ 18 h 37"/>
                  <a:gd name="T2" fmla="*/ 42 w 65"/>
                  <a:gd name="T3" fmla="*/ 37 h 37"/>
                  <a:gd name="T4" fmla="*/ 65 w 65"/>
                  <a:gd name="T5" fmla="*/ 19 h 37"/>
                  <a:gd name="T6" fmla="*/ 42 w 65"/>
                  <a:gd name="T7" fmla="*/ 0 h 37"/>
                  <a:gd name="T8" fmla="*/ 0 w 65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37">
                    <a:moveTo>
                      <a:pt x="0" y="18"/>
                    </a:moveTo>
                    <a:cubicBezTo>
                      <a:pt x="0" y="18"/>
                      <a:pt x="18" y="37"/>
                      <a:pt x="42" y="37"/>
                    </a:cubicBezTo>
                    <a:cubicBezTo>
                      <a:pt x="50" y="37"/>
                      <a:pt x="65" y="29"/>
                      <a:pt x="65" y="19"/>
                    </a:cubicBezTo>
                    <a:cubicBezTo>
                      <a:pt x="65" y="9"/>
                      <a:pt x="54" y="0"/>
                      <a:pt x="42" y="0"/>
                    </a:cubicBezTo>
                    <a:cubicBezTo>
                      <a:pt x="19" y="0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0" name="Freeform 58">
                <a:extLst>
                  <a:ext uri="{FF2B5EF4-FFF2-40B4-BE49-F238E27FC236}">
                    <a16:creationId xmlns:a16="http://schemas.microsoft.com/office/drawing/2014/main" id="{CAE1A7DA-1A20-41A3-A08C-393FAA591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5488" y="-4506913"/>
                <a:ext cx="106363" cy="157162"/>
              </a:xfrm>
              <a:custGeom>
                <a:avLst/>
                <a:gdLst>
                  <a:gd name="T0" fmla="*/ 40 w 44"/>
                  <a:gd name="T1" fmla="*/ 65 h 65"/>
                  <a:gd name="T2" fmla="*/ 33 w 44"/>
                  <a:gd name="T3" fmla="*/ 18 h 65"/>
                  <a:gd name="T4" fmla="*/ 8 w 44"/>
                  <a:gd name="T5" fmla="*/ 4 h 65"/>
                  <a:gd name="T6" fmla="*/ 6 w 44"/>
                  <a:gd name="T7" fmla="*/ 32 h 65"/>
                  <a:gd name="T8" fmla="*/ 40 w 44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65">
                    <a:moveTo>
                      <a:pt x="40" y="65"/>
                    </a:moveTo>
                    <a:cubicBezTo>
                      <a:pt x="40" y="65"/>
                      <a:pt x="44" y="40"/>
                      <a:pt x="33" y="18"/>
                    </a:cubicBezTo>
                    <a:cubicBezTo>
                      <a:pt x="29" y="11"/>
                      <a:pt x="16" y="0"/>
                      <a:pt x="8" y="4"/>
                    </a:cubicBezTo>
                    <a:cubicBezTo>
                      <a:pt x="1" y="8"/>
                      <a:pt x="0" y="21"/>
                      <a:pt x="6" y="32"/>
                    </a:cubicBezTo>
                    <a:cubicBezTo>
                      <a:pt x="17" y="54"/>
                      <a:pt x="40" y="65"/>
                      <a:pt x="40" y="65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1" name="Freeform 59">
                <a:extLst>
                  <a:ext uri="{FF2B5EF4-FFF2-40B4-BE49-F238E27FC236}">
                    <a16:creationId xmlns:a16="http://schemas.microsoft.com/office/drawing/2014/main" id="{D982F0A3-11B0-4735-9CA2-3D86A36FF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9876" y="-4833938"/>
                <a:ext cx="863600" cy="1225550"/>
              </a:xfrm>
              <a:custGeom>
                <a:avLst/>
                <a:gdLst>
                  <a:gd name="T0" fmla="*/ 12 w 357"/>
                  <a:gd name="T1" fmla="*/ 504 h 506"/>
                  <a:gd name="T2" fmla="*/ 0 w 357"/>
                  <a:gd name="T3" fmla="*/ 498 h 506"/>
                  <a:gd name="T4" fmla="*/ 4 w 357"/>
                  <a:gd name="T5" fmla="*/ 493 h 506"/>
                  <a:gd name="T6" fmla="*/ 2 w 357"/>
                  <a:gd name="T7" fmla="*/ 496 h 506"/>
                  <a:gd name="T8" fmla="*/ 4 w 357"/>
                  <a:gd name="T9" fmla="*/ 493 h 506"/>
                  <a:gd name="T10" fmla="*/ 35 w 357"/>
                  <a:gd name="T11" fmla="*/ 497 h 506"/>
                  <a:gd name="T12" fmla="*/ 109 w 357"/>
                  <a:gd name="T13" fmla="*/ 436 h 506"/>
                  <a:gd name="T14" fmla="*/ 219 w 357"/>
                  <a:gd name="T15" fmla="*/ 218 h 506"/>
                  <a:gd name="T16" fmla="*/ 334 w 357"/>
                  <a:gd name="T17" fmla="*/ 22 h 506"/>
                  <a:gd name="T18" fmla="*/ 352 w 357"/>
                  <a:gd name="T19" fmla="*/ 0 h 506"/>
                  <a:gd name="T20" fmla="*/ 357 w 357"/>
                  <a:gd name="T21" fmla="*/ 4 h 506"/>
                  <a:gd name="T22" fmla="*/ 339 w 357"/>
                  <a:gd name="T23" fmla="*/ 26 h 506"/>
                  <a:gd name="T24" fmla="*/ 225 w 357"/>
                  <a:gd name="T25" fmla="*/ 220 h 506"/>
                  <a:gd name="T26" fmla="*/ 37 w 357"/>
                  <a:gd name="T27" fmla="*/ 503 h 506"/>
                  <a:gd name="T28" fmla="*/ 12 w 357"/>
                  <a:gd name="T29" fmla="*/ 504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7" h="506">
                    <a:moveTo>
                      <a:pt x="12" y="504"/>
                    </a:moveTo>
                    <a:cubicBezTo>
                      <a:pt x="4" y="502"/>
                      <a:pt x="0" y="498"/>
                      <a:pt x="0" y="498"/>
                    </a:cubicBezTo>
                    <a:cubicBezTo>
                      <a:pt x="4" y="493"/>
                      <a:pt x="4" y="493"/>
                      <a:pt x="4" y="493"/>
                    </a:cubicBezTo>
                    <a:cubicBezTo>
                      <a:pt x="2" y="496"/>
                      <a:pt x="2" y="496"/>
                      <a:pt x="2" y="496"/>
                    </a:cubicBezTo>
                    <a:cubicBezTo>
                      <a:pt x="4" y="493"/>
                      <a:pt x="4" y="493"/>
                      <a:pt x="4" y="493"/>
                    </a:cubicBezTo>
                    <a:cubicBezTo>
                      <a:pt x="4" y="494"/>
                      <a:pt x="15" y="502"/>
                      <a:pt x="35" y="497"/>
                    </a:cubicBezTo>
                    <a:cubicBezTo>
                      <a:pt x="58" y="491"/>
                      <a:pt x="83" y="471"/>
                      <a:pt x="109" y="436"/>
                    </a:cubicBezTo>
                    <a:cubicBezTo>
                      <a:pt x="145" y="388"/>
                      <a:pt x="182" y="315"/>
                      <a:pt x="219" y="218"/>
                    </a:cubicBezTo>
                    <a:cubicBezTo>
                      <a:pt x="263" y="105"/>
                      <a:pt x="306" y="55"/>
                      <a:pt x="334" y="22"/>
                    </a:cubicBezTo>
                    <a:cubicBezTo>
                      <a:pt x="341" y="14"/>
                      <a:pt x="348" y="7"/>
                      <a:pt x="352" y="0"/>
                    </a:cubicBezTo>
                    <a:cubicBezTo>
                      <a:pt x="357" y="4"/>
                      <a:pt x="357" y="4"/>
                      <a:pt x="357" y="4"/>
                    </a:cubicBezTo>
                    <a:cubicBezTo>
                      <a:pt x="352" y="10"/>
                      <a:pt x="346" y="18"/>
                      <a:pt x="339" y="26"/>
                    </a:cubicBezTo>
                    <a:cubicBezTo>
                      <a:pt x="311" y="59"/>
                      <a:pt x="268" y="109"/>
                      <a:pt x="225" y="220"/>
                    </a:cubicBezTo>
                    <a:cubicBezTo>
                      <a:pt x="142" y="436"/>
                      <a:pt x="76" y="493"/>
                      <a:pt x="37" y="503"/>
                    </a:cubicBezTo>
                    <a:cubicBezTo>
                      <a:pt x="26" y="506"/>
                      <a:pt x="18" y="505"/>
                      <a:pt x="12" y="50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2" name="Freeform 60">
                <a:extLst>
                  <a:ext uri="{FF2B5EF4-FFF2-40B4-BE49-F238E27FC236}">
                    <a16:creationId xmlns:a16="http://schemas.microsoft.com/office/drawing/2014/main" id="{DF7F7302-0881-494D-81DD-901E2B79D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3788" y="-4278313"/>
                <a:ext cx="1608138" cy="1538287"/>
              </a:xfrm>
              <a:custGeom>
                <a:avLst/>
                <a:gdLst>
                  <a:gd name="T0" fmla="*/ 198 w 664"/>
                  <a:gd name="T1" fmla="*/ 171 h 635"/>
                  <a:gd name="T2" fmla="*/ 11 w 664"/>
                  <a:gd name="T3" fmla="*/ 611 h 635"/>
                  <a:gd name="T4" fmla="*/ 466 w 664"/>
                  <a:gd name="T5" fmla="*/ 465 h 635"/>
                  <a:gd name="T6" fmla="*/ 653 w 664"/>
                  <a:gd name="T7" fmla="*/ 24 h 635"/>
                  <a:gd name="T8" fmla="*/ 198 w 664"/>
                  <a:gd name="T9" fmla="*/ 171 h 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4" h="635">
                    <a:moveTo>
                      <a:pt x="198" y="171"/>
                    </a:moveTo>
                    <a:cubicBezTo>
                      <a:pt x="65" y="292"/>
                      <a:pt x="0" y="458"/>
                      <a:pt x="11" y="611"/>
                    </a:cubicBezTo>
                    <a:cubicBezTo>
                      <a:pt x="163" y="635"/>
                      <a:pt x="333" y="586"/>
                      <a:pt x="466" y="465"/>
                    </a:cubicBezTo>
                    <a:cubicBezTo>
                      <a:pt x="599" y="343"/>
                      <a:pt x="664" y="178"/>
                      <a:pt x="653" y="24"/>
                    </a:cubicBezTo>
                    <a:cubicBezTo>
                      <a:pt x="501" y="0"/>
                      <a:pt x="331" y="49"/>
                      <a:pt x="198" y="171"/>
                    </a:cubicBezTo>
                    <a:close/>
                  </a:path>
                </a:pathLst>
              </a:custGeom>
              <a:solidFill>
                <a:srgbClr val="742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3" name="Line 61">
                <a:extLst>
                  <a:ext uri="{FF2B5EF4-FFF2-40B4-BE49-F238E27FC236}">
                    <a16:creationId xmlns:a16="http://schemas.microsoft.com/office/drawing/2014/main" id="{3A9F3B32-AD8A-4810-82DE-336056849A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793163" y="-4111625"/>
                <a:ext cx="1376363" cy="1254125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4" name="Line 62">
                <a:extLst>
                  <a:ext uri="{FF2B5EF4-FFF2-40B4-BE49-F238E27FC236}">
                    <a16:creationId xmlns:a16="http://schemas.microsoft.com/office/drawing/2014/main" id="{86CDFA4A-6514-4D8C-8723-4B75190FEA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885363" y="-3852863"/>
                <a:ext cx="293688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5" name="Line 63">
                <a:extLst>
                  <a:ext uri="{FF2B5EF4-FFF2-40B4-BE49-F238E27FC236}">
                    <a16:creationId xmlns:a16="http://schemas.microsoft.com/office/drawing/2014/main" id="{2F1BEDA3-652B-4A75-A1D3-0B7275B636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53588" y="-3636963"/>
                <a:ext cx="358775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6" name="Line 64">
                <a:extLst>
                  <a:ext uri="{FF2B5EF4-FFF2-40B4-BE49-F238E27FC236}">
                    <a16:creationId xmlns:a16="http://schemas.microsoft.com/office/drawing/2014/main" id="{22D24DCD-D7AB-412E-92D5-D4DA85DB19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18638" y="-3424238"/>
                <a:ext cx="600075" cy="269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7" name="Line 65">
                <a:extLst>
                  <a:ext uri="{FF2B5EF4-FFF2-40B4-BE49-F238E27FC236}">
                    <a16:creationId xmlns:a16="http://schemas.microsoft.com/office/drawing/2014/main" id="{19E97C87-A9F0-4589-8DDA-89FC31A6CE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83688" y="-3209925"/>
                <a:ext cx="585788" cy="25400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8" name="Line 66">
                <a:extLst>
                  <a:ext uri="{FF2B5EF4-FFF2-40B4-BE49-F238E27FC236}">
                    <a16:creationId xmlns:a16="http://schemas.microsoft.com/office/drawing/2014/main" id="{001A3BE0-E772-45B6-BA72-3624FD504A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48738" y="-2994025"/>
                <a:ext cx="327025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Line 67">
                <a:extLst>
                  <a:ext uri="{FF2B5EF4-FFF2-40B4-BE49-F238E27FC236}">
                    <a16:creationId xmlns:a16="http://schemas.microsoft.com/office/drawing/2014/main" id="{2EE0976A-7C7A-4B2A-8825-54FCCC17D1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912351" y="-4171950"/>
                <a:ext cx="12700" cy="2905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Line 68">
                <a:extLst>
                  <a:ext uri="{FF2B5EF4-FFF2-40B4-BE49-F238E27FC236}">
                    <a16:creationId xmlns:a16="http://schemas.microsoft.com/office/drawing/2014/main" id="{A0C8A4B8-DE10-464A-A638-44EE0E4F22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677401" y="-4121150"/>
                <a:ext cx="19050" cy="4556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Line 69">
                <a:extLst>
                  <a:ext uri="{FF2B5EF4-FFF2-40B4-BE49-F238E27FC236}">
                    <a16:creationId xmlns:a16="http://schemas.microsoft.com/office/drawing/2014/main" id="{88A8014C-B691-499C-9D2C-CE6D95A2F5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42451" y="-4022725"/>
                <a:ext cx="26988" cy="5699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Line 70">
                <a:extLst>
                  <a:ext uri="{FF2B5EF4-FFF2-40B4-BE49-F238E27FC236}">
                    <a16:creationId xmlns:a16="http://schemas.microsoft.com/office/drawing/2014/main" id="{A10099D8-7237-4C34-A094-5A35D7434D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07501" y="-3822700"/>
                <a:ext cx="26988" cy="5826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Line 71">
                <a:extLst>
                  <a:ext uri="{FF2B5EF4-FFF2-40B4-BE49-F238E27FC236}">
                    <a16:creationId xmlns:a16="http://schemas.microsoft.com/office/drawing/2014/main" id="{115C9DA6-6028-4DF1-8C16-04E3BB2ED9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975726" y="-3527425"/>
                <a:ext cx="20638" cy="50323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Freeform 144">
                <a:extLst>
                  <a:ext uri="{FF2B5EF4-FFF2-40B4-BE49-F238E27FC236}">
                    <a16:creationId xmlns:a16="http://schemas.microsoft.com/office/drawing/2014/main" id="{94BA5AEF-4F02-4244-97F2-064A2C50E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5576" y="-3600450"/>
                <a:ext cx="1709738" cy="1184275"/>
              </a:xfrm>
              <a:custGeom>
                <a:avLst/>
                <a:gdLst>
                  <a:gd name="T0" fmla="*/ 516 w 706"/>
                  <a:gd name="T1" fmla="*/ 421 h 489"/>
                  <a:gd name="T2" fmla="*/ 541 w 706"/>
                  <a:gd name="T3" fmla="*/ 489 h 489"/>
                  <a:gd name="T4" fmla="*/ 706 w 706"/>
                  <a:gd name="T5" fmla="*/ 472 h 489"/>
                  <a:gd name="T6" fmla="*/ 680 w 706"/>
                  <a:gd name="T7" fmla="*/ 319 h 489"/>
                  <a:gd name="T8" fmla="*/ 0 w 706"/>
                  <a:gd name="T9" fmla="*/ 277 h 489"/>
                  <a:gd name="T10" fmla="*/ 365 w 706"/>
                  <a:gd name="T11" fmla="*/ 472 h 489"/>
                  <a:gd name="T12" fmla="*/ 491 w 706"/>
                  <a:gd name="T13" fmla="*/ 488 h 489"/>
                  <a:gd name="T14" fmla="*/ 516 w 706"/>
                  <a:gd name="T15" fmla="*/ 421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489">
                    <a:moveTo>
                      <a:pt x="516" y="421"/>
                    </a:moveTo>
                    <a:cubicBezTo>
                      <a:pt x="541" y="489"/>
                      <a:pt x="541" y="489"/>
                      <a:pt x="541" y="489"/>
                    </a:cubicBezTo>
                    <a:cubicBezTo>
                      <a:pt x="599" y="489"/>
                      <a:pt x="655" y="483"/>
                      <a:pt x="706" y="472"/>
                    </a:cubicBezTo>
                    <a:cubicBezTo>
                      <a:pt x="704" y="421"/>
                      <a:pt x="695" y="369"/>
                      <a:pt x="680" y="319"/>
                    </a:cubicBezTo>
                    <a:cubicBezTo>
                      <a:pt x="604" y="70"/>
                      <a:pt x="199" y="0"/>
                      <a:pt x="0" y="277"/>
                    </a:cubicBezTo>
                    <a:cubicBezTo>
                      <a:pt x="69" y="365"/>
                      <a:pt x="200" y="439"/>
                      <a:pt x="365" y="472"/>
                    </a:cubicBezTo>
                    <a:cubicBezTo>
                      <a:pt x="407" y="480"/>
                      <a:pt x="450" y="486"/>
                      <a:pt x="491" y="488"/>
                    </a:cubicBezTo>
                    <a:lnTo>
                      <a:pt x="516" y="421"/>
                    </a:lnTo>
                    <a:close/>
                  </a:path>
                </a:pathLst>
              </a:custGeom>
              <a:solidFill>
                <a:srgbClr val="641B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Freeform 145">
                <a:extLst>
                  <a:ext uri="{FF2B5EF4-FFF2-40B4-BE49-F238E27FC236}">
                    <a16:creationId xmlns:a16="http://schemas.microsoft.com/office/drawing/2014/main" id="{11F188D0-DE59-4F28-ACD0-163EBBD07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5576" y="-3346450"/>
                <a:ext cx="1709738" cy="889000"/>
              </a:xfrm>
              <a:custGeom>
                <a:avLst/>
                <a:gdLst>
                  <a:gd name="T0" fmla="*/ 706 w 706"/>
                  <a:gd name="T1" fmla="*/ 367 h 367"/>
                  <a:gd name="T2" fmla="*/ 0 w 706"/>
                  <a:gd name="T3" fmla="*/ 172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6" h="367">
                    <a:moveTo>
                      <a:pt x="706" y="367"/>
                    </a:moveTo>
                    <a:cubicBezTo>
                      <a:pt x="706" y="367"/>
                      <a:pt x="433" y="0"/>
                      <a:pt x="0" y="172"/>
                    </a:cubicBezTo>
                  </a:path>
                </a:pathLst>
              </a:cu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Line 146">
                <a:extLst>
                  <a:ext uri="{FF2B5EF4-FFF2-40B4-BE49-F238E27FC236}">
                    <a16:creationId xmlns:a16="http://schemas.microsoft.com/office/drawing/2014/main" id="{1CB7630E-7F36-4515-9B42-BF9ED05BC5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510838" y="-2740025"/>
                <a:ext cx="206375" cy="428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Line 147">
                <a:extLst>
                  <a:ext uri="{FF2B5EF4-FFF2-40B4-BE49-F238E27FC236}">
                    <a16:creationId xmlns:a16="http://schemas.microsoft.com/office/drawing/2014/main" id="{F4076B19-9D17-49D2-88A3-DABF02AD53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321926" y="-2933700"/>
                <a:ext cx="323850" cy="984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Line 148">
                <a:extLst>
                  <a:ext uri="{FF2B5EF4-FFF2-40B4-BE49-F238E27FC236}">
                    <a16:creationId xmlns:a16="http://schemas.microsoft.com/office/drawing/2014/main" id="{2C2E6067-5C32-43E5-8E02-293EA01B0D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110788" y="-3103563"/>
                <a:ext cx="412750" cy="16510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Line 149">
                <a:extLst>
                  <a:ext uri="{FF2B5EF4-FFF2-40B4-BE49-F238E27FC236}">
                    <a16:creationId xmlns:a16="http://schemas.microsoft.com/office/drawing/2014/main" id="{C2142408-0ED1-4B6B-8F11-42F2C21B51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902826" y="-3255963"/>
                <a:ext cx="415925" cy="2508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Line 150">
                <a:extLst>
                  <a:ext uri="{FF2B5EF4-FFF2-40B4-BE49-F238E27FC236}">
                    <a16:creationId xmlns:a16="http://schemas.microsoft.com/office/drawing/2014/main" id="{7D01F95D-480E-454D-9B5D-834D9A846A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718676" y="-3333750"/>
                <a:ext cx="381000" cy="29845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Line 151">
                <a:extLst>
                  <a:ext uri="{FF2B5EF4-FFF2-40B4-BE49-F238E27FC236}">
                    <a16:creationId xmlns:a16="http://schemas.microsoft.com/office/drawing/2014/main" id="{B81C7CDD-F890-4589-ADB4-575CDED25F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471026" y="-3357563"/>
                <a:ext cx="349250" cy="32385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Line 152">
                <a:extLst>
                  <a:ext uri="{FF2B5EF4-FFF2-40B4-BE49-F238E27FC236}">
                    <a16:creationId xmlns:a16="http://schemas.microsoft.com/office/drawing/2014/main" id="{7619690F-5721-4784-AB61-6AB9DA3414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244013" y="-3302000"/>
                <a:ext cx="293688" cy="3095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Line 153">
                <a:extLst>
                  <a:ext uri="{FF2B5EF4-FFF2-40B4-BE49-F238E27FC236}">
                    <a16:creationId xmlns:a16="http://schemas.microsoft.com/office/drawing/2014/main" id="{478E6AAA-C922-48DE-9205-3ED66FC60C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0518776" y="-2697163"/>
                <a:ext cx="15875" cy="2714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Line 154">
                <a:extLst>
                  <a:ext uri="{FF2B5EF4-FFF2-40B4-BE49-F238E27FC236}">
                    <a16:creationId xmlns:a16="http://schemas.microsoft.com/office/drawing/2014/main" id="{284A3798-696C-4B87-804C-CF16683717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321926" y="-2835275"/>
                <a:ext cx="53975" cy="41910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Line 155">
                <a:extLst>
                  <a:ext uri="{FF2B5EF4-FFF2-40B4-BE49-F238E27FC236}">
                    <a16:creationId xmlns:a16="http://schemas.microsoft.com/office/drawing/2014/main" id="{146BDC6E-B234-4DD6-BBFF-AE7AE2E6C9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110788" y="-2938463"/>
                <a:ext cx="30163" cy="51117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Line 156">
                <a:extLst>
                  <a:ext uri="{FF2B5EF4-FFF2-40B4-BE49-F238E27FC236}">
                    <a16:creationId xmlns:a16="http://schemas.microsoft.com/office/drawing/2014/main" id="{31036A90-9E47-4DAD-96C7-D499314DEF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02826" y="-3005138"/>
                <a:ext cx="0" cy="5429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Line 157">
                <a:extLst>
                  <a:ext uri="{FF2B5EF4-FFF2-40B4-BE49-F238E27FC236}">
                    <a16:creationId xmlns:a16="http://schemas.microsoft.com/office/drawing/2014/main" id="{4D4BB189-0A98-46C7-8AC8-A372C9143A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701213" y="-3035300"/>
                <a:ext cx="17463" cy="5175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8" name="Line 158">
                <a:extLst>
                  <a:ext uri="{FF2B5EF4-FFF2-40B4-BE49-F238E27FC236}">
                    <a16:creationId xmlns:a16="http://schemas.microsoft.com/office/drawing/2014/main" id="{13E7618A-862F-45BD-9EAB-CFDD5104BC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71026" y="-3033713"/>
                <a:ext cx="3175" cy="4286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9" name="Line 159">
                <a:extLst>
                  <a:ext uri="{FF2B5EF4-FFF2-40B4-BE49-F238E27FC236}">
                    <a16:creationId xmlns:a16="http://schemas.microsoft.com/office/drawing/2014/main" id="{C6583027-1426-44C5-ADDD-D8C805B294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244013" y="-2992438"/>
                <a:ext cx="23813" cy="2635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630" name="Picture 629">
              <a:extLst>
                <a:ext uri="{FF2B5EF4-FFF2-40B4-BE49-F238E27FC236}">
                  <a16:creationId xmlns:a16="http://schemas.microsoft.com/office/drawing/2014/main" id="{984D61FB-F7EC-487A-BDC1-58DE14F06A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69" t="17291" r="12016" b="11631"/>
            <a:stretch/>
          </p:blipFill>
          <p:spPr>
            <a:xfrm>
              <a:off x="4748737" y="2085747"/>
              <a:ext cx="3359586" cy="3170530"/>
            </a:xfrm>
            <a:prstGeom prst="rect">
              <a:avLst/>
            </a:prstGeom>
          </p:spPr>
        </p:pic>
      </p:grpSp>
      <p:sp>
        <p:nvSpPr>
          <p:cNvPr id="659" name="Arc 658">
            <a:extLst>
              <a:ext uri="{FF2B5EF4-FFF2-40B4-BE49-F238E27FC236}">
                <a16:creationId xmlns:a16="http://schemas.microsoft.com/office/drawing/2014/main" id="{C4E6A427-D050-4DCC-AAAB-CFF2CD58EAD1}"/>
              </a:ext>
            </a:extLst>
          </p:cNvPr>
          <p:cNvSpPr/>
          <p:nvPr/>
        </p:nvSpPr>
        <p:spPr>
          <a:xfrm>
            <a:off x="3130824" y="1279621"/>
            <a:ext cx="4685148" cy="4685148"/>
          </a:xfrm>
          <a:prstGeom prst="arc">
            <a:avLst>
              <a:gd name="adj1" fmla="val 6989423"/>
              <a:gd name="adj2" fmla="val 1463117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38" name="Group 637">
            <a:extLst>
              <a:ext uri="{FF2B5EF4-FFF2-40B4-BE49-F238E27FC236}">
                <a16:creationId xmlns:a16="http://schemas.microsoft.com/office/drawing/2014/main" id="{41E5FFFB-3173-4B48-89D2-18A171233339}"/>
              </a:ext>
            </a:extLst>
          </p:cNvPr>
          <p:cNvGrpSpPr/>
          <p:nvPr/>
        </p:nvGrpSpPr>
        <p:grpSpPr>
          <a:xfrm>
            <a:off x="3246185" y="1838529"/>
            <a:ext cx="768244" cy="768242"/>
            <a:chOff x="8422581" y="812800"/>
            <a:chExt cx="564174" cy="564174"/>
          </a:xfrm>
        </p:grpSpPr>
        <p:sp>
          <p:nvSpPr>
            <p:cNvPr id="656" name="Oval 655">
              <a:extLst>
                <a:ext uri="{FF2B5EF4-FFF2-40B4-BE49-F238E27FC236}">
                  <a16:creationId xmlns:a16="http://schemas.microsoft.com/office/drawing/2014/main" id="{8F156C8E-4148-416B-B6A9-D32A3179EA77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Oval 656">
              <a:extLst>
                <a:ext uri="{FF2B5EF4-FFF2-40B4-BE49-F238E27FC236}">
                  <a16:creationId xmlns:a16="http://schemas.microsoft.com/office/drawing/2014/main" id="{9ABD80A8-B047-4C2C-9E39-5B3E4CD76418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61" name="Rectangle 660">
            <a:extLst>
              <a:ext uri="{FF2B5EF4-FFF2-40B4-BE49-F238E27FC236}">
                <a16:creationId xmlns:a16="http://schemas.microsoft.com/office/drawing/2014/main" id="{5CAF1DCF-81D0-4805-81A7-3FE3214079B6}"/>
              </a:ext>
            </a:extLst>
          </p:cNvPr>
          <p:cNvSpPr/>
          <p:nvPr/>
        </p:nvSpPr>
        <p:spPr>
          <a:xfrm>
            <a:off x="347803" y="4775519"/>
            <a:ext cx="29628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Интегрирован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с электронными журналами.</a:t>
            </a:r>
          </a:p>
        </p:txBody>
      </p:sp>
      <p:grpSp>
        <p:nvGrpSpPr>
          <p:cNvPr id="666" name="Group 665">
            <a:extLst>
              <a:ext uri="{FF2B5EF4-FFF2-40B4-BE49-F238E27FC236}">
                <a16:creationId xmlns:a16="http://schemas.microsoft.com/office/drawing/2014/main" id="{70E61CE6-FBD2-49EA-92FC-268DD2A0946F}"/>
              </a:ext>
            </a:extLst>
          </p:cNvPr>
          <p:cNvGrpSpPr/>
          <p:nvPr/>
        </p:nvGrpSpPr>
        <p:grpSpPr>
          <a:xfrm>
            <a:off x="3246185" y="4637621"/>
            <a:ext cx="768244" cy="768242"/>
            <a:chOff x="8422581" y="812800"/>
            <a:chExt cx="564174" cy="564174"/>
          </a:xfrm>
        </p:grpSpPr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B9712A6-89BA-4691-9C87-998D92C39D03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F77E0DB-1DEC-47F6-AD9A-92AADD0562E4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90" name="Arc 689">
            <a:extLst>
              <a:ext uri="{FF2B5EF4-FFF2-40B4-BE49-F238E27FC236}">
                <a16:creationId xmlns:a16="http://schemas.microsoft.com/office/drawing/2014/main" id="{27B845D4-7942-4621-89FF-0C37A046A184}"/>
              </a:ext>
            </a:extLst>
          </p:cNvPr>
          <p:cNvSpPr/>
          <p:nvPr/>
        </p:nvSpPr>
        <p:spPr>
          <a:xfrm flipH="1">
            <a:off x="4372021" y="1279621"/>
            <a:ext cx="4685148" cy="4685148"/>
          </a:xfrm>
          <a:prstGeom prst="arc">
            <a:avLst>
              <a:gd name="adj1" fmla="val 6989423"/>
              <a:gd name="adj2" fmla="val 1463117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18" name="Group 717">
            <a:extLst>
              <a:ext uri="{FF2B5EF4-FFF2-40B4-BE49-F238E27FC236}">
                <a16:creationId xmlns:a16="http://schemas.microsoft.com/office/drawing/2014/main" id="{138506A7-8EF9-4181-9DBB-21E91DB1124B}"/>
              </a:ext>
            </a:extLst>
          </p:cNvPr>
          <p:cNvGrpSpPr/>
          <p:nvPr/>
        </p:nvGrpSpPr>
        <p:grpSpPr>
          <a:xfrm flipH="1">
            <a:off x="8173565" y="1838529"/>
            <a:ext cx="768242" cy="768242"/>
            <a:chOff x="8422581" y="812800"/>
            <a:chExt cx="564174" cy="564174"/>
          </a:xfrm>
        </p:grpSpPr>
        <p:sp>
          <p:nvSpPr>
            <p:cNvPr id="736" name="Oval 735">
              <a:extLst>
                <a:ext uri="{FF2B5EF4-FFF2-40B4-BE49-F238E27FC236}">
                  <a16:creationId xmlns:a16="http://schemas.microsoft.com/office/drawing/2014/main" id="{CE5E7058-5EBE-43D2-88EC-5AD48B1CE42E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Oval 736">
              <a:extLst>
                <a:ext uri="{FF2B5EF4-FFF2-40B4-BE49-F238E27FC236}">
                  <a16:creationId xmlns:a16="http://schemas.microsoft.com/office/drawing/2014/main" id="{189AAE49-9DED-45CE-9A9A-33E90406298F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96" name="Group 695">
            <a:extLst>
              <a:ext uri="{FF2B5EF4-FFF2-40B4-BE49-F238E27FC236}">
                <a16:creationId xmlns:a16="http://schemas.microsoft.com/office/drawing/2014/main" id="{DA746FFB-E5AA-4418-9B1A-7262096F7A31}"/>
              </a:ext>
            </a:extLst>
          </p:cNvPr>
          <p:cNvGrpSpPr/>
          <p:nvPr/>
        </p:nvGrpSpPr>
        <p:grpSpPr>
          <a:xfrm flipH="1">
            <a:off x="8173565" y="4637621"/>
            <a:ext cx="768242" cy="768242"/>
            <a:chOff x="8422581" y="812800"/>
            <a:chExt cx="564174" cy="564174"/>
          </a:xfrm>
        </p:grpSpPr>
        <p:sp>
          <p:nvSpPr>
            <p:cNvPr id="714" name="Oval 713">
              <a:extLst>
                <a:ext uri="{FF2B5EF4-FFF2-40B4-BE49-F238E27FC236}">
                  <a16:creationId xmlns:a16="http://schemas.microsoft.com/office/drawing/2014/main" id="{9CDB66C3-33FE-45E8-959D-2803BB53B8FB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Oval 714">
              <a:extLst>
                <a:ext uri="{FF2B5EF4-FFF2-40B4-BE49-F238E27FC236}">
                  <a16:creationId xmlns:a16="http://schemas.microsoft.com/office/drawing/2014/main" id="{05C58D9D-7243-4D3D-A5E1-27E89B8DAC55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" name="Rectangle 660">
            <a:extLst>
              <a:ext uri="{FF2B5EF4-FFF2-40B4-BE49-F238E27FC236}">
                <a16:creationId xmlns:a16="http://schemas.microsoft.com/office/drawing/2014/main" id="{48FDF808-97F7-45BD-849D-7E71A73C2130}"/>
              </a:ext>
            </a:extLst>
          </p:cNvPr>
          <p:cNvSpPr/>
          <p:nvPr/>
        </p:nvSpPr>
        <p:spPr>
          <a:xfrm>
            <a:off x="342943" y="1792598"/>
            <a:ext cx="260017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Содержит 1,6 трлн интерактивных заданий школьной программы по разным предметам для разных возрастов. </a:t>
            </a:r>
          </a:p>
        </p:txBody>
      </p:sp>
      <p:sp>
        <p:nvSpPr>
          <p:cNvPr id="4" name="Rectangle 660">
            <a:extLst>
              <a:ext uri="{FF2B5EF4-FFF2-40B4-BE49-F238E27FC236}">
                <a16:creationId xmlns:a16="http://schemas.microsoft.com/office/drawing/2014/main" id="{1C0D0F21-B2AE-4A0F-BC95-5D8C39E98FEE}"/>
              </a:ext>
            </a:extLst>
          </p:cNvPr>
          <p:cNvSpPr/>
          <p:nvPr/>
        </p:nvSpPr>
        <p:spPr>
          <a:xfrm>
            <a:off x="9142188" y="4729779"/>
            <a:ext cx="29628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Все материалы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соответствуют ФГОС.</a:t>
            </a:r>
          </a:p>
        </p:txBody>
      </p:sp>
      <p:sp>
        <p:nvSpPr>
          <p:cNvPr id="5" name="Rectangle 660">
            <a:extLst>
              <a:ext uri="{FF2B5EF4-FFF2-40B4-BE49-F238E27FC236}">
                <a16:creationId xmlns:a16="http://schemas.microsoft.com/office/drawing/2014/main" id="{BB68F843-A530-411F-B3A7-4AF822735797}"/>
              </a:ext>
            </a:extLst>
          </p:cNvPr>
          <p:cNvSpPr/>
          <p:nvPr/>
        </p:nvSpPr>
        <p:spPr>
          <a:xfrm>
            <a:off x="9093675" y="1792598"/>
            <a:ext cx="296285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Управление тестовыми, проверочными и домашними работами, ВПР (ЕГЭ)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6AFF1C-1886-4281-B3C3-113754DAAD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927" y="1851075"/>
            <a:ext cx="729598" cy="72959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14106A1-21C5-4E5D-A0C4-A27B4522EC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927" y="4652827"/>
            <a:ext cx="729598" cy="729598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078A8D9-F5CE-402F-B7ED-19A5E7F390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2688" y="1851075"/>
            <a:ext cx="729598" cy="729598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0EC0A4B-584C-4E15-8F39-D320533F97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3731" y="4646532"/>
            <a:ext cx="729598" cy="72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3676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8C65F9-9064-40D0-8147-1B957E7AC2C4}"/>
              </a:ext>
            </a:extLst>
          </p:cNvPr>
          <p:cNvSpPr/>
          <p:nvPr/>
        </p:nvSpPr>
        <p:spPr>
          <a:xfrm>
            <a:off x="0" y="0"/>
            <a:ext cx="12191996" cy="2943224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5" name="Graphic 2">
            <a:extLst>
              <a:ext uri="{FF2B5EF4-FFF2-40B4-BE49-F238E27FC236}">
                <a16:creationId xmlns:a16="http://schemas.microsoft.com/office/drawing/2014/main" id="{D8D77915-D895-4408-836D-BC5D45371753}"/>
              </a:ext>
            </a:extLst>
          </p:cNvPr>
          <p:cNvGrpSpPr/>
          <p:nvPr/>
        </p:nvGrpSpPr>
        <p:grpSpPr>
          <a:xfrm>
            <a:off x="0" y="-91644"/>
            <a:ext cx="12184441" cy="3584691"/>
            <a:chOff x="0" y="-91644"/>
            <a:chExt cx="12184441" cy="3584691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27AF5C6-5287-464C-A94F-BFF5E8D34F67}"/>
                </a:ext>
              </a:extLst>
            </p:cNvPr>
            <p:cNvSpPr/>
            <p:nvPr/>
          </p:nvSpPr>
          <p:spPr>
            <a:xfrm>
              <a:off x="8765561" y="1049728"/>
              <a:ext cx="3413760" cy="2243327"/>
            </a:xfrm>
            <a:custGeom>
              <a:avLst/>
              <a:gdLst>
                <a:gd name="connsiteX0" fmla="*/ 0 w 3413760"/>
                <a:gd name="connsiteY0" fmla="*/ 2258489 h 2243327"/>
                <a:gd name="connsiteX1" fmla="*/ 3426440 w 3413760"/>
                <a:gd name="connsiteY1" fmla="*/ 2258489 h 2243327"/>
                <a:gd name="connsiteX2" fmla="*/ 3426440 w 3413760"/>
                <a:gd name="connsiteY2" fmla="*/ 498208 h 2243327"/>
                <a:gd name="connsiteX3" fmla="*/ 2979724 w 3413760"/>
                <a:gd name="connsiteY3" fmla="*/ 788134 h 2243327"/>
                <a:gd name="connsiteX4" fmla="*/ 2471806 w 3413760"/>
                <a:gd name="connsiteY4" fmla="*/ 43 h 2243327"/>
                <a:gd name="connsiteX5" fmla="*/ 1867814 w 3413760"/>
                <a:gd name="connsiteY5" fmla="*/ 932243 h 2243327"/>
                <a:gd name="connsiteX6" fmla="*/ 1078016 w 3413760"/>
                <a:gd name="connsiteY6" fmla="*/ 932243 h 2243327"/>
                <a:gd name="connsiteX7" fmla="*/ 753465 w 3413760"/>
                <a:gd name="connsiteY7" fmla="*/ 1722528 h 2243327"/>
                <a:gd name="connsiteX8" fmla="*/ 0 w 3413760"/>
                <a:gd name="connsiteY8" fmla="*/ 2258489 h 22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13760" h="2243327">
                  <a:moveTo>
                    <a:pt x="0" y="2258489"/>
                  </a:moveTo>
                  <a:lnTo>
                    <a:pt x="3426440" y="2258489"/>
                  </a:lnTo>
                  <a:lnTo>
                    <a:pt x="3426440" y="498208"/>
                  </a:lnTo>
                  <a:cubicBezTo>
                    <a:pt x="3213080" y="466997"/>
                    <a:pt x="3150412" y="779843"/>
                    <a:pt x="2979724" y="788134"/>
                  </a:cubicBezTo>
                  <a:cubicBezTo>
                    <a:pt x="2774655" y="797887"/>
                    <a:pt x="2735397" y="-6784"/>
                    <a:pt x="2471806" y="43"/>
                  </a:cubicBezTo>
                  <a:cubicBezTo>
                    <a:pt x="2207971" y="6627"/>
                    <a:pt x="2143354" y="812274"/>
                    <a:pt x="1867814" y="932243"/>
                  </a:cubicBezTo>
                  <a:cubicBezTo>
                    <a:pt x="1592519" y="1051969"/>
                    <a:pt x="1247242" y="656216"/>
                    <a:pt x="1078016" y="932243"/>
                  </a:cubicBezTo>
                  <a:cubicBezTo>
                    <a:pt x="908547" y="1208270"/>
                    <a:pt x="1047781" y="1728624"/>
                    <a:pt x="753465" y="1722528"/>
                  </a:cubicBezTo>
                  <a:cubicBezTo>
                    <a:pt x="459150" y="1716189"/>
                    <a:pt x="19507" y="1608899"/>
                    <a:pt x="0" y="2258489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7D986F0-928E-4E29-A80C-AEE9EFDA257C}"/>
                </a:ext>
              </a:extLst>
            </p:cNvPr>
            <p:cNvSpPr/>
            <p:nvPr/>
          </p:nvSpPr>
          <p:spPr>
            <a:xfrm>
              <a:off x="11243706" y="1357009"/>
              <a:ext cx="48768" cy="1950719"/>
            </a:xfrm>
            <a:custGeom>
              <a:avLst/>
              <a:gdLst>
                <a:gd name="connsiteX0" fmla="*/ 0 w 48768"/>
                <a:gd name="connsiteY0" fmla="*/ 0 h 1950719"/>
                <a:gd name="connsiteX1" fmla="*/ 13168 w 48768"/>
                <a:gd name="connsiteY1" fmla="*/ 1952914 h 1950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950719">
                  <a:moveTo>
                    <a:pt x="0" y="0"/>
                  </a:moveTo>
                  <a:cubicBezTo>
                    <a:pt x="0" y="0"/>
                    <a:pt x="100950" y="1157508"/>
                    <a:pt x="13168" y="1952914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C785E83-F6A5-4C2D-95FA-712DF75BD973}"/>
                </a:ext>
              </a:extLst>
            </p:cNvPr>
            <p:cNvSpPr/>
            <p:nvPr/>
          </p:nvSpPr>
          <p:spPr>
            <a:xfrm>
              <a:off x="12126163" y="3071691"/>
              <a:ext cx="48768" cy="219456"/>
            </a:xfrm>
            <a:custGeom>
              <a:avLst/>
              <a:gdLst>
                <a:gd name="connsiteX0" fmla="*/ 65837 w 48768"/>
                <a:gd name="connsiteY0" fmla="*/ 0 h 219455"/>
                <a:gd name="connsiteX1" fmla="*/ 0 w 48768"/>
                <a:gd name="connsiteY1" fmla="*/ 231648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219455">
                  <a:moveTo>
                    <a:pt x="65837" y="0"/>
                  </a:moveTo>
                  <a:cubicBezTo>
                    <a:pt x="49012" y="86807"/>
                    <a:pt x="27554" y="165811"/>
                    <a:pt x="0" y="23164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929AC63-569D-4B72-9302-2C207AB18971}"/>
                </a:ext>
              </a:extLst>
            </p:cNvPr>
            <p:cNvSpPr/>
            <p:nvPr/>
          </p:nvSpPr>
          <p:spPr>
            <a:xfrm>
              <a:off x="12101779" y="1886629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90221 w 73152"/>
                <a:gd name="connsiteY1" fmla="*/ 87782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90221" y="877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ED061E2-DB6C-4619-8FF7-25D4C1E3577F}"/>
                </a:ext>
              </a:extLst>
            </p:cNvPr>
            <p:cNvSpPr/>
            <p:nvPr/>
          </p:nvSpPr>
          <p:spPr>
            <a:xfrm>
              <a:off x="12035942" y="2214594"/>
              <a:ext cx="146304" cy="97536"/>
            </a:xfrm>
            <a:custGeom>
              <a:avLst/>
              <a:gdLst>
                <a:gd name="connsiteX0" fmla="*/ 0 w 146304"/>
                <a:gd name="connsiteY0" fmla="*/ 0 h 97535"/>
                <a:gd name="connsiteX1" fmla="*/ 156058 w 146304"/>
                <a:gd name="connsiteY1" fmla="*/ 118262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97535">
                  <a:moveTo>
                    <a:pt x="0" y="0"/>
                  </a:moveTo>
                  <a:lnTo>
                    <a:pt x="156058" y="11826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1A7E89C-D70A-4B03-B62C-F000EE899C99}"/>
                </a:ext>
              </a:extLst>
            </p:cNvPr>
            <p:cNvSpPr/>
            <p:nvPr/>
          </p:nvSpPr>
          <p:spPr>
            <a:xfrm>
              <a:off x="11989369" y="2507934"/>
              <a:ext cx="195072" cy="146304"/>
            </a:xfrm>
            <a:custGeom>
              <a:avLst/>
              <a:gdLst>
                <a:gd name="connsiteX0" fmla="*/ 0 w 195072"/>
                <a:gd name="connsiteY0" fmla="*/ 0 h 146303"/>
                <a:gd name="connsiteX1" fmla="*/ 202631 w 195072"/>
                <a:gd name="connsiteY1" fmla="*/ 15947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46303">
                  <a:moveTo>
                    <a:pt x="0" y="0"/>
                  </a:moveTo>
                  <a:lnTo>
                    <a:pt x="202631" y="15947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AFF682B-0D2A-454C-A62A-1F1748367914}"/>
                </a:ext>
              </a:extLst>
            </p:cNvPr>
            <p:cNvSpPr/>
            <p:nvPr/>
          </p:nvSpPr>
          <p:spPr>
            <a:xfrm>
              <a:off x="11261019" y="1433819"/>
              <a:ext cx="97536" cy="146304"/>
            </a:xfrm>
            <a:custGeom>
              <a:avLst/>
              <a:gdLst>
                <a:gd name="connsiteX0" fmla="*/ 116068 w 97536"/>
                <a:gd name="connsiteY0" fmla="*/ 0 h 146303"/>
                <a:gd name="connsiteX1" fmla="*/ 0 w 97536"/>
                <a:gd name="connsiteY1" fmla="*/ 16312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16068" y="0"/>
                  </a:moveTo>
                  <a:lnTo>
                    <a:pt x="0" y="16312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6629E6-15BE-4150-A207-A9E00FC54C4B}"/>
                </a:ext>
              </a:extLst>
            </p:cNvPr>
            <p:cNvSpPr/>
            <p:nvPr/>
          </p:nvSpPr>
          <p:spPr>
            <a:xfrm>
              <a:off x="11038637" y="1534281"/>
              <a:ext cx="219456" cy="219456"/>
            </a:xfrm>
            <a:custGeom>
              <a:avLst/>
              <a:gdLst>
                <a:gd name="connsiteX0" fmla="*/ 0 w 219456"/>
                <a:gd name="connsiteY0" fmla="*/ 0 h 219455"/>
                <a:gd name="connsiteX1" fmla="*/ 231892 w 219456"/>
                <a:gd name="connsiteY1" fmla="*/ 223357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19455">
                  <a:moveTo>
                    <a:pt x="0" y="0"/>
                  </a:moveTo>
                  <a:lnTo>
                    <a:pt x="231892" y="2233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387AFEB-E764-4BDD-BD02-9F754F07238E}"/>
                </a:ext>
              </a:extLst>
            </p:cNvPr>
            <p:cNvSpPr/>
            <p:nvPr/>
          </p:nvSpPr>
          <p:spPr>
            <a:xfrm>
              <a:off x="11285403" y="1829815"/>
              <a:ext cx="243840" cy="268224"/>
            </a:xfrm>
            <a:custGeom>
              <a:avLst/>
              <a:gdLst>
                <a:gd name="connsiteX0" fmla="*/ 244815 w 243840"/>
                <a:gd name="connsiteY0" fmla="*/ 0 h 268223"/>
                <a:gd name="connsiteX1" fmla="*/ 0 w 243840"/>
                <a:gd name="connsiteY1" fmla="*/ 272857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68223">
                  <a:moveTo>
                    <a:pt x="244815" y="0"/>
                  </a:moveTo>
                  <a:lnTo>
                    <a:pt x="0" y="2728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33F58C6-1A25-40DF-AF74-FE9627A7E967}"/>
                </a:ext>
              </a:extLst>
            </p:cNvPr>
            <p:cNvSpPr/>
            <p:nvPr/>
          </p:nvSpPr>
          <p:spPr>
            <a:xfrm>
              <a:off x="10918180" y="1966121"/>
              <a:ext cx="365760" cy="365760"/>
            </a:xfrm>
            <a:custGeom>
              <a:avLst/>
              <a:gdLst>
                <a:gd name="connsiteX0" fmla="*/ 0 w 365760"/>
                <a:gd name="connsiteY0" fmla="*/ 0 h 365759"/>
                <a:gd name="connsiteX1" fmla="*/ 374538 w 365760"/>
                <a:gd name="connsiteY1" fmla="*/ 367223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760" h="365759">
                  <a:moveTo>
                    <a:pt x="0" y="0"/>
                  </a:moveTo>
                  <a:lnTo>
                    <a:pt x="374538" y="367223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05A9F5-E3FD-47DF-A624-5B1166595FB9}"/>
                </a:ext>
              </a:extLst>
            </p:cNvPr>
            <p:cNvSpPr/>
            <p:nvPr/>
          </p:nvSpPr>
          <p:spPr>
            <a:xfrm>
              <a:off x="11292474" y="2149733"/>
              <a:ext cx="438912" cy="414528"/>
            </a:xfrm>
            <a:custGeom>
              <a:avLst/>
              <a:gdLst>
                <a:gd name="connsiteX0" fmla="*/ 443057 w 438912"/>
                <a:gd name="connsiteY0" fmla="*/ 0 h 414527"/>
                <a:gd name="connsiteX1" fmla="*/ 0 w 438912"/>
                <a:gd name="connsiteY1" fmla="*/ 427451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8912" h="414527">
                  <a:moveTo>
                    <a:pt x="443057" y="0"/>
                  </a:moveTo>
                  <a:lnTo>
                    <a:pt x="0" y="4274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FA883DC-092C-4BA7-903B-CE206E5B5165}"/>
                </a:ext>
              </a:extLst>
            </p:cNvPr>
            <p:cNvSpPr/>
            <p:nvPr/>
          </p:nvSpPr>
          <p:spPr>
            <a:xfrm>
              <a:off x="10797479" y="2428686"/>
              <a:ext cx="487680" cy="438912"/>
            </a:xfrm>
            <a:custGeom>
              <a:avLst/>
              <a:gdLst>
                <a:gd name="connsiteX0" fmla="*/ 0 w 487680"/>
                <a:gd name="connsiteY0" fmla="*/ 0 h 438911"/>
                <a:gd name="connsiteX1" fmla="*/ 489143 w 487680"/>
                <a:gd name="connsiteY1" fmla="*/ 448422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0" h="438911">
                  <a:moveTo>
                    <a:pt x="0" y="0"/>
                  </a:moveTo>
                  <a:lnTo>
                    <a:pt x="489143" y="44842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20362A7-DEF4-4AF5-9222-C2CAEF4355C4}"/>
                </a:ext>
              </a:extLst>
            </p:cNvPr>
            <p:cNvSpPr/>
            <p:nvPr/>
          </p:nvSpPr>
          <p:spPr>
            <a:xfrm>
              <a:off x="11278819" y="2679109"/>
              <a:ext cx="512064" cy="341376"/>
            </a:xfrm>
            <a:custGeom>
              <a:avLst/>
              <a:gdLst>
                <a:gd name="connsiteX0" fmla="*/ 524987 w 512064"/>
                <a:gd name="connsiteY0" fmla="*/ 0 h 341375"/>
                <a:gd name="connsiteX1" fmla="*/ 0 w 512064"/>
                <a:gd name="connsiteY1" fmla="*/ 36454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2064" h="341375">
                  <a:moveTo>
                    <a:pt x="524987" y="0"/>
                  </a:moveTo>
                  <a:lnTo>
                    <a:pt x="0" y="3645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E96689F-A080-4032-AF87-666EE826E4F1}"/>
                </a:ext>
              </a:extLst>
            </p:cNvPr>
            <p:cNvSpPr/>
            <p:nvPr/>
          </p:nvSpPr>
          <p:spPr>
            <a:xfrm>
              <a:off x="10056206" y="2149733"/>
              <a:ext cx="195072" cy="1146048"/>
            </a:xfrm>
            <a:custGeom>
              <a:avLst/>
              <a:gdLst>
                <a:gd name="connsiteX0" fmla="*/ 0 w 195072"/>
                <a:gd name="connsiteY0" fmla="*/ 0 h 1146047"/>
                <a:gd name="connsiteX1" fmla="*/ 208483 w 195072"/>
                <a:gd name="connsiteY1" fmla="*/ 1159947 h 114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146047">
                  <a:moveTo>
                    <a:pt x="0" y="0"/>
                  </a:moveTo>
                  <a:cubicBezTo>
                    <a:pt x="0" y="0"/>
                    <a:pt x="192146" y="592531"/>
                    <a:pt x="208483" y="115994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52B809-45E2-4DEB-8D43-0746B47A7242}"/>
                </a:ext>
              </a:extLst>
            </p:cNvPr>
            <p:cNvSpPr/>
            <p:nvPr/>
          </p:nvSpPr>
          <p:spPr>
            <a:xfrm>
              <a:off x="10122774" y="2200208"/>
              <a:ext cx="48768" cy="170688"/>
            </a:xfrm>
            <a:custGeom>
              <a:avLst/>
              <a:gdLst>
                <a:gd name="connsiteX0" fmla="*/ 70226 w 48768"/>
                <a:gd name="connsiteY0" fmla="*/ 0 h 170687"/>
                <a:gd name="connsiteX1" fmla="*/ 0 w 48768"/>
                <a:gd name="connsiteY1" fmla="*/ 186294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70687">
                  <a:moveTo>
                    <a:pt x="70226" y="0"/>
                  </a:moveTo>
                  <a:lnTo>
                    <a:pt x="0" y="18629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4132E27-5C8B-4140-AF2C-0DA11251F028}"/>
                </a:ext>
              </a:extLst>
            </p:cNvPr>
            <p:cNvSpPr/>
            <p:nvPr/>
          </p:nvSpPr>
          <p:spPr>
            <a:xfrm>
              <a:off x="10202509" y="2294086"/>
              <a:ext cx="195072" cy="438912"/>
            </a:xfrm>
            <a:custGeom>
              <a:avLst/>
              <a:gdLst>
                <a:gd name="connsiteX0" fmla="*/ 218481 w 195072"/>
                <a:gd name="connsiteY0" fmla="*/ 0 h 438911"/>
                <a:gd name="connsiteX1" fmla="*/ 0 w 195072"/>
                <a:gd name="connsiteY1" fmla="*/ 457688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438911">
                  <a:moveTo>
                    <a:pt x="218481" y="0"/>
                  </a:moveTo>
                  <a:lnTo>
                    <a:pt x="0" y="45768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3510742-BEC5-4745-824F-1E8880BC88E6}"/>
                </a:ext>
              </a:extLst>
            </p:cNvPr>
            <p:cNvSpPr/>
            <p:nvPr/>
          </p:nvSpPr>
          <p:spPr>
            <a:xfrm>
              <a:off x="10249571" y="2698616"/>
              <a:ext cx="219456" cy="365760"/>
            </a:xfrm>
            <a:custGeom>
              <a:avLst/>
              <a:gdLst>
                <a:gd name="connsiteX0" fmla="*/ 233355 w 219456"/>
                <a:gd name="connsiteY0" fmla="*/ 0 h 365759"/>
                <a:gd name="connsiteX1" fmla="*/ 0 w 219456"/>
                <a:gd name="connsiteY1" fmla="*/ 384292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365759">
                  <a:moveTo>
                    <a:pt x="233355" y="0"/>
                  </a:moveTo>
                  <a:lnTo>
                    <a:pt x="0" y="38429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1277AEB-7279-47B5-A074-F309964A3D57}"/>
                </a:ext>
              </a:extLst>
            </p:cNvPr>
            <p:cNvSpPr/>
            <p:nvPr/>
          </p:nvSpPr>
          <p:spPr>
            <a:xfrm>
              <a:off x="9968423" y="2373822"/>
              <a:ext cx="170688" cy="73152"/>
            </a:xfrm>
            <a:custGeom>
              <a:avLst/>
              <a:gdLst>
                <a:gd name="connsiteX0" fmla="*/ 0 w 170688"/>
                <a:gd name="connsiteY0" fmla="*/ 0 h 73151"/>
                <a:gd name="connsiteX1" fmla="*/ 172882 w 170688"/>
                <a:gd name="connsiteY1" fmla="*/ 8705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73151">
                  <a:moveTo>
                    <a:pt x="0" y="0"/>
                  </a:moveTo>
                  <a:lnTo>
                    <a:pt x="172882" y="870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C664493-5E34-456F-A6DE-D0E8AE23B777}"/>
                </a:ext>
              </a:extLst>
            </p:cNvPr>
            <p:cNvSpPr/>
            <p:nvPr/>
          </p:nvSpPr>
          <p:spPr>
            <a:xfrm>
              <a:off x="9874057" y="2652774"/>
              <a:ext cx="316992" cy="146304"/>
            </a:xfrm>
            <a:custGeom>
              <a:avLst/>
              <a:gdLst>
                <a:gd name="connsiteX0" fmla="*/ 0 w 316992"/>
                <a:gd name="connsiteY0" fmla="*/ 0 h 146303"/>
                <a:gd name="connsiteX1" fmla="*/ 340889 w 316992"/>
                <a:gd name="connsiteY1" fmla="*/ 170200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146303">
                  <a:moveTo>
                    <a:pt x="0" y="0"/>
                  </a:moveTo>
                  <a:lnTo>
                    <a:pt x="340889" y="1702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6D0E4E7-13F0-4DB2-9F5B-06A6C8D0D914}"/>
                </a:ext>
              </a:extLst>
            </p:cNvPr>
            <p:cNvSpPr/>
            <p:nvPr/>
          </p:nvSpPr>
          <p:spPr>
            <a:xfrm>
              <a:off x="9947453" y="3009756"/>
              <a:ext cx="292608" cy="97536"/>
            </a:xfrm>
            <a:custGeom>
              <a:avLst/>
              <a:gdLst>
                <a:gd name="connsiteX0" fmla="*/ 0 w 292608"/>
                <a:gd name="connsiteY0" fmla="*/ 0 h 97535"/>
                <a:gd name="connsiteX1" fmla="*/ 306507 w 292608"/>
                <a:gd name="connsiteY1" fmla="*/ 118750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608" h="97535">
                  <a:moveTo>
                    <a:pt x="0" y="0"/>
                  </a:moveTo>
                  <a:lnTo>
                    <a:pt x="306507" y="11875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749D8B2-2519-4E11-BE5E-3F8BB8C102FB}"/>
                </a:ext>
              </a:extLst>
            </p:cNvPr>
            <p:cNvSpPr/>
            <p:nvPr/>
          </p:nvSpPr>
          <p:spPr>
            <a:xfrm>
              <a:off x="8722347" y="1691694"/>
              <a:ext cx="1560576" cy="1609344"/>
            </a:xfrm>
            <a:custGeom>
              <a:avLst/>
              <a:gdLst>
                <a:gd name="connsiteX0" fmla="*/ 1563068 w 1560576"/>
                <a:gd name="connsiteY0" fmla="*/ 1616522 h 1609343"/>
                <a:gd name="connsiteX1" fmla="*/ 1304597 w 1560576"/>
                <a:gd name="connsiteY1" fmla="*/ 917920 h 1609343"/>
                <a:gd name="connsiteX2" fmla="*/ 951760 w 1560576"/>
                <a:gd name="connsiteY2" fmla="*/ 537286 h 1609343"/>
                <a:gd name="connsiteX3" fmla="*/ 665493 w 1560576"/>
                <a:gd name="connsiteY3" fmla="*/ 3277 h 1609343"/>
                <a:gd name="connsiteX4" fmla="*/ 379225 w 1560576"/>
                <a:gd name="connsiteY4" fmla="*/ 584347 h 1609343"/>
                <a:gd name="connsiteX5" fmla="*/ 67840 w 1560576"/>
                <a:gd name="connsiteY5" fmla="*/ 955472 h 1609343"/>
                <a:gd name="connsiteX6" fmla="*/ 77838 w 1560576"/>
                <a:gd name="connsiteY6" fmla="*/ 1616278 h 1609343"/>
                <a:gd name="connsiteX7" fmla="*/ 1563068 w 1560576"/>
                <a:gd name="connsiteY7" fmla="*/ 1616278 h 160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0576" h="1609343">
                  <a:moveTo>
                    <a:pt x="1563068" y="1616522"/>
                  </a:moveTo>
                  <a:cubicBezTo>
                    <a:pt x="1624272" y="1197605"/>
                    <a:pt x="1478211" y="948888"/>
                    <a:pt x="1304597" y="917920"/>
                  </a:cubicBezTo>
                  <a:cubicBezTo>
                    <a:pt x="1126107" y="886221"/>
                    <a:pt x="1005650" y="820872"/>
                    <a:pt x="951760" y="537286"/>
                  </a:cubicBezTo>
                  <a:cubicBezTo>
                    <a:pt x="897872" y="253700"/>
                    <a:pt x="864710" y="-34031"/>
                    <a:pt x="665493" y="3277"/>
                  </a:cubicBezTo>
                  <a:cubicBezTo>
                    <a:pt x="466275" y="40584"/>
                    <a:pt x="395806" y="293690"/>
                    <a:pt x="379225" y="584347"/>
                  </a:cubicBezTo>
                  <a:cubicBezTo>
                    <a:pt x="362643" y="874761"/>
                    <a:pt x="238041" y="841599"/>
                    <a:pt x="67840" y="955472"/>
                  </a:cubicBezTo>
                  <a:cubicBezTo>
                    <a:pt x="-65052" y="1044473"/>
                    <a:pt x="30046" y="1445346"/>
                    <a:pt x="77838" y="1616278"/>
                  </a:cubicBezTo>
                  <a:lnTo>
                    <a:pt x="1563068" y="1616278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3247B0A-CDBA-414B-95FF-54A552364396}"/>
                </a:ext>
              </a:extLst>
            </p:cNvPr>
            <p:cNvSpPr/>
            <p:nvPr/>
          </p:nvSpPr>
          <p:spPr>
            <a:xfrm>
              <a:off x="8819326" y="2604982"/>
              <a:ext cx="1292352" cy="682752"/>
            </a:xfrm>
            <a:custGeom>
              <a:avLst/>
              <a:gdLst>
                <a:gd name="connsiteX0" fmla="*/ 1272724 w 1292352"/>
                <a:gd name="connsiteY0" fmla="*/ 379415 h 682751"/>
                <a:gd name="connsiteX1" fmla="*/ 897211 w 1292352"/>
                <a:gd name="connsiteY1" fmla="*/ 421356 h 682751"/>
                <a:gd name="connsiteX2" fmla="*/ 617038 w 1292352"/>
                <a:gd name="connsiteY2" fmla="*/ 0 h 682751"/>
                <a:gd name="connsiteX3" fmla="*/ 303704 w 1292352"/>
                <a:gd name="connsiteY3" fmla="*/ 466954 h 682751"/>
                <a:gd name="connsiteX4" fmla="*/ 52549 w 1292352"/>
                <a:gd name="connsiteY4" fmla="*/ 333573 h 682751"/>
                <a:gd name="connsiteX5" fmla="*/ 43527 w 1292352"/>
                <a:gd name="connsiteY5" fmla="*/ 703234 h 682751"/>
                <a:gd name="connsiteX6" fmla="*/ 1220055 w 1292352"/>
                <a:gd name="connsiteY6" fmla="*/ 703234 h 682751"/>
                <a:gd name="connsiteX7" fmla="*/ 1272724 w 1292352"/>
                <a:gd name="connsiteY7" fmla="*/ 379415 h 68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2352" h="682751">
                  <a:moveTo>
                    <a:pt x="1272724" y="379415"/>
                  </a:moveTo>
                  <a:cubicBezTo>
                    <a:pt x="1191769" y="322844"/>
                    <a:pt x="1027909" y="435986"/>
                    <a:pt x="897211" y="421356"/>
                  </a:cubicBezTo>
                  <a:cubicBezTo>
                    <a:pt x="766512" y="406725"/>
                    <a:pt x="799675" y="0"/>
                    <a:pt x="617038" y="0"/>
                  </a:cubicBezTo>
                  <a:cubicBezTo>
                    <a:pt x="434402" y="0"/>
                    <a:pt x="449033" y="464759"/>
                    <a:pt x="303704" y="466954"/>
                  </a:cubicBezTo>
                  <a:cubicBezTo>
                    <a:pt x="158375" y="468904"/>
                    <a:pt x="170811" y="265786"/>
                    <a:pt x="52549" y="333573"/>
                  </a:cubicBezTo>
                  <a:cubicBezTo>
                    <a:pt x="-44987" y="389412"/>
                    <a:pt x="18411" y="623011"/>
                    <a:pt x="43527" y="703234"/>
                  </a:cubicBezTo>
                  <a:lnTo>
                    <a:pt x="1220055" y="703234"/>
                  </a:lnTo>
                  <a:cubicBezTo>
                    <a:pt x="1264921" y="596676"/>
                    <a:pt x="1328564" y="418429"/>
                    <a:pt x="1272724" y="379415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F9F39C0-3E48-41B4-8969-4C09A54EE9C7}"/>
                </a:ext>
              </a:extLst>
            </p:cNvPr>
            <p:cNvSpPr/>
            <p:nvPr/>
          </p:nvSpPr>
          <p:spPr>
            <a:xfrm>
              <a:off x="9403202" y="1904917"/>
              <a:ext cx="24384" cy="1389888"/>
            </a:xfrm>
            <a:custGeom>
              <a:avLst/>
              <a:gdLst>
                <a:gd name="connsiteX0" fmla="*/ 0 w 24384"/>
                <a:gd name="connsiteY0" fmla="*/ 0 h 1389887"/>
                <a:gd name="connsiteX1" fmla="*/ 9266 w 24384"/>
                <a:gd name="connsiteY1" fmla="*/ 1403543 h 138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389887">
                  <a:moveTo>
                    <a:pt x="0" y="0"/>
                  </a:moveTo>
                  <a:cubicBezTo>
                    <a:pt x="0" y="0"/>
                    <a:pt x="72421" y="831738"/>
                    <a:pt x="9266" y="140354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70CF274-641A-4F42-8DF5-C5C25ED1D035}"/>
                </a:ext>
              </a:extLst>
            </p:cNvPr>
            <p:cNvSpPr/>
            <p:nvPr/>
          </p:nvSpPr>
          <p:spPr>
            <a:xfrm>
              <a:off x="9415638" y="1960025"/>
              <a:ext cx="73152" cy="97536"/>
            </a:xfrm>
            <a:custGeom>
              <a:avLst/>
              <a:gdLst>
                <a:gd name="connsiteX0" fmla="*/ 83393 w 73152"/>
                <a:gd name="connsiteY0" fmla="*/ 0 h 97535"/>
                <a:gd name="connsiteX1" fmla="*/ 0 w 73152"/>
                <a:gd name="connsiteY1" fmla="*/ 117287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97535">
                  <a:moveTo>
                    <a:pt x="83393" y="0"/>
                  </a:moveTo>
                  <a:lnTo>
                    <a:pt x="0" y="1172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6C95E72-EBA8-4693-82DE-A741C633D29D}"/>
                </a:ext>
              </a:extLst>
            </p:cNvPr>
            <p:cNvSpPr/>
            <p:nvPr/>
          </p:nvSpPr>
          <p:spPr>
            <a:xfrm>
              <a:off x="9255679" y="2032202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66787 w 146304"/>
                <a:gd name="connsiteY1" fmla="*/ 16069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66787" y="1606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5D88DC9-557C-4A0A-891D-77BF05E00DFB}"/>
                </a:ext>
              </a:extLst>
            </p:cNvPr>
            <p:cNvSpPr/>
            <p:nvPr/>
          </p:nvSpPr>
          <p:spPr>
            <a:xfrm>
              <a:off x="9433194" y="2244586"/>
              <a:ext cx="170688" cy="195072"/>
            </a:xfrm>
            <a:custGeom>
              <a:avLst/>
              <a:gdLst>
                <a:gd name="connsiteX0" fmla="*/ 175809 w 170688"/>
                <a:gd name="connsiteY0" fmla="*/ 0 h 195071"/>
                <a:gd name="connsiteX1" fmla="*/ 0 w 170688"/>
                <a:gd name="connsiteY1" fmla="*/ 19604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95071">
                  <a:moveTo>
                    <a:pt x="175809" y="0"/>
                  </a:moveTo>
                  <a:lnTo>
                    <a:pt x="0" y="19604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77138AE-FBDA-48C8-A631-CEA0D4AFD4F4}"/>
                </a:ext>
              </a:extLst>
            </p:cNvPr>
            <p:cNvSpPr/>
            <p:nvPr/>
          </p:nvSpPr>
          <p:spPr>
            <a:xfrm>
              <a:off x="9169116" y="2342610"/>
              <a:ext cx="268224" cy="243840"/>
            </a:xfrm>
            <a:custGeom>
              <a:avLst/>
              <a:gdLst>
                <a:gd name="connsiteX0" fmla="*/ 0 w 268224"/>
                <a:gd name="connsiteY0" fmla="*/ 0 h 243839"/>
                <a:gd name="connsiteX1" fmla="*/ 269200 w 268224"/>
                <a:gd name="connsiteY1" fmla="*/ 263835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43839">
                  <a:moveTo>
                    <a:pt x="0" y="0"/>
                  </a:moveTo>
                  <a:lnTo>
                    <a:pt x="269200" y="26383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3024CDF-1985-429D-9786-19754090781B}"/>
                </a:ext>
              </a:extLst>
            </p:cNvPr>
            <p:cNvSpPr/>
            <p:nvPr/>
          </p:nvSpPr>
          <p:spPr>
            <a:xfrm>
              <a:off x="9438071" y="2474527"/>
              <a:ext cx="316992" cy="292608"/>
            </a:xfrm>
            <a:custGeom>
              <a:avLst/>
              <a:gdLst>
                <a:gd name="connsiteX0" fmla="*/ 318455 w 316992"/>
                <a:gd name="connsiteY0" fmla="*/ 0 h 292607"/>
                <a:gd name="connsiteX1" fmla="*/ 0 w 316992"/>
                <a:gd name="connsiteY1" fmla="*/ 307238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292607">
                  <a:moveTo>
                    <a:pt x="318455" y="0"/>
                  </a:moveTo>
                  <a:lnTo>
                    <a:pt x="0" y="3072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70D8454-7703-4ADF-849A-3322284F0DDB}"/>
                </a:ext>
              </a:extLst>
            </p:cNvPr>
            <p:cNvSpPr/>
            <p:nvPr/>
          </p:nvSpPr>
          <p:spPr>
            <a:xfrm>
              <a:off x="9246413" y="2812733"/>
              <a:ext cx="170688" cy="170688"/>
            </a:xfrm>
            <a:custGeom>
              <a:avLst/>
              <a:gdLst>
                <a:gd name="connsiteX0" fmla="*/ 0 w 170688"/>
                <a:gd name="connsiteY0" fmla="*/ 0 h 170687"/>
                <a:gd name="connsiteX1" fmla="*/ 187513 w 170688"/>
                <a:gd name="connsiteY1" fmla="*/ 18458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70687">
                  <a:moveTo>
                    <a:pt x="0" y="0"/>
                  </a:moveTo>
                  <a:lnTo>
                    <a:pt x="187513" y="1845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630D5F5-671A-4B54-8639-1817C42EC345}"/>
                </a:ext>
              </a:extLst>
            </p:cNvPr>
            <p:cNvSpPr/>
            <p:nvPr/>
          </p:nvSpPr>
          <p:spPr>
            <a:xfrm>
              <a:off x="9428317" y="2861989"/>
              <a:ext cx="219456" cy="243840"/>
            </a:xfrm>
            <a:custGeom>
              <a:avLst/>
              <a:gdLst>
                <a:gd name="connsiteX0" fmla="*/ 241157 w 219456"/>
                <a:gd name="connsiteY0" fmla="*/ 0 h 243839"/>
                <a:gd name="connsiteX1" fmla="*/ 0 w 219456"/>
                <a:gd name="connsiteY1" fmla="*/ 255056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43839">
                  <a:moveTo>
                    <a:pt x="241157" y="0"/>
                  </a:moveTo>
                  <a:lnTo>
                    <a:pt x="0" y="25505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9D2BAD05-FE19-45AC-BDA9-748B15C039A5}"/>
                </a:ext>
              </a:extLst>
            </p:cNvPr>
            <p:cNvSpPr/>
            <p:nvPr/>
          </p:nvSpPr>
          <p:spPr>
            <a:xfrm>
              <a:off x="8950878" y="2781278"/>
              <a:ext cx="73152" cy="512064"/>
            </a:xfrm>
            <a:custGeom>
              <a:avLst/>
              <a:gdLst>
                <a:gd name="connsiteX0" fmla="*/ 0 w 73152"/>
                <a:gd name="connsiteY0" fmla="*/ 0 h 512063"/>
                <a:gd name="connsiteX1" fmla="*/ 84369 w 73152"/>
                <a:gd name="connsiteY1" fmla="*/ 527182 h 51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12063">
                  <a:moveTo>
                    <a:pt x="0" y="0"/>
                  </a:moveTo>
                  <a:cubicBezTo>
                    <a:pt x="0" y="0"/>
                    <a:pt x="72665" y="119238"/>
                    <a:pt x="84369" y="52718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94E8627-6C5A-4F01-A9DC-9F1B0D0568DA}"/>
                </a:ext>
              </a:extLst>
            </p:cNvPr>
            <p:cNvSpPr/>
            <p:nvPr/>
          </p:nvSpPr>
          <p:spPr>
            <a:xfrm>
              <a:off x="9024518" y="2976106"/>
              <a:ext cx="97536" cy="146304"/>
            </a:xfrm>
            <a:custGeom>
              <a:avLst/>
              <a:gdLst>
                <a:gd name="connsiteX0" fmla="*/ 102413 w 97536"/>
                <a:gd name="connsiteY0" fmla="*/ 0 h 146303"/>
                <a:gd name="connsiteX1" fmla="*/ 0 w 97536"/>
                <a:gd name="connsiteY1" fmla="*/ 16922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02413" y="0"/>
                  </a:moveTo>
                  <a:lnTo>
                    <a:pt x="0" y="16922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83B00FA-A029-440F-960F-654E67EA43BA}"/>
                </a:ext>
              </a:extLst>
            </p:cNvPr>
            <p:cNvSpPr/>
            <p:nvPr/>
          </p:nvSpPr>
          <p:spPr>
            <a:xfrm>
              <a:off x="8807257" y="3092662"/>
              <a:ext cx="219456" cy="73152"/>
            </a:xfrm>
            <a:custGeom>
              <a:avLst/>
              <a:gdLst>
                <a:gd name="connsiteX0" fmla="*/ 0 w 219456"/>
                <a:gd name="connsiteY0" fmla="*/ 0 h 73151"/>
                <a:gd name="connsiteX1" fmla="*/ 220188 w 219456"/>
                <a:gd name="connsiteY1" fmla="*/ 85344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0" y="0"/>
                  </a:moveTo>
                  <a:lnTo>
                    <a:pt x="220188" y="8534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7D1F5D6-1927-4BC3-8D78-DE512966E327}"/>
                </a:ext>
              </a:extLst>
            </p:cNvPr>
            <p:cNvSpPr/>
            <p:nvPr/>
          </p:nvSpPr>
          <p:spPr>
            <a:xfrm>
              <a:off x="9941357" y="2872962"/>
              <a:ext cx="48768" cy="414528"/>
            </a:xfrm>
            <a:custGeom>
              <a:avLst/>
              <a:gdLst>
                <a:gd name="connsiteX0" fmla="*/ 49011 w 48768"/>
                <a:gd name="connsiteY0" fmla="*/ 0 h 414527"/>
                <a:gd name="connsiteX1" fmla="*/ 0 w 48768"/>
                <a:gd name="connsiteY1" fmla="*/ 435498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49011" y="0"/>
                  </a:moveTo>
                  <a:cubicBezTo>
                    <a:pt x="49011" y="0"/>
                    <a:pt x="11704" y="27554"/>
                    <a:pt x="0" y="43549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0F07BD1-D852-4702-A0F2-FE23DFE653D5}"/>
                </a:ext>
              </a:extLst>
            </p:cNvPr>
            <p:cNvSpPr/>
            <p:nvPr/>
          </p:nvSpPr>
          <p:spPr>
            <a:xfrm>
              <a:off x="9849917" y="2976594"/>
              <a:ext cx="97536" cy="146304"/>
            </a:xfrm>
            <a:custGeom>
              <a:avLst/>
              <a:gdLst>
                <a:gd name="connsiteX0" fmla="*/ 0 w 97536"/>
                <a:gd name="connsiteY0" fmla="*/ 0 h 146303"/>
                <a:gd name="connsiteX1" fmla="*/ 102169 w 97536"/>
                <a:gd name="connsiteY1" fmla="*/ 168737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0" y="0"/>
                  </a:moveTo>
                  <a:lnTo>
                    <a:pt x="102169" y="16873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A7D0A88-7EF5-41F2-9BA6-AEB4EEFE415B}"/>
                </a:ext>
              </a:extLst>
            </p:cNvPr>
            <p:cNvSpPr/>
            <p:nvPr/>
          </p:nvSpPr>
          <p:spPr>
            <a:xfrm>
              <a:off x="9949160" y="3117777"/>
              <a:ext cx="146304" cy="48768"/>
            </a:xfrm>
            <a:custGeom>
              <a:avLst/>
              <a:gdLst>
                <a:gd name="connsiteX0" fmla="*/ 155082 w 146304"/>
                <a:gd name="connsiteY0" fmla="*/ 0 h 48767"/>
                <a:gd name="connsiteX1" fmla="*/ 0 w 146304"/>
                <a:gd name="connsiteY1" fmla="*/ 6022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48767">
                  <a:moveTo>
                    <a:pt x="155082" y="0"/>
                  </a:moveTo>
                  <a:lnTo>
                    <a:pt x="0" y="6022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60660E3-3D13-4E53-BED2-4D0B847F8DF7}"/>
                </a:ext>
              </a:extLst>
            </p:cNvPr>
            <p:cNvSpPr/>
            <p:nvPr/>
          </p:nvSpPr>
          <p:spPr>
            <a:xfrm>
              <a:off x="7475159" y="2195962"/>
              <a:ext cx="1463040" cy="1097280"/>
            </a:xfrm>
            <a:custGeom>
              <a:avLst/>
              <a:gdLst>
                <a:gd name="connsiteX0" fmla="*/ 1449385 w 1463040"/>
                <a:gd name="connsiteY0" fmla="*/ 1110791 h 1097279"/>
                <a:gd name="connsiteX1" fmla="*/ 1342827 w 1463040"/>
                <a:gd name="connsiteY1" fmla="*/ 832 h 1097279"/>
                <a:gd name="connsiteX2" fmla="*/ 998037 w 1463040"/>
                <a:gd name="connsiteY2" fmla="*/ 451692 h 1097279"/>
                <a:gd name="connsiteX3" fmla="*/ 637398 w 1463040"/>
                <a:gd name="connsiteY3" fmla="*/ 459495 h 1097279"/>
                <a:gd name="connsiteX4" fmla="*/ 403799 w 1463040"/>
                <a:gd name="connsiteY4" fmla="*/ 743325 h 1097279"/>
                <a:gd name="connsiteX5" fmla="*/ 0 w 1463040"/>
                <a:gd name="connsiteY5" fmla="*/ 1110548 h 1097279"/>
                <a:gd name="connsiteX6" fmla="*/ 1449385 w 1463040"/>
                <a:gd name="connsiteY6" fmla="*/ 1110548 h 109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3040" h="1097279">
                  <a:moveTo>
                    <a:pt x="1449385" y="1110791"/>
                  </a:moveTo>
                  <a:cubicBezTo>
                    <a:pt x="1449385" y="1110791"/>
                    <a:pt x="1532291" y="24241"/>
                    <a:pt x="1342827" y="832"/>
                  </a:cubicBezTo>
                  <a:cubicBezTo>
                    <a:pt x="1153120" y="-22577"/>
                    <a:pt x="1186770" y="455837"/>
                    <a:pt x="998037" y="451692"/>
                  </a:cubicBezTo>
                  <a:cubicBezTo>
                    <a:pt x="809549" y="447547"/>
                    <a:pt x="706405" y="289782"/>
                    <a:pt x="637398" y="459495"/>
                  </a:cubicBezTo>
                  <a:cubicBezTo>
                    <a:pt x="568391" y="629208"/>
                    <a:pt x="566684" y="794287"/>
                    <a:pt x="403799" y="743325"/>
                  </a:cubicBezTo>
                  <a:cubicBezTo>
                    <a:pt x="240670" y="692362"/>
                    <a:pt x="0" y="1110548"/>
                    <a:pt x="0" y="1110548"/>
                  </a:cubicBezTo>
                  <a:lnTo>
                    <a:pt x="1449385" y="1110548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5D14979D-D615-498E-8096-9A6471B1BF57}"/>
                </a:ext>
              </a:extLst>
            </p:cNvPr>
            <p:cNvSpPr/>
            <p:nvPr/>
          </p:nvSpPr>
          <p:spPr>
            <a:xfrm>
              <a:off x="7474672" y="2577151"/>
              <a:ext cx="902208" cy="707136"/>
            </a:xfrm>
            <a:custGeom>
              <a:avLst/>
              <a:gdLst>
                <a:gd name="connsiteX0" fmla="*/ 404042 w 902208"/>
                <a:gd name="connsiteY0" fmla="*/ 362379 h 707135"/>
                <a:gd name="connsiteX1" fmla="*/ 637641 w 902208"/>
                <a:gd name="connsiteY1" fmla="*/ 78549 h 707135"/>
                <a:gd name="connsiteX2" fmla="*/ 916839 w 902208"/>
                <a:gd name="connsiteY2" fmla="*/ 59530 h 707135"/>
                <a:gd name="connsiteX3" fmla="*/ 916839 w 902208"/>
                <a:gd name="connsiteY3" fmla="*/ 729602 h 707135"/>
                <a:gd name="connsiteX4" fmla="*/ 0 w 902208"/>
                <a:gd name="connsiteY4" fmla="*/ 729602 h 707135"/>
                <a:gd name="connsiteX5" fmla="*/ 404042 w 902208"/>
                <a:gd name="connsiteY5" fmla="*/ 362379 h 70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2208" h="707135">
                  <a:moveTo>
                    <a:pt x="404042" y="362379"/>
                  </a:moveTo>
                  <a:cubicBezTo>
                    <a:pt x="567171" y="413341"/>
                    <a:pt x="568878" y="248262"/>
                    <a:pt x="637641" y="78549"/>
                  </a:cubicBezTo>
                  <a:cubicBezTo>
                    <a:pt x="695919" y="-65073"/>
                    <a:pt x="778825" y="25636"/>
                    <a:pt x="916839" y="59530"/>
                  </a:cubicBezTo>
                  <a:lnTo>
                    <a:pt x="916839" y="729602"/>
                  </a:lnTo>
                  <a:lnTo>
                    <a:pt x="0" y="729602"/>
                  </a:lnTo>
                  <a:cubicBezTo>
                    <a:pt x="243" y="729602"/>
                    <a:pt x="240914" y="311416"/>
                    <a:pt x="404042" y="362379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9EFD81-A786-4276-A7F5-6F81A59C13A8}"/>
                </a:ext>
              </a:extLst>
            </p:cNvPr>
            <p:cNvSpPr/>
            <p:nvPr/>
          </p:nvSpPr>
          <p:spPr>
            <a:xfrm>
              <a:off x="0" y="1601012"/>
              <a:ext cx="2584704" cy="1706880"/>
            </a:xfrm>
            <a:custGeom>
              <a:avLst/>
              <a:gdLst>
                <a:gd name="connsiteX0" fmla="*/ 2605430 w 2584704"/>
                <a:gd name="connsiteY0" fmla="*/ 1707204 h 1706879"/>
                <a:gd name="connsiteX1" fmla="*/ 0 w 2584704"/>
                <a:gd name="connsiteY1" fmla="*/ 1707204 h 1706879"/>
                <a:gd name="connsiteX2" fmla="*/ 0 w 2584704"/>
                <a:gd name="connsiteY2" fmla="*/ 543844 h 1706879"/>
                <a:gd name="connsiteX3" fmla="*/ 283830 w 2584704"/>
                <a:gd name="connsiteY3" fmla="*/ 324 h 1706879"/>
                <a:gd name="connsiteX4" fmla="*/ 1247729 w 2584704"/>
                <a:gd name="connsiteY4" fmla="*/ 896680 h 1706879"/>
                <a:gd name="connsiteX5" fmla="*/ 2605430 w 2584704"/>
                <a:gd name="connsiteY5" fmla="*/ 1271706 h 1706879"/>
                <a:gd name="connsiteX6" fmla="*/ 2605430 w 2584704"/>
                <a:gd name="connsiteY6" fmla="*/ 1707204 h 1706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4704" h="1706879">
                  <a:moveTo>
                    <a:pt x="2605430" y="1707204"/>
                  </a:moveTo>
                  <a:lnTo>
                    <a:pt x="0" y="1707204"/>
                  </a:lnTo>
                  <a:lnTo>
                    <a:pt x="0" y="543844"/>
                  </a:lnTo>
                  <a:cubicBezTo>
                    <a:pt x="53889" y="247090"/>
                    <a:pt x="141427" y="8127"/>
                    <a:pt x="283830" y="324"/>
                  </a:cubicBezTo>
                  <a:cubicBezTo>
                    <a:pt x="665927" y="-20402"/>
                    <a:pt x="682996" y="959590"/>
                    <a:pt x="1247729" y="896680"/>
                  </a:cubicBezTo>
                  <a:cubicBezTo>
                    <a:pt x="1691030" y="847424"/>
                    <a:pt x="2274296" y="859860"/>
                    <a:pt x="2605430" y="1271706"/>
                  </a:cubicBezTo>
                  <a:lnTo>
                    <a:pt x="2605430" y="1707204"/>
                  </a:ln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2183445-C60C-4DF9-98DF-E5C889C915B2}"/>
                </a:ext>
              </a:extLst>
            </p:cNvPr>
            <p:cNvSpPr/>
            <p:nvPr/>
          </p:nvSpPr>
          <p:spPr>
            <a:xfrm>
              <a:off x="985995" y="1772592"/>
              <a:ext cx="2023872" cy="1511808"/>
            </a:xfrm>
            <a:custGeom>
              <a:avLst/>
              <a:gdLst>
                <a:gd name="connsiteX0" fmla="*/ 24965 w 2023872"/>
                <a:gd name="connsiteY0" fmla="*/ 1534161 h 1511807"/>
                <a:gd name="connsiteX1" fmla="*/ 172245 w 2023872"/>
                <a:gd name="connsiteY1" fmla="*/ 1139 h 1511807"/>
                <a:gd name="connsiteX2" fmla="*/ 648464 w 2023872"/>
                <a:gd name="connsiteY2" fmla="*/ 623907 h 1511807"/>
                <a:gd name="connsiteX3" fmla="*/ 1146630 w 2023872"/>
                <a:gd name="connsiteY3" fmla="*/ 634636 h 1511807"/>
                <a:gd name="connsiteX4" fmla="*/ 1469474 w 2023872"/>
                <a:gd name="connsiteY4" fmla="*/ 1026730 h 1511807"/>
                <a:gd name="connsiteX5" fmla="*/ 2027380 w 2023872"/>
                <a:gd name="connsiteY5" fmla="*/ 1534161 h 1511807"/>
                <a:gd name="connsiteX6" fmla="*/ 24965 w 2023872"/>
                <a:gd name="connsiteY6" fmla="*/ 1534161 h 151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23872" h="1511807">
                  <a:moveTo>
                    <a:pt x="24965" y="1534161"/>
                  </a:moveTo>
                  <a:cubicBezTo>
                    <a:pt x="24965" y="1534161"/>
                    <a:pt x="-89639" y="33326"/>
                    <a:pt x="172245" y="1139"/>
                  </a:cubicBezTo>
                  <a:cubicBezTo>
                    <a:pt x="434129" y="-31048"/>
                    <a:pt x="387799" y="629515"/>
                    <a:pt x="648464" y="623907"/>
                  </a:cubicBezTo>
                  <a:cubicBezTo>
                    <a:pt x="908885" y="618298"/>
                    <a:pt x="1051288" y="400305"/>
                    <a:pt x="1146630" y="634636"/>
                  </a:cubicBezTo>
                  <a:cubicBezTo>
                    <a:pt x="1241727" y="869209"/>
                    <a:pt x="1244166" y="1097200"/>
                    <a:pt x="1469474" y="1026730"/>
                  </a:cubicBezTo>
                  <a:cubicBezTo>
                    <a:pt x="1694782" y="956260"/>
                    <a:pt x="2027380" y="1534161"/>
                    <a:pt x="2027380" y="1534161"/>
                  </a:cubicBezTo>
                  <a:lnTo>
                    <a:pt x="24965" y="1534161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9D2F756-A6F0-4469-AA1E-B615D3811F82}"/>
                </a:ext>
              </a:extLst>
            </p:cNvPr>
            <p:cNvSpPr/>
            <p:nvPr/>
          </p:nvSpPr>
          <p:spPr>
            <a:xfrm>
              <a:off x="1746870" y="2298856"/>
              <a:ext cx="1243584" cy="999744"/>
            </a:xfrm>
            <a:custGeom>
              <a:avLst/>
              <a:gdLst>
                <a:gd name="connsiteX0" fmla="*/ 708599 w 1243584"/>
                <a:gd name="connsiteY0" fmla="*/ 500467 h 999743"/>
                <a:gd name="connsiteX1" fmla="*/ 385755 w 1243584"/>
                <a:gd name="connsiteY1" fmla="*/ 108372 h 999743"/>
                <a:gd name="connsiteX2" fmla="*/ 0 w 1243584"/>
                <a:gd name="connsiteY2" fmla="*/ 82281 h 999743"/>
                <a:gd name="connsiteX3" fmla="*/ 0 w 1243584"/>
                <a:gd name="connsiteY3" fmla="*/ 1007898 h 999743"/>
                <a:gd name="connsiteX4" fmla="*/ 1266505 w 1243584"/>
                <a:gd name="connsiteY4" fmla="*/ 1007898 h 999743"/>
                <a:gd name="connsiteX5" fmla="*/ 708599 w 1243584"/>
                <a:gd name="connsiteY5" fmla="*/ 500467 h 99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3584" h="999743">
                  <a:moveTo>
                    <a:pt x="708599" y="500467"/>
                  </a:moveTo>
                  <a:cubicBezTo>
                    <a:pt x="483291" y="570936"/>
                    <a:pt x="481096" y="342702"/>
                    <a:pt x="385755" y="108372"/>
                  </a:cubicBezTo>
                  <a:cubicBezTo>
                    <a:pt x="305288" y="-89870"/>
                    <a:pt x="190927" y="35464"/>
                    <a:pt x="0" y="82281"/>
                  </a:cubicBezTo>
                  <a:lnTo>
                    <a:pt x="0" y="1007898"/>
                  </a:lnTo>
                  <a:lnTo>
                    <a:pt x="1266505" y="1007898"/>
                  </a:lnTo>
                  <a:cubicBezTo>
                    <a:pt x="1266261" y="1007898"/>
                    <a:pt x="933663" y="430241"/>
                    <a:pt x="708599" y="500467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159037B5-8FF4-4BB9-8AAA-08294FAA437C}"/>
                </a:ext>
              </a:extLst>
            </p:cNvPr>
            <p:cNvSpPr/>
            <p:nvPr/>
          </p:nvSpPr>
          <p:spPr>
            <a:xfrm>
              <a:off x="1850746" y="2729298"/>
              <a:ext cx="73152" cy="560832"/>
            </a:xfrm>
            <a:custGeom>
              <a:avLst/>
              <a:gdLst>
                <a:gd name="connsiteX0" fmla="*/ 86075 w 73152"/>
                <a:gd name="connsiteY0" fmla="*/ 43 h 560831"/>
                <a:gd name="connsiteX1" fmla="*/ 0 w 73152"/>
                <a:gd name="connsiteY1" fmla="*/ 577212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60831">
                  <a:moveTo>
                    <a:pt x="86075" y="43"/>
                  </a:moveTo>
                  <a:cubicBezTo>
                    <a:pt x="86075" y="43"/>
                    <a:pt x="17069" y="-16051"/>
                    <a:pt x="0" y="57721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DC1FA1-A4C3-410F-904D-A85EFC561CC3}"/>
                </a:ext>
              </a:extLst>
            </p:cNvPr>
            <p:cNvSpPr/>
            <p:nvPr/>
          </p:nvSpPr>
          <p:spPr>
            <a:xfrm>
              <a:off x="1717609" y="2824438"/>
              <a:ext cx="146304" cy="243840"/>
            </a:xfrm>
            <a:custGeom>
              <a:avLst/>
              <a:gdLst>
                <a:gd name="connsiteX0" fmla="*/ 0 w 146304"/>
                <a:gd name="connsiteY0" fmla="*/ 0 h 243839"/>
                <a:gd name="connsiteX1" fmla="*/ 148742 w 146304"/>
                <a:gd name="connsiteY1" fmla="*/ 245059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243839">
                  <a:moveTo>
                    <a:pt x="0" y="0"/>
                  </a:moveTo>
                  <a:lnTo>
                    <a:pt x="148742" y="24505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772B733-680E-4C64-B107-39542445E726}"/>
                </a:ext>
              </a:extLst>
            </p:cNvPr>
            <p:cNvSpPr/>
            <p:nvPr/>
          </p:nvSpPr>
          <p:spPr>
            <a:xfrm>
              <a:off x="1861962" y="3023655"/>
              <a:ext cx="219456" cy="73152"/>
            </a:xfrm>
            <a:custGeom>
              <a:avLst/>
              <a:gdLst>
                <a:gd name="connsiteX0" fmla="*/ 241158 w 219456"/>
                <a:gd name="connsiteY0" fmla="*/ 0 h 73151"/>
                <a:gd name="connsiteX1" fmla="*/ 0 w 219456"/>
                <a:gd name="connsiteY1" fmla="*/ 9339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241158" y="0"/>
                  </a:moveTo>
                  <a:lnTo>
                    <a:pt x="0" y="933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CD27F59-AF26-4087-80D4-F89D1E1624CA}"/>
                </a:ext>
              </a:extLst>
            </p:cNvPr>
            <p:cNvSpPr/>
            <p:nvPr/>
          </p:nvSpPr>
          <p:spPr>
            <a:xfrm>
              <a:off x="1230793" y="2170459"/>
              <a:ext cx="24384" cy="1121664"/>
            </a:xfrm>
            <a:custGeom>
              <a:avLst/>
              <a:gdLst>
                <a:gd name="connsiteX0" fmla="*/ 22300 w 24384"/>
                <a:gd name="connsiteY0" fmla="*/ 0 h 1121663"/>
                <a:gd name="connsiteX1" fmla="*/ 38638 w 24384"/>
                <a:gd name="connsiteY1" fmla="*/ 1137757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22300" y="0"/>
                  </a:moveTo>
                  <a:cubicBezTo>
                    <a:pt x="22300" y="0"/>
                    <a:pt x="-37440" y="448909"/>
                    <a:pt x="38638" y="113775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2BE4FFE-481E-4738-8A10-A90AC16619CB}"/>
                </a:ext>
              </a:extLst>
            </p:cNvPr>
            <p:cNvSpPr/>
            <p:nvPr/>
          </p:nvSpPr>
          <p:spPr>
            <a:xfrm>
              <a:off x="1238463" y="2321640"/>
              <a:ext cx="121920" cy="121920"/>
            </a:xfrm>
            <a:custGeom>
              <a:avLst/>
              <a:gdLst>
                <a:gd name="connsiteX0" fmla="*/ 143622 w 121920"/>
                <a:gd name="connsiteY0" fmla="*/ 0 h 121919"/>
                <a:gd name="connsiteX1" fmla="*/ 0 w 121920"/>
                <a:gd name="connsiteY1" fmla="*/ 14093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143622" y="0"/>
                  </a:moveTo>
                  <a:lnTo>
                    <a:pt x="0" y="14093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80D90C2-9B41-4E4F-9D6D-F0062DACFFD5}"/>
                </a:ext>
              </a:extLst>
            </p:cNvPr>
            <p:cNvSpPr/>
            <p:nvPr/>
          </p:nvSpPr>
          <p:spPr>
            <a:xfrm>
              <a:off x="1150437" y="2588645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88026 w 73152"/>
                <a:gd name="connsiteY1" fmla="*/ 85100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88026" y="851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85227FB-28BE-4D36-897B-A92D9CE3FC58}"/>
                </a:ext>
              </a:extLst>
            </p:cNvPr>
            <p:cNvSpPr/>
            <p:nvPr/>
          </p:nvSpPr>
          <p:spPr>
            <a:xfrm>
              <a:off x="1243584" y="2641558"/>
              <a:ext cx="268224" cy="268224"/>
            </a:xfrm>
            <a:custGeom>
              <a:avLst/>
              <a:gdLst>
                <a:gd name="connsiteX0" fmla="*/ 271394 w 268224"/>
                <a:gd name="connsiteY0" fmla="*/ 0 h 268223"/>
                <a:gd name="connsiteX1" fmla="*/ 0 w 268224"/>
                <a:gd name="connsiteY1" fmla="*/ 29187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68223">
                  <a:moveTo>
                    <a:pt x="271394" y="0"/>
                  </a:moveTo>
                  <a:lnTo>
                    <a:pt x="0" y="29187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D47D3FF-CAE4-4384-8AE7-F152EA0FF4B5}"/>
                </a:ext>
              </a:extLst>
            </p:cNvPr>
            <p:cNvSpPr/>
            <p:nvPr/>
          </p:nvSpPr>
          <p:spPr>
            <a:xfrm>
              <a:off x="1067532" y="2950747"/>
              <a:ext cx="170688" cy="121920"/>
            </a:xfrm>
            <a:custGeom>
              <a:avLst/>
              <a:gdLst>
                <a:gd name="connsiteX0" fmla="*/ 0 w 170688"/>
                <a:gd name="connsiteY0" fmla="*/ 0 h 121919"/>
                <a:gd name="connsiteX1" fmla="*/ 182880 w 170688"/>
                <a:gd name="connsiteY1" fmla="*/ 127041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21919">
                  <a:moveTo>
                    <a:pt x="0" y="0"/>
                  </a:moveTo>
                  <a:lnTo>
                    <a:pt x="182880" y="1270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3C7B4F0-999B-4E3D-8866-84D1DC588E15}"/>
                </a:ext>
              </a:extLst>
            </p:cNvPr>
            <p:cNvSpPr/>
            <p:nvPr/>
          </p:nvSpPr>
          <p:spPr>
            <a:xfrm>
              <a:off x="10628584" y="296097"/>
              <a:ext cx="1194816" cy="2487167"/>
            </a:xfrm>
            <a:custGeom>
              <a:avLst/>
              <a:gdLst>
                <a:gd name="connsiteX0" fmla="*/ 887004 w 1194816"/>
                <a:gd name="connsiteY0" fmla="*/ 2431780 h 2487167"/>
                <a:gd name="connsiteX1" fmla="*/ 76723 w 1194816"/>
                <a:gd name="connsiteY1" fmla="*/ 2268408 h 2487167"/>
                <a:gd name="connsiteX2" fmla="*/ 4303 w 1194816"/>
                <a:gd name="connsiteY2" fmla="*/ 2149170 h 2487167"/>
                <a:gd name="connsiteX3" fmla="*/ 321782 w 1194816"/>
                <a:gd name="connsiteY3" fmla="*/ 1668805 h 2487167"/>
                <a:gd name="connsiteX4" fmla="*/ 211079 w 1194816"/>
                <a:gd name="connsiteY4" fmla="*/ 1434719 h 2487167"/>
                <a:gd name="connsiteX5" fmla="*/ 91598 w 1194816"/>
                <a:gd name="connsiteY5" fmla="*/ 856087 h 2487167"/>
                <a:gd name="connsiteX6" fmla="*/ 277160 w 1194816"/>
                <a:gd name="connsiteY6" fmla="*/ 285013 h 2487167"/>
                <a:gd name="connsiteX7" fmla="*/ 636336 w 1194816"/>
                <a:gd name="connsiteY7" fmla="*/ 4841 h 2487167"/>
                <a:gd name="connsiteX8" fmla="*/ 835797 w 1194816"/>
                <a:gd name="connsiteY8" fmla="*/ 231613 h 2487167"/>
                <a:gd name="connsiteX9" fmla="*/ 843356 w 1194816"/>
                <a:gd name="connsiteY9" fmla="*/ 663209 h 2487167"/>
                <a:gd name="connsiteX10" fmla="*/ 831652 w 1194816"/>
                <a:gd name="connsiteY10" fmla="*/ 854136 h 2487167"/>
                <a:gd name="connsiteX11" fmla="*/ 1178880 w 1194816"/>
                <a:gd name="connsiteY11" fmla="*/ 1192586 h 2487167"/>
                <a:gd name="connsiteX12" fmla="*/ 1072078 w 1194816"/>
                <a:gd name="connsiteY12" fmla="*/ 1657588 h 2487167"/>
                <a:gd name="connsiteX13" fmla="*/ 997463 w 1194816"/>
                <a:gd name="connsiteY13" fmla="*/ 1956049 h 2487167"/>
                <a:gd name="connsiteX14" fmla="*/ 1054034 w 1194816"/>
                <a:gd name="connsiteY14" fmla="*/ 2026762 h 2487167"/>
                <a:gd name="connsiteX15" fmla="*/ 887004 w 1194816"/>
                <a:gd name="connsiteY15" fmla="*/ 2431780 h 248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4816" h="2487167">
                  <a:moveTo>
                    <a:pt x="887004" y="2431780"/>
                  </a:moveTo>
                  <a:cubicBezTo>
                    <a:pt x="656575" y="2606614"/>
                    <a:pt x="283500" y="2447386"/>
                    <a:pt x="76723" y="2268408"/>
                  </a:cubicBezTo>
                  <a:cubicBezTo>
                    <a:pt x="40634" y="2237196"/>
                    <a:pt x="14056" y="2195987"/>
                    <a:pt x="4303" y="2149170"/>
                  </a:cubicBezTo>
                  <a:cubicBezTo>
                    <a:pt x="-42758" y="1924837"/>
                    <a:pt x="311541" y="1869729"/>
                    <a:pt x="321782" y="1668805"/>
                  </a:cubicBezTo>
                  <a:cubicBezTo>
                    <a:pt x="326415" y="1580779"/>
                    <a:pt x="260090" y="1507871"/>
                    <a:pt x="211079" y="1434719"/>
                  </a:cubicBezTo>
                  <a:cubicBezTo>
                    <a:pt x="99644" y="1267445"/>
                    <a:pt x="67945" y="1055792"/>
                    <a:pt x="91598" y="856087"/>
                  </a:cubicBezTo>
                  <a:cubicBezTo>
                    <a:pt x="115249" y="656382"/>
                    <a:pt x="190109" y="466187"/>
                    <a:pt x="277160" y="285013"/>
                  </a:cubicBezTo>
                  <a:cubicBezTo>
                    <a:pt x="348361" y="136759"/>
                    <a:pt x="475646" y="-30759"/>
                    <a:pt x="636336" y="4841"/>
                  </a:cubicBezTo>
                  <a:cubicBezTo>
                    <a:pt x="739480" y="27762"/>
                    <a:pt x="805561" y="130419"/>
                    <a:pt x="835797" y="231613"/>
                  </a:cubicBezTo>
                  <a:cubicBezTo>
                    <a:pt x="877006" y="370845"/>
                    <a:pt x="871153" y="520563"/>
                    <a:pt x="843356" y="663209"/>
                  </a:cubicBezTo>
                  <a:cubicBezTo>
                    <a:pt x="831164" y="726364"/>
                    <a:pt x="814583" y="791957"/>
                    <a:pt x="831652" y="854136"/>
                  </a:cubicBezTo>
                  <a:cubicBezTo>
                    <a:pt x="875299" y="1013120"/>
                    <a:pt x="1098169" y="1048964"/>
                    <a:pt x="1178880" y="1192586"/>
                  </a:cubicBezTo>
                  <a:cubicBezTo>
                    <a:pt x="1261298" y="1338646"/>
                    <a:pt x="1163030" y="1516649"/>
                    <a:pt x="1072078" y="1657588"/>
                  </a:cubicBezTo>
                  <a:cubicBezTo>
                    <a:pt x="994293" y="1778289"/>
                    <a:pt x="946501" y="1853148"/>
                    <a:pt x="997463" y="1956049"/>
                  </a:cubicBezTo>
                  <a:cubicBezTo>
                    <a:pt x="1010874" y="1983359"/>
                    <a:pt x="1030869" y="2006767"/>
                    <a:pt x="1054034" y="2026762"/>
                  </a:cubicBezTo>
                  <a:cubicBezTo>
                    <a:pt x="1103046" y="2069190"/>
                    <a:pt x="1194974" y="2198182"/>
                    <a:pt x="887004" y="2431780"/>
                  </a:cubicBezTo>
                  <a:close/>
                </a:path>
              </a:pathLst>
            </a:custGeom>
            <a:solidFill>
              <a:srgbClr val="EF855A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E28AF1A-1C50-4288-A033-6AB59AC2A39A}"/>
                </a:ext>
              </a:extLst>
            </p:cNvPr>
            <p:cNvSpPr/>
            <p:nvPr/>
          </p:nvSpPr>
          <p:spPr>
            <a:xfrm>
              <a:off x="11162020" y="713272"/>
              <a:ext cx="195072" cy="2779775"/>
            </a:xfrm>
            <a:custGeom>
              <a:avLst/>
              <a:gdLst>
                <a:gd name="connsiteX0" fmla="*/ 50718 w 195072"/>
                <a:gd name="connsiteY0" fmla="*/ 0 h 2779775"/>
                <a:gd name="connsiteX1" fmla="*/ 0 w 195072"/>
                <a:gd name="connsiteY1" fmla="*/ 2782702 h 2779775"/>
                <a:gd name="connsiteX2" fmla="*/ 197998 w 195072"/>
                <a:gd name="connsiteY2" fmla="*/ 2800014 h 2779775"/>
                <a:gd name="connsiteX3" fmla="*/ 50718 w 195072"/>
                <a:gd name="connsiteY3" fmla="*/ 0 h 277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072" h="2779775">
                  <a:moveTo>
                    <a:pt x="50718" y="0"/>
                  </a:moveTo>
                  <a:cubicBezTo>
                    <a:pt x="50474" y="49987"/>
                    <a:pt x="0" y="2782702"/>
                    <a:pt x="0" y="2782702"/>
                  </a:cubicBezTo>
                  <a:lnTo>
                    <a:pt x="197998" y="2800014"/>
                  </a:lnTo>
                  <a:lnTo>
                    <a:pt x="50718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1349FB6-A258-47BF-AFA0-EE46D3C2CA88}"/>
                </a:ext>
              </a:extLst>
            </p:cNvPr>
            <p:cNvSpPr/>
            <p:nvPr/>
          </p:nvSpPr>
          <p:spPr>
            <a:xfrm>
              <a:off x="10815767" y="2220446"/>
              <a:ext cx="438912" cy="414528"/>
            </a:xfrm>
            <a:custGeom>
              <a:avLst/>
              <a:gdLst>
                <a:gd name="connsiteX0" fmla="*/ 405506 w 438912"/>
                <a:gd name="connsiteY0" fmla="*/ 429890 h 414527"/>
                <a:gd name="connsiteX1" fmla="*/ 0 w 438912"/>
                <a:gd name="connsiteY1" fmla="*/ 0 h 414527"/>
                <a:gd name="connsiteX2" fmla="*/ 440619 w 438912"/>
                <a:gd name="connsiteY2" fmla="*/ 393802 h 414527"/>
                <a:gd name="connsiteX3" fmla="*/ 442569 w 438912"/>
                <a:gd name="connsiteY3" fmla="*/ 429402 h 414527"/>
                <a:gd name="connsiteX4" fmla="*/ 406969 w 438912"/>
                <a:gd name="connsiteY4" fmla="*/ 431353 h 414527"/>
                <a:gd name="connsiteX5" fmla="*/ 405506 w 438912"/>
                <a:gd name="connsiteY5" fmla="*/ 429890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912" h="414527">
                  <a:moveTo>
                    <a:pt x="405506" y="429890"/>
                  </a:moveTo>
                  <a:lnTo>
                    <a:pt x="0" y="0"/>
                  </a:lnTo>
                  <a:lnTo>
                    <a:pt x="440619" y="393802"/>
                  </a:lnTo>
                  <a:cubicBezTo>
                    <a:pt x="451104" y="403067"/>
                    <a:pt x="451836" y="419161"/>
                    <a:pt x="442569" y="429402"/>
                  </a:cubicBezTo>
                  <a:cubicBezTo>
                    <a:pt x="433303" y="439887"/>
                    <a:pt x="417211" y="440619"/>
                    <a:pt x="406969" y="431353"/>
                  </a:cubicBezTo>
                  <a:cubicBezTo>
                    <a:pt x="406482" y="430865"/>
                    <a:pt x="405993" y="430378"/>
                    <a:pt x="405506" y="429890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5348A22-B8EC-41B7-8F0E-07A985959318}"/>
                </a:ext>
              </a:extLst>
            </p:cNvPr>
            <p:cNvSpPr/>
            <p:nvPr/>
          </p:nvSpPr>
          <p:spPr>
            <a:xfrm>
              <a:off x="11018398" y="1089517"/>
              <a:ext cx="195072" cy="316992"/>
            </a:xfrm>
            <a:custGeom>
              <a:avLst/>
              <a:gdLst>
                <a:gd name="connsiteX0" fmla="*/ 164105 w 195072"/>
                <a:gd name="connsiteY0" fmla="*/ 321625 h 316991"/>
                <a:gd name="connsiteX1" fmla="*/ 0 w 195072"/>
                <a:gd name="connsiteY1" fmla="*/ 0 h 316991"/>
                <a:gd name="connsiteX2" fmla="*/ 196535 w 195072"/>
                <a:gd name="connsiteY2" fmla="*/ 303093 h 316991"/>
                <a:gd name="connsiteX3" fmla="*/ 190927 w 195072"/>
                <a:gd name="connsiteY3" fmla="*/ 328940 h 316991"/>
                <a:gd name="connsiteX4" fmla="*/ 165080 w 195072"/>
                <a:gd name="connsiteY4" fmla="*/ 323332 h 316991"/>
                <a:gd name="connsiteX5" fmla="*/ 164105 w 195072"/>
                <a:gd name="connsiteY5" fmla="*/ 321625 h 31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072" h="316991">
                  <a:moveTo>
                    <a:pt x="164105" y="321625"/>
                  </a:moveTo>
                  <a:lnTo>
                    <a:pt x="0" y="0"/>
                  </a:lnTo>
                  <a:lnTo>
                    <a:pt x="196535" y="303093"/>
                  </a:lnTo>
                  <a:cubicBezTo>
                    <a:pt x="202144" y="311871"/>
                    <a:pt x="199705" y="323332"/>
                    <a:pt x="190927" y="328940"/>
                  </a:cubicBezTo>
                  <a:cubicBezTo>
                    <a:pt x="182393" y="334548"/>
                    <a:pt x="170688" y="332110"/>
                    <a:pt x="165080" y="323332"/>
                  </a:cubicBezTo>
                  <a:cubicBezTo>
                    <a:pt x="164836" y="322844"/>
                    <a:pt x="164348" y="322356"/>
                    <a:pt x="164105" y="321625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7E41DF1-0235-457C-BB43-CC327DAE59DD}"/>
                </a:ext>
              </a:extLst>
            </p:cNvPr>
            <p:cNvSpPr/>
            <p:nvPr/>
          </p:nvSpPr>
          <p:spPr>
            <a:xfrm>
              <a:off x="11252485" y="1493803"/>
              <a:ext cx="390144" cy="585216"/>
            </a:xfrm>
            <a:custGeom>
              <a:avLst/>
              <a:gdLst>
                <a:gd name="connsiteX0" fmla="*/ 0 w 390144"/>
                <a:gd name="connsiteY0" fmla="*/ 591800 h 585215"/>
                <a:gd name="connsiteX1" fmla="*/ 392338 w 390144"/>
                <a:gd name="connsiteY1" fmla="*/ 0 h 585215"/>
                <a:gd name="connsiteX2" fmla="*/ 0 w 390144"/>
                <a:gd name="connsiteY2" fmla="*/ 591800 h 5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0144" h="585215">
                  <a:moveTo>
                    <a:pt x="0" y="591800"/>
                  </a:moveTo>
                  <a:lnTo>
                    <a:pt x="392338" y="0"/>
                  </a:lnTo>
                  <a:lnTo>
                    <a:pt x="0" y="59180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C85BA1A-AC36-4465-9B73-509A4B6CA4DB}"/>
                </a:ext>
              </a:extLst>
            </p:cNvPr>
            <p:cNvSpPr/>
            <p:nvPr/>
          </p:nvSpPr>
          <p:spPr>
            <a:xfrm>
              <a:off x="11227662" y="1493803"/>
              <a:ext cx="414528" cy="609600"/>
            </a:xfrm>
            <a:custGeom>
              <a:avLst/>
              <a:gdLst>
                <a:gd name="connsiteX0" fmla="*/ 4584 w 414528"/>
                <a:gd name="connsiteY0" fmla="*/ 578388 h 609599"/>
                <a:gd name="connsiteX1" fmla="*/ 417161 w 414528"/>
                <a:gd name="connsiteY1" fmla="*/ 0 h 609599"/>
                <a:gd name="connsiteX2" fmla="*/ 45061 w 414528"/>
                <a:gd name="connsiteY2" fmla="*/ 605211 h 609599"/>
                <a:gd name="connsiteX3" fmla="*/ 11655 w 414528"/>
                <a:gd name="connsiteY3" fmla="*/ 613257 h 609599"/>
                <a:gd name="connsiteX4" fmla="*/ 3608 w 414528"/>
                <a:gd name="connsiteY4" fmla="*/ 579852 h 609599"/>
                <a:gd name="connsiteX5" fmla="*/ 4584 w 414528"/>
                <a:gd name="connsiteY5" fmla="*/ 578388 h 60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4528" h="609599">
                  <a:moveTo>
                    <a:pt x="4584" y="578388"/>
                  </a:moveTo>
                  <a:lnTo>
                    <a:pt x="417161" y="0"/>
                  </a:lnTo>
                  <a:lnTo>
                    <a:pt x="45061" y="605211"/>
                  </a:lnTo>
                  <a:cubicBezTo>
                    <a:pt x="37990" y="616671"/>
                    <a:pt x="23115" y="620329"/>
                    <a:pt x="11655" y="613257"/>
                  </a:cubicBezTo>
                  <a:cubicBezTo>
                    <a:pt x="194" y="606186"/>
                    <a:pt x="-3463" y="591312"/>
                    <a:pt x="3608" y="579852"/>
                  </a:cubicBezTo>
                  <a:cubicBezTo>
                    <a:pt x="3852" y="579364"/>
                    <a:pt x="4340" y="578876"/>
                    <a:pt x="4584" y="578388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CE3BB0B-BC4B-469F-A024-9C6D0DAF7BCC}"/>
                </a:ext>
              </a:extLst>
            </p:cNvPr>
            <p:cNvSpPr/>
            <p:nvPr/>
          </p:nvSpPr>
          <p:spPr>
            <a:xfrm>
              <a:off x="10242123" y="998990"/>
              <a:ext cx="926592" cy="1901951"/>
            </a:xfrm>
            <a:custGeom>
              <a:avLst/>
              <a:gdLst>
                <a:gd name="connsiteX0" fmla="*/ 679715 w 926592"/>
                <a:gd name="connsiteY0" fmla="*/ 1863487 h 1901951"/>
                <a:gd name="connsiteX1" fmla="*/ 58898 w 926592"/>
                <a:gd name="connsiteY1" fmla="*/ 1738397 h 1901951"/>
                <a:gd name="connsiteX2" fmla="*/ 3303 w 926592"/>
                <a:gd name="connsiteY2" fmla="*/ 1646957 h 1901951"/>
                <a:gd name="connsiteX3" fmla="*/ 246655 w 926592"/>
                <a:gd name="connsiteY3" fmla="*/ 1278759 h 1901951"/>
                <a:gd name="connsiteX4" fmla="*/ 162042 w 926592"/>
                <a:gd name="connsiteY4" fmla="*/ 1099293 h 1901951"/>
                <a:gd name="connsiteX5" fmla="*/ 70359 w 926592"/>
                <a:gd name="connsiteY5" fmla="*/ 655992 h 1901951"/>
                <a:gd name="connsiteX6" fmla="*/ 212517 w 926592"/>
                <a:gd name="connsiteY6" fmla="*/ 218299 h 1901951"/>
                <a:gd name="connsiteX7" fmla="*/ 487813 w 926592"/>
                <a:gd name="connsiteY7" fmla="*/ 3720 h 1901951"/>
                <a:gd name="connsiteX8" fmla="*/ 640700 w 926592"/>
                <a:gd name="connsiteY8" fmla="*/ 177578 h 1901951"/>
                <a:gd name="connsiteX9" fmla="*/ 646552 w 926592"/>
                <a:gd name="connsiteY9" fmla="*/ 508225 h 1901951"/>
                <a:gd name="connsiteX10" fmla="*/ 637530 w 926592"/>
                <a:gd name="connsiteY10" fmla="*/ 654529 h 1901951"/>
                <a:gd name="connsiteX11" fmla="*/ 903804 w 926592"/>
                <a:gd name="connsiteY11" fmla="*/ 913974 h 1901951"/>
                <a:gd name="connsiteX12" fmla="*/ 821873 w 926592"/>
                <a:gd name="connsiteY12" fmla="*/ 1270469 h 1901951"/>
                <a:gd name="connsiteX13" fmla="*/ 764815 w 926592"/>
                <a:gd name="connsiteY13" fmla="*/ 1499190 h 1901951"/>
                <a:gd name="connsiteX14" fmla="*/ 807975 w 926592"/>
                <a:gd name="connsiteY14" fmla="*/ 1553323 h 1901951"/>
                <a:gd name="connsiteX15" fmla="*/ 679715 w 926592"/>
                <a:gd name="connsiteY15" fmla="*/ 1863487 h 190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26592" h="1901951">
                  <a:moveTo>
                    <a:pt x="679715" y="1863487"/>
                  </a:moveTo>
                  <a:cubicBezTo>
                    <a:pt x="503175" y="1997355"/>
                    <a:pt x="217150" y="1875435"/>
                    <a:pt x="58898" y="1738397"/>
                  </a:cubicBezTo>
                  <a:cubicBezTo>
                    <a:pt x="31344" y="1714501"/>
                    <a:pt x="10862" y="1682802"/>
                    <a:pt x="3303" y="1646957"/>
                  </a:cubicBezTo>
                  <a:cubicBezTo>
                    <a:pt x="-32786" y="1475050"/>
                    <a:pt x="238608" y="1432866"/>
                    <a:pt x="246655" y="1278759"/>
                  </a:cubicBezTo>
                  <a:cubicBezTo>
                    <a:pt x="250069" y="1211459"/>
                    <a:pt x="199350" y="1155376"/>
                    <a:pt x="162042" y="1099293"/>
                  </a:cubicBezTo>
                  <a:cubicBezTo>
                    <a:pt x="76698" y="971033"/>
                    <a:pt x="52314" y="808879"/>
                    <a:pt x="70359" y="655992"/>
                  </a:cubicBezTo>
                  <a:cubicBezTo>
                    <a:pt x="88403" y="502860"/>
                    <a:pt x="145705" y="357288"/>
                    <a:pt x="212517" y="218299"/>
                  </a:cubicBezTo>
                  <a:cubicBezTo>
                    <a:pt x="267137" y="104670"/>
                    <a:pt x="364673" y="-23590"/>
                    <a:pt x="487813" y="3720"/>
                  </a:cubicBezTo>
                  <a:cubicBezTo>
                    <a:pt x="566817" y="21276"/>
                    <a:pt x="617535" y="99793"/>
                    <a:pt x="640700" y="177578"/>
                  </a:cubicBezTo>
                  <a:cubicBezTo>
                    <a:pt x="672399" y="284380"/>
                    <a:pt x="667767" y="398985"/>
                    <a:pt x="646552" y="508225"/>
                  </a:cubicBezTo>
                  <a:cubicBezTo>
                    <a:pt x="637043" y="556505"/>
                    <a:pt x="624607" y="606980"/>
                    <a:pt x="637530" y="654529"/>
                  </a:cubicBezTo>
                  <a:cubicBezTo>
                    <a:pt x="670936" y="776205"/>
                    <a:pt x="841868" y="803759"/>
                    <a:pt x="903804" y="913974"/>
                  </a:cubicBezTo>
                  <a:cubicBezTo>
                    <a:pt x="966958" y="1025897"/>
                    <a:pt x="891612" y="1162204"/>
                    <a:pt x="821873" y="1270469"/>
                  </a:cubicBezTo>
                  <a:cubicBezTo>
                    <a:pt x="762133" y="1362884"/>
                    <a:pt x="725557" y="1420186"/>
                    <a:pt x="764815" y="1499190"/>
                  </a:cubicBezTo>
                  <a:cubicBezTo>
                    <a:pt x="775056" y="1520161"/>
                    <a:pt x="790418" y="1537961"/>
                    <a:pt x="807975" y="1553323"/>
                  </a:cubicBezTo>
                  <a:cubicBezTo>
                    <a:pt x="845526" y="1585510"/>
                    <a:pt x="915752" y="1684265"/>
                    <a:pt x="679715" y="186348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E1C8F0D-A063-47B6-892F-66B05134E56E}"/>
                </a:ext>
              </a:extLst>
            </p:cNvPr>
            <p:cNvSpPr/>
            <p:nvPr/>
          </p:nvSpPr>
          <p:spPr>
            <a:xfrm>
              <a:off x="10613136" y="1279712"/>
              <a:ext cx="146304" cy="1999487"/>
            </a:xfrm>
            <a:custGeom>
              <a:avLst/>
              <a:gdLst>
                <a:gd name="connsiteX0" fmla="*/ 56814 w 146304"/>
                <a:gd name="connsiteY0" fmla="*/ 0 h 1999487"/>
                <a:gd name="connsiteX1" fmla="*/ 0 w 146304"/>
                <a:gd name="connsiteY1" fmla="*/ 1999000 h 1999487"/>
                <a:gd name="connsiteX2" fmla="*/ 162885 w 146304"/>
                <a:gd name="connsiteY2" fmla="*/ 2013386 h 1999487"/>
                <a:gd name="connsiteX3" fmla="*/ 56814 w 146304"/>
                <a:gd name="connsiteY3" fmla="*/ 0 h 199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1999487">
                  <a:moveTo>
                    <a:pt x="56814" y="0"/>
                  </a:moveTo>
                  <a:cubicBezTo>
                    <a:pt x="56571" y="40965"/>
                    <a:pt x="0" y="1999000"/>
                    <a:pt x="0" y="1999000"/>
                  </a:cubicBezTo>
                  <a:lnTo>
                    <a:pt x="162885" y="2013386"/>
                  </a:lnTo>
                  <a:lnTo>
                    <a:pt x="56814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FEE0942-ED9A-4A38-B68F-4C4464C6F9E2}"/>
                </a:ext>
              </a:extLst>
            </p:cNvPr>
            <p:cNvSpPr/>
            <p:nvPr/>
          </p:nvSpPr>
          <p:spPr>
            <a:xfrm>
              <a:off x="10678877" y="2107548"/>
              <a:ext cx="365760" cy="341376"/>
            </a:xfrm>
            <a:custGeom>
              <a:avLst/>
              <a:gdLst>
                <a:gd name="connsiteX0" fmla="*/ 35940 w 365760"/>
                <a:gd name="connsiteY0" fmla="*/ 353812 h 341375"/>
                <a:gd name="connsiteX1" fmla="*/ 369513 w 365760"/>
                <a:gd name="connsiteY1" fmla="*/ 0 h 341375"/>
                <a:gd name="connsiteX2" fmla="*/ 6923 w 365760"/>
                <a:gd name="connsiteY2" fmla="*/ 324063 h 341375"/>
                <a:gd name="connsiteX3" fmla="*/ 5216 w 365760"/>
                <a:gd name="connsiteY3" fmla="*/ 353324 h 341375"/>
                <a:gd name="connsiteX4" fmla="*/ 34477 w 365760"/>
                <a:gd name="connsiteY4" fmla="*/ 355031 h 341375"/>
                <a:gd name="connsiteX5" fmla="*/ 35940 w 365760"/>
                <a:gd name="connsiteY5" fmla="*/ 353812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760" h="341375">
                  <a:moveTo>
                    <a:pt x="35940" y="353812"/>
                  </a:moveTo>
                  <a:lnTo>
                    <a:pt x="369513" y="0"/>
                  </a:lnTo>
                  <a:lnTo>
                    <a:pt x="6923" y="324063"/>
                  </a:lnTo>
                  <a:cubicBezTo>
                    <a:pt x="-1611" y="331622"/>
                    <a:pt x="-2343" y="344790"/>
                    <a:pt x="5216" y="353324"/>
                  </a:cubicBezTo>
                  <a:cubicBezTo>
                    <a:pt x="12775" y="361858"/>
                    <a:pt x="25943" y="362590"/>
                    <a:pt x="34477" y="355031"/>
                  </a:cubicBezTo>
                  <a:cubicBezTo>
                    <a:pt x="34965" y="354787"/>
                    <a:pt x="35452" y="354299"/>
                    <a:pt x="35940" y="353812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B0E740D-B463-4A25-B405-6A85B863E0EA}"/>
                </a:ext>
              </a:extLst>
            </p:cNvPr>
            <p:cNvSpPr/>
            <p:nvPr/>
          </p:nvSpPr>
          <p:spPr>
            <a:xfrm>
              <a:off x="10509991" y="1589389"/>
              <a:ext cx="146304" cy="268224"/>
            </a:xfrm>
            <a:custGeom>
              <a:avLst/>
              <a:gdLst>
                <a:gd name="connsiteX0" fmla="*/ 135088 w 146304"/>
                <a:gd name="connsiteY0" fmla="*/ 264566 h 268223"/>
                <a:gd name="connsiteX1" fmla="*/ 0 w 146304"/>
                <a:gd name="connsiteY1" fmla="*/ 0 h 268223"/>
                <a:gd name="connsiteX2" fmla="*/ 161666 w 146304"/>
                <a:gd name="connsiteY2" fmla="*/ 249204 h 268223"/>
                <a:gd name="connsiteX3" fmla="*/ 157033 w 146304"/>
                <a:gd name="connsiteY3" fmla="*/ 270418 h 268223"/>
                <a:gd name="connsiteX4" fmla="*/ 135819 w 146304"/>
                <a:gd name="connsiteY4" fmla="*/ 265785 h 268223"/>
                <a:gd name="connsiteX5" fmla="*/ 135088 w 146304"/>
                <a:gd name="connsiteY5" fmla="*/ 26456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304" h="268223">
                  <a:moveTo>
                    <a:pt x="135088" y="264566"/>
                  </a:moveTo>
                  <a:lnTo>
                    <a:pt x="0" y="0"/>
                  </a:lnTo>
                  <a:lnTo>
                    <a:pt x="161666" y="249204"/>
                  </a:lnTo>
                  <a:cubicBezTo>
                    <a:pt x="166299" y="256276"/>
                    <a:pt x="164349" y="265785"/>
                    <a:pt x="157033" y="270418"/>
                  </a:cubicBezTo>
                  <a:cubicBezTo>
                    <a:pt x="149962" y="275051"/>
                    <a:pt x="140452" y="273101"/>
                    <a:pt x="135819" y="265785"/>
                  </a:cubicBezTo>
                  <a:cubicBezTo>
                    <a:pt x="135575" y="265542"/>
                    <a:pt x="135332" y="265054"/>
                    <a:pt x="135088" y="264566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5D11EBE-9C74-421D-93F4-436FC96A4DA1}"/>
                </a:ext>
              </a:extLst>
            </p:cNvPr>
            <p:cNvSpPr/>
            <p:nvPr/>
          </p:nvSpPr>
          <p:spPr>
            <a:xfrm>
              <a:off x="10702869" y="1921742"/>
              <a:ext cx="316992" cy="463296"/>
            </a:xfrm>
            <a:custGeom>
              <a:avLst/>
              <a:gdLst>
                <a:gd name="connsiteX0" fmla="*/ 0 w 316992"/>
                <a:gd name="connsiteY0" fmla="*/ 486948 h 463295"/>
                <a:gd name="connsiteX1" fmla="*/ 322601 w 316992"/>
                <a:gd name="connsiteY1" fmla="*/ 0 h 463295"/>
                <a:gd name="connsiteX2" fmla="*/ 0 w 316992"/>
                <a:gd name="connsiteY2" fmla="*/ 486948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63295">
                  <a:moveTo>
                    <a:pt x="0" y="486948"/>
                  </a:moveTo>
                  <a:lnTo>
                    <a:pt x="322601" y="0"/>
                  </a:lnTo>
                  <a:lnTo>
                    <a:pt x="0" y="486948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C6FB0D0-F1D2-4E44-9CE4-D9B2E834751F}"/>
                </a:ext>
              </a:extLst>
            </p:cNvPr>
            <p:cNvSpPr/>
            <p:nvPr/>
          </p:nvSpPr>
          <p:spPr>
            <a:xfrm>
              <a:off x="4779796" y="1990749"/>
              <a:ext cx="1267968" cy="1316736"/>
            </a:xfrm>
            <a:custGeom>
              <a:avLst/>
              <a:gdLst>
                <a:gd name="connsiteX0" fmla="*/ 1273776 w 1267968"/>
                <a:gd name="connsiteY0" fmla="*/ 1317467 h 1316735"/>
                <a:gd name="connsiteX1" fmla="*/ 1063098 w 1267968"/>
                <a:gd name="connsiteY1" fmla="*/ 748101 h 1316735"/>
                <a:gd name="connsiteX2" fmla="*/ 775611 w 1267968"/>
                <a:gd name="connsiteY2" fmla="*/ 437936 h 1316735"/>
                <a:gd name="connsiteX3" fmla="*/ 542256 w 1267968"/>
                <a:gd name="connsiteY3" fmla="*/ 2682 h 1316735"/>
                <a:gd name="connsiteX4" fmla="*/ 308901 w 1267968"/>
                <a:gd name="connsiteY4" fmla="*/ 476219 h 1316735"/>
                <a:gd name="connsiteX5" fmla="*/ 55307 w 1267968"/>
                <a:gd name="connsiteY5" fmla="*/ 778825 h 1316735"/>
                <a:gd name="connsiteX6" fmla="*/ 63598 w 1267968"/>
                <a:gd name="connsiteY6" fmla="*/ 1317467 h 1316735"/>
                <a:gd name="connsiteX7" fmla="*/ 1273776 w 1267968"/>
                <a:gd name="connsiteY7" fmla="*/ 1317467 h 131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7968" h="1316735">
                  <a:moveTo>
                    <a:pt x="1273776" y="1317467"/>
                  </a:moveTo>
                  <a:cubicBezTo>
                    <a:pt x="1323763" y="975847"/>
                    <a:pt x="1204525" y="773216"/>
                    <a:pt x="1063098" y="748101"/>
                  </a:cubicBezTo>
                  <a:cubicBezTo>
                    <a:pt x="917526" y="722254"/>
                    <a:pt x="819502" y="669097"/>
                    <a:pt x="775611" y="437936"/>
                  </a:cubicBezTo>
                  <a:cubicBezTo>
                    <a:pt x="731720" y="206776"/>
                    <a:pt x="704653" y="-27798"/>
                    <a:pt x="542256" y="2682"/>
                  </a:cubicBezTo>
                  <a:cubicBezTo>
                    <a:pt x="379859" y="33162"/>
                    <a:pt x="322313" y="239451"/>
                    <a:pt x="308901" y="476219"/>
                  </a:cubicBezTo>
                  <a:cubicBezTo>
                    <a:pt x="295490" y="712988"/>
                    <a:pt x="193809" y="685922"/>
                    <a:pt x="55307" y="778825"/>
                  </a:cubicBezTo>
                  <a:cubicBezTo>
                    <a:pt x="-52957" y="851489"/>
                    <a:pt x="24340" y="1178235"/>
                    <a:pt x="63598" y="1317467"/>
                  </a:cubicBezTo>
                  <a:lnTo>
                    <a:pt x="1273776" y="1317467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33D0622-8C59-4EAA-9B42-E15CA9247C75}"/>
                </a:ext>
              </a:extLst>
            </p:cNvPr>
            <p:cNvSpPr/>
            <p:nvPr/>
          </p:nvSpPr>
          <p:spPr>
            <a:xfrm>
              <a:off x="4859098" y="2734948"/>
              <a:ext cx="1048512" cy="560832"/>
            </a:xfrm>
            <a:custGeom>
              <a:avLst/>
              <a:gdLst>
                <a:gd name="connsiteX0" fmla="*/ 1036953 w 1048512"/>
                <a:gd name="connsiteY0" fmla="*/ 309189 h 560831"/>
                <a:gd name="connsiteX1" fmla="*/ 730934 w 1048512"/>
                <a:gd name="connsiteY1" fmla="*/ 343327 h 560831"/>
                <a:gd name="connsiteX2" fmla="*/ 502700 w 1048512"/>
                <a:gd name="connsiteY2" fmla="*/ 0 h 560831"/>
                <a:gd name="connsiteX3" fmla="*/ 247399 w 1048512"/>
                <a:gd name="connsiteY3" fmla="*/ 380634 h 560831"/>
                <a:gd name="connsiteX4" fmla="*/ 42817 w 1048512"/>
                <a:gd name="connsiteY4" fmla="*/ 271882 h 560831"/>
                <a:gd name="connsiteX5" fmla="*/ 35502 w 1048512"/>
                <a:gd name="connsiteY5" fmla="*/ 573268 h 560831"/>
                <a:gd name="connsiteX6" fmla="*/ 994281 w 1048512"/>
                <a:gd name="connsiteY6" fmla="*/ 573268 h 560831"/>
                <a:gd name="connsiteX7" fmla="*/ 1036953 w 1048512"/>
                <a:gd name="connsiteY7" fmla="*/ 309189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8512" h="560831">
                  <a:moveTo>
                    <a:pt x="1036953" y="309189"/>
                  </a:moveTo>
                  <a:cubicBezTo>
                    <a:pt x="970873" y="263103"/>
                    <a:pt x="837492" y="355275"/>
                    <a:pt x="730934" y="343327"/>
                  </a:cubicBezTo>
                  <a:cubicBezTo>
                    <a:pt x="624376" y="331378"/>
                    <a:pt x="651442" y="0"/>
                    <a:pt x="502700" y="0"/>
                  </a:cubicBezTo>
                  <a:cubicBezTo>
                    <a:pt x="353957" y="0"/>
                    <a:pt x="365662" y="378927"/>
                    <a:pt x="247399" y="380634"/>
                  </a:cubicBezTo>
                  <a:cubicBezTo>
                    <a:pt x="128893" y="382341"/>
                    <a:pt x="139134" y="216530"/>
                    <a:pt x="42817" y="271882"/>
                  </a:cubicBezTo>
                  <a:cubicBezTo>
                    <a:pt x="-36674" y="317480"/>
                    <a:pt x="15020" y="507919"/>
                    <a:pt x="35502" y="573268"/>
                  </a:cubicBezTo>
                  <a:lnTo>
                    <a:pt x="994281" y="573268"/>
                  </a:lnTo>
                  <a:cubicBezTo>
                    <a:pt x="1030370" y="486461"/>
                    <a:pt x="1082308" y="341132"/>
                    <a:pt x="1036953" y="309189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2369F28-2489-4346-973C-A5F1BCE3C21A}"/>
                </a:ext>
              </a:extLst>
            </p:cNvPr>
            <p:cNvSpPr/>
            <p:nvPr/>
          </p:nvSpPr>
          <p:spPr>
            <a:xfrm>
              <a:off x="5334244" y="2164363"/>
              <a:ext cx="24384" cy="1121664"/>
            </a:xfrm>
            <a:custGeom>
              <a:avLst/>
              <a:gdLst>
                <a:gd name="connsiteX0" fmla="*/ 0 w 24384"/>
                <a:gd name="connsiteY0" fmla="*/ 0 h 1121663"/>
                <a:gd name="connsiteX1" fmla="*/ 7559 w 24384"/>
                <a:gd name="connsiteY1" fmla="*/ 1143853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0" y="0"/>
                  </a:moveTo>
                  <a:cubicBezTo>
                    <a:pt x="0" y="0"/>
                    <a:pt x="59009" y="677875"/>
                    <a:pt x="7559" y="114385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7744662-21B8-46B9-B4E6-518E324BAA69}"/>
                </a:ext>
              </a:extLst>
            </p:cNvPr>
            <p:cNvSpPr/>
            <p:nvPr/>
          </p:nvSpPr>
          <p:spPr>
            <a:xfrm>
              <a:off x="5344485" y="2209473"/>
              <a:ext cx="48768" cy="73152"/>
            </a:xfrm>
            <a:custGeom>
              <a:avLst/>
              <a:gdLst>
                <a:gd name="connsiteX0" fmla="*/ 68031 w 48768"/>
                <a:gd name="connsiteY0" fmla="*/ 0 h 73151"/>
                <a:gd name="connsiteX1" fmla="*/ 0 w 48768"/>
                <a:gd name="connsiteY1" fmla="*/ 95585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73151">
                  <a:moveTo>
                    <a:pt x="68031" y="0"/>
                  </a:moveTo>
                  <a:lnTo>
                    <a:pt x="0" y="9558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C3046117-8AD1-486C-A30D-28BA8A8BCFEB}"/>
                </a:ext>
              </a:extLst>
            </p:cNvPr>
            <p:cNvSpPr/>
            <p:nvPr/>
          </p:nvSpPr>
          <p:spPr>
            <a:xfrm>
              <a:off x="5214275" y="2268239"/>
              <a:ext cx="121920" cy="121920"/>
            </a:xfrm>
            <a:custGeom>
              <a:avLst/>
              <a:gdLst>
                <a:gd name="connsiteX0" fmla="*/ 0 w 121920"/>
                <a:gd name="connsiteY0" fmla="*/ 0 h 121919"/>
                <a:gd name="connsiteX1" fmla="*/ 135819 w 121920"/>
                <a:gd name="connsiteY1" fmla="*/ 130698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0" y="0"/>
                  </a:moveTo>
                  <a:lnTo>
                    <a:pt x="135819" y="13069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D3AC6B2-B7D4-4E91-92CB-C4FA6CAFEC99}"/>
                </a:ext>
              </a:extLst>
            </p:cNvPr>
            <p:cNvSpPr/>
            <p:nvPr/>
          </p:nvSpPr>
          <p:spPr>
            <a:xfrm>
              <a:off x="5358872" y="2441365"/>
              <a:ext cx="121920" cy="146304"/>
            </a:xfrm>
            <a:custGeom>
              <a:avLst/>
              <a:gdLst>
                <a:gd name="connsiteX0" fmla="*/ 143378 w 121920"/>
                <a:gd name="connsiteY0" fmla="*/ 0 h 146303"/>
                <a:gd name="connsiteX1" fmla="*/ 0 w 121920"/>
                <a:gd name="connsiteY1" fmla="*/ 15971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46303">
                  <a:moveTo>
                    <a:pt x="143378" y="0"/>
                  </a:moveTo>
                  <a:lnTo>
                    <a:pt x="0" y="15971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EAF0C85C-4F8F-4ED4-BF05-AA3A6D3B8A3D}"/>
                </a:ext>
              </a:extLst>
            </p:cNvPr>
            <p:cNvSpPr/>
            <p:nvPr/>
          </p:nvSpPr>
          <p:spPr>
            <a:xfrm>
              <a:off x="5143561" y="2521345"/>
              <a:ext cx="219456" cy="195072"/>
            </a:xfrm>
            <a:custGeom>
              <a:avLst/>
              <a:gdLst>
                <a:gd name="connsiteX0" fmla="*/ 0 w 219456"/>
                <a:gd name="connsiteY0" fmla="*/ 0 h 195071"/>
                <a:gd name="connsiteX1" fmla="*/ 219456 w 219456"/>
                <a:gd name="connsiteY1" fmla="*/ 21506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195071">
                  <a:moveTo>
                    <a:pt x="0" y="0"/>
                  </a:moveTo>
                  <a:lnTo>
                    <a:pt x="219456" y="21506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5A2A1A54-FD91-4D2E-A63A-CE16FC5C3B4C}"/>
                </a:ext>
              </a:extLst>
            </p:cNvPr>
            <p:cNvSpPr/>
            <p:nvPr/>
          </p:nvSpPr>
          <p:spPr>
            <a:xfrm>
              <a:off x="5363017" y="2628878"/>
              <a:ext cx="243840" cy="243840"/>
            </a:xfrm>
            <a:custGeom>
              <a:avLst/>
              <a:gdLst>
                <a:gd name="connsiteX0" fmla="*/ 259202 w 243840"/>
                <a:gd name="connsiteY0" fmla="*/ 0 h 243839"/>
                <a:gd name="connsiteX1" fmla="*/ 0 w 243840"/>
                <a:gd name="connsiteY1" fmla="*/ 250180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43839">
                  <a:moveTo>
                    <a:pt x="259202" y="0"/>
                  </a:moveTo>
                  <a:lnTo>
                    <a:pt x="0" y="25018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9067224-F95C-40F5-B055-EE400F9FB4CA}"/>
                </a:ext>
              </a:extLst>
            </p:cNvPr>
            <p:cNvSpPr/>
            <p:nvPr/>
          </p:nvSpPr>
          <p:spPr>
            <a:xfrm>
              <a:off x="5206716" y="2904417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52888 w 146304"/>
                <a:gd name="connsiteY1" fmla="*/ 15044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52888" y="15044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EC8E2B8-56BE-4D02-9676-FCA4851E9C1E}"/>
                </a:ext>
              </a:extLst>
            </p:cNvPr>
            <p:cNvSpPr/>
            <p:nvPr/>
          </p:nvSpPr>
          <p:spPr>
            <a:xfrm>
              <a:off x="5354970" y="2944407"/>
              <a:ext cx="195072" cy="195072"/>
            </a:xfrm>
            <a:custGeom>
              <a:avLst/>
              <a:gdLst>
                <a:gd name="connsiteX0" fmla="*/ 196535 w 195072"/>
                <a:gd name="connsiteY0" fmla="*/ 0 h 195071"/>
                <a:gd name="connsiteX1" fmla="*/ 0 w 195072"/>
                <a:gd name="connsiteY1" fmla="*/ 207995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95071">
                  <a:moveTo>
                    <a:pt x="196535" y="0"/>
                  </a:moveTo>
                  <a:lnTo>
                    <a:pt x="0" y="20799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61A13B3A-DBEB-41D4-BE4A-CA78BE76FF4E}"/>
                </a:ext>
              </a:extLst>
            </p:cNvPr>
            <p:cNvSpPr/>
            <p:nvPr/>
          </p:nvSpPr>
          <p:spPr>
            <a:xfrm>
              <a:off x="4965801" y="2878570"/>
              <a:ext cx="48768" cy="414528"/>
            </a:xfrm>
            <a:custGeom>
              <a:avLst/>
              <a:gdLst>
                <a:gd name="connsiteX0" fmla="*/ 0 w 48768"/>
                <a:gd name="connsiteY0" fmla="*/ 0 h 414527"/>
                <a:gd name="connsiteX1" fmla="*/ 68763 w 48768"/>
                <a:gd name="connsiteY1" fmla="*/ 429646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0" y="0"/>
                  </a:moveTo>
                  <a:cubicBezTo>
                    <a:pt x="0" y="0"/>
                    <a:pt x="59253" y="97292"/>
                    <a:pt x="68763" y="429646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7C4DF080-A1E1-41F2-B8D1-1C75028B6AFF}"/>
                </a:ext>
              </a:extLst>
            </p:cNvPr>
            <p:cNvSpPr/>
            <p:nvPr/>
          </p:nvSpPr>
          <p:spPr>
            <a:xfrm>
              <a:off x="5025786" y="3037554"/>
              <a:ext cx="73152" cy="121920"/>
            </a:xfrm>
            <a:custGeom>
              <a:avLst/>
              <a:gdLst>
                <a:gd name="connsiteX0" fmla="*/ 83637 w 73152"/>
                <a:gd name="connsiteY0" fmla="*/ 0 h 121919"/>
                <a:gd name="connsiteX1" fmla="*/ 0 w 73152"/>
                <a:gd name="connsiteY1" fmla="*/ 13776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83637" y="0"/>
                  </a:moveTo>
                  <a:lnTo>
                    <a:pt x="0" y="13776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005551B-923B-4B5E-AD19-CD11FE4D5475}"/>
                </a:ext>
              </a:extLst>
            </p:cNvPr>
            <p:cNvSpPr/>
            <p:nvPr/>
          </p:nvSpPr>
          <p:spPr>
            <a:xfrm>
              <a:off x="4848758" y="3132408"/>
              <a:ext cx="170688" cy="48768"/>
            </a:xfrm>
            <a:custGeom>
              <a:avLst/>
              <a:gdLst>
                <a:gd name="connsiteX0" fmla="*/ 0 w 170688"/>
                <a:gd name="connsiteY0" fmla="*/ 0 h 48767"/>
                <a:gd name="connsiteX1" fmla="*/ 179466 w 170688"/>
                <a:gd name="connsiteY1" fmla="*/ 6973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48767">
                  <a:moveTo>
                    <a:pt x="0" y="0"/>
                  </a:moveTo>
                  <a:lnTo>
                    <a:pt x="179466" y="697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4443C0B-E7CA-42E6-A5D5-094E6EC37ACD}"/>
                </a:ext>
              </a:extLst>
            </p:cNvPr>
            <p:cNvSpPr/>
            <p:nvPr/>
          </p:nvSpPr>
          <p:spPr>
            <a:xfrm>
              <a:off x="5773156" y="2953429"/>
              <a:ext cx="24384" cy="341376"/>
            </a:xfrm>
            <a:custGeom>
              <a:avLst/>
              <a:gdLst>
                <a:gd name="connsiteX0" fmla="*/ 39990 w 24384"/>
                <a:gd name="connsiteY0" fmla="*/ 0 h 341375"/>
                <a:gd name="connsiteX1" fmla="*/ 0 w 24384"/>
                <a:gd name="connsiteY1" fmla="*/ 35503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341375">
                  <a:moveTo>
                    <a:pt x="39990" y="0"/>
                  </a:moveTo>
                  <a:cubicBezTo>
                    <a:pt x="39990" y="0"/>
                    <a:pt x="9510" y="22433"/>
                    <a:pt x="0" y="355031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14A0746-2E42-434B-AEAB-C009BFABE55F}"/>
                </a:ext>
              </a:extLst>
            </p:cNvPr>
            <p:cNvSpPr/>
            <p:nvPr/>
          </p:nvSpPr>
          <p:spPr>
            <a:xfrm>
              <a:off x="5698541" y="3038042"/>
              <a:ext cx="73152" cy="121920"/>
            </a:xfrm>
            <a:custGeom>
              <a:avLst/>
              <a:gdLst>
                <a:gd name="connsiteX0" fmla="*/ 0 w 73152"/>
                <a:gd name="connsiteY0" fmla="*/ 0 h 121919"/>
                <a:gd name="connsiteX1" fmla="*/ 83393 w 73152"/>
                <a:gd name="connsiteY1" fmla="*/ 137282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0" y="0"/>
                  </a:moveTo>
                  <a:lnTo>
                    <a:pt x="83393" y="1372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0FFE069-3A26-43FF-9F0E-A02776B56884}"/>
                </a:ext>
              </a:extLst>
            </p:cNvPr>
            <p:cNvSpPr/>
            <p:nvPr/>
          </p:nvSpPr>
          <p:spPr>
            <a:xfrm>
              <a:off x="5779496" y="3153134"/>
              <a:ext cx="121920" cy="48768"/>
            </a:xfrm>
            <a:custGeom>
              <a:avLst/>
              <a:gdLst>
                <a:gd name="connsiteX0" fmla="*/ 126309 w 121920"/>
                <a:gd name="connsiteY0" fmla="*/ 0 h 48767"/>
                <a:gd name="connsiteX1" fmla="*/ 0 w 121920"/>
                <a:gd name="connsiteY1" fmla="*/ 49012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48767">
                  <a:moveTo>
                    <a:pt x="126309" y="0"/>
                  </a:moveTo>
                  <a:lnTo>
                    <a:pt x="0" y="4901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B45E805-F6F5-4BFE-82C6-7EE6B9534D32}"/>
                </a:ext>
              </a:extLst>
            </p:cNvPr>
            <p:cNvSpPr/>
            <p:nvPr/>
          </p:nvSpPr>
          <p:spPr>
            <a:xfrm>
              <a:off x="4211276" y="2396371"/>
              <a:ext cx="877824" cy="902208"/>
            </a:xfrm>
            <a:custGeom>
              <a:avLst/>
              <a:gdLst>
                <a:gd name="connsiteX0" fmla="*/ 882054 w 877824"/>
                <a:gd name="connsiteY0" fmla="*/ 911845 h 902207"/>
                <a:gd name="connsiteX1" fmla="*/ 736238 w 877824"/>
                <a:gd name="connsiteY1" fmla="*/ 517800 h 902207"/>
                <a:gd name="connsiteX2" fmla="*/ 537265 w 877824"/>
                <a:gd name="connsiteY2" fmla="*/ 303221 h 902207"/>
                <a:gd name="connsiteX3" fmla="*/ 375599 w 877824"/>
                <a:gd name="connsiteY3" fmla="*/ 1835 h 902207"/>
                <a:gd name="connsiteX4" fmla="*/ 213933 w 877824"/>
                <a:gd name="connsiteY4" fmla="*/ 329556 h 902207"/>
                <a:gd name="connsiteX5" fmla="*/ 38368 w 877824"/>
                <a:gd name="connsiteY5" fmla="*/ 539014 h 902207"/>
                <a:gd name="connsiteX6" fmla="*/ 43976 w 877824"/>
                <a:gd name="connsiteY6" fmla="*/ 911845 h 902207"/>
                <a:gd name="connsiteX7" fmla="*/ 882054 w 877824"/>
                <a:gd name="connsiteY7" fmla="*/ 911845 h 90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7824" h="902207">
                  <a:moveTo>
                    <a:pt x="882054" y="911845"/>
                  </a:moveTo>
                  <a:cubicBezTo>
                    <a:pt x="916680" y="675565"/>
                    <a:pt x="834262" y="535113"/>
                    <a:pt x="736238" y="517800"/>
                  </a:cubicBezTo>
                  <a:cubicBezTo>
                    <a:pt x="635532" y="500000"/>
                    <a:pt x="567745" y="462936"/>
                    <a:pt x="537265" y="303221"/>
                  </a:cubicBezTo>
                  <a:cubicBezTo>
                    <a:pt x="506785" y="143262"/>
                    <a:pt x="488009" y="-19135"/>
                    <a:pt x="375599" y="1835"/>
                  </a:cubicBezTo>
                  <a:cubicBezTo>
                    <a:pt x="263188" y="22805"/>
                    <a:pt x="223442" y="165695"/>
                    <a:pt x="213933" y="329556"/>
                  </a:cubicBezTo>
                  <a:cubicBezTo>
                    <a:pt x="204667" y="493416"/>
                    <a:pt x="134441" y="474641"/>
                    <a:pt x="38368" y="539014"/>
                  </a:cubicBezTo>
                  <a:cubicBezTo>
                    <a:pt x="-36735" y="589245"/>
                    <a:pt x="16910" y="815285"/>
                    <a:pt x="43976" y="911845"/>
                  </a:cubicBezTo>
                  <a:lnTo>
                    <a:pt x="882054" y="911845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073676D9-EF3C-4248-BE61-8F641AA494D3}"/>
                </a:ext>
              </a:extLst>
            </p:cNvPr>
            <p:cNvSpPr/>
            <p:nvPr/>
          </p:nvSpPr>
          <p:spPr>
            <a:xfrm>
              <a:off x="4272385" y="2911489"/>
              <a:ext cx="707136" cy="390144"/>
            </a:xfrm>
            <a:custGeom>
              <a:avLst/>
              <a:gdLst>
                <a:gd name="connsiteX0" fmla="*/ 718045 w 707136"/>
                <a:gd name="connsiteY0" fmla="*/ 214091 h 390143"/>
                <a:gd name="connsiteX1" fmla="*/ 506148 w 707136"/>
                <a:gd name="connsiteY1" fmla="*/ 237744 h 390143"/>
                <a:gd name="connsiteX2" fmla="*/ 348140 w 707136"/>
                <a:gd name="connsiteY2" fmla="*/ 0 h 390143"/>
                <a:gd name="connsiteX3" fmla="*/ 171356 w 707136"/>
                <a:gd name="connsiteY3" fmla="*/ 263347 h 390143"/>
                <a:gd name="connsiteX4" fmla="*/ 29684 w 707136"/>
                <a:gd name="connsiteY4" fmla="*/ 188000 h 390143"/>
                <a:gd name="connsiteX5" fmla="*/ 24564 w 707136"/>
                <a:gd name="connsiteY5" fmla="*/ 396484 h 390143"/>
                <a:gd name="connsiteX6" fmla="*/ 688052 w 707136"/>
                <a:gd name="connsiteY6" fmla="*/ 396484 h 390143"/>
                <a:gd name="connsiteX7" fmla="*/ 718045 w 707136"/>
                <a:gd name="connsiteY7" fmla="*/ 214091 h 390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136" h="390143">
                  <a:moveTo>
                    <a:pt x="718045" y="214091"/>
                  </a:moveTo>
                  <a:cubicBezTo>
                    <a:pt x="672447" y="182148"/>
                    <a:pt x="579788" y="246034"/>
                    <a:pt x="506148" y="237744"/>
                  </a:cubicBezTo>
                  <a:cubicBezTo>
                    <a:pt x="432508" y="229453"/>
                    <a:pt x="451040" y="0"/>
                    <a:pt x="348140" y="0"/>
                  </a:cubicBezTo>
                  <a:cubicBezTo>
                    <a:pt x="245239" y="0"/>
                    <a:pt x="253286" y="262128"/>
                    <a:pt x="171356" y="263347"/>
                  </a:cubicBezTo>
                  <a:cubicBezTo>
                    <a:pt x="89425" y="264566"/>
                    <a:pt x="96497" y="149718"/>
                    <a:pt x="29684" y="188000"/>
                  </a:cubicBezTo>
                  <a:cubicBezTo>
                    <a:pt x="-25423" y="219456"/>
                    <a:pt x="10421" y="351373"/>
                    <a:pt x="24564" y="396484"/>
                  </a:cubicBezTo>
                  <a:lnTo>
                    <a:pt x="688052" y="396484"/>
                  </a:lnTo>
                  <a:cubicBezTo>
                    <a:pt x="713656" y="336743"/>
                    <a:pt x="749500" y="236037"/>
                    <a:pt x="718045" y="214091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FA37BC60-4A42-4DD5-A8C8-87F15A52C4FD}"/>
                </a:ext>
              </a:extLst>
            </p:cNvPr>
            <p:cNvSpPr/>
            <p:nvPr/>
          </p:nvSpPr>
          <p:spPr>
            <a:xfrm>
              <a:off x="5664847" y="2225031"/>
              <a:ext cx="560832" cy="1170432"/>
            </a:xfrm>
            <a:custGeom>
              <a:avLst/>
              <a:gdLst>
                <a:gd name="connsiteX0" fmla="*/ 416766 w 560832"/>
                <a:gd name="connsiteY0" fmla="*/ 1142195 h 1170431"/>
                <a:gd name="connsiteX1" fmla="*/ 36132 w 560832"/>
                <a:gd name="connsiteY1" fmla="*/ 1065385 h 1170431"/>
                <a:gd name="connsiteX2" fmla="*/ 1994 w 560832"/>
                <a:gd name="connsiteY2" fmla="*/ 1009301 h 1170431"/>
                <a:gd name="connsiteX3" fmla="*/ 151225 w 560832"/>
                <a:gd name="connsiteY3" fmla="*/ 783750 h 1170431"/>
                <a:gd name="connsiteX4" fmla="*/ 99287 w 560832"/>
                <a:gd name="connsiteY4" fmla="*/ 673778 h 1170431"/>
                <a:gd name="connsiteX5" fmla="*/ 43203 w 560832"/>
                <a:gd name="connsiteY5" fmla="*/ 402140 h 1170431"/>
                <a:gd name="connsiteX6" fmla="*/ 130254 w 560832"/>
                <a:gd name="connsiteY6" fmla="*/ 133916 h 1170431"/>
                <a:gd name="connsiteX7" fmla="*/ 298992 w 560832"/>
                <a:gd name="connsiteY7" fmla="*/ 2243 h 1170431"/>
                <a:gd name="connsiteX8" fmla="*/ 392626 w 560832"/>
                <a:gd name="connsiteY8" fmla="*/ 108801 h 1170431"/>
                <a:gd name="connsiteX9" fmla="*/ 396284 w 560832"/>
                <a:gd name="connsiteY9" fmla="*/ 311432 h 1170431"/>
                <a:gd name="connsiteX10" fmla="*/ 390675 w 560832"/>
                <a:gd name="connsiteY10" fmla="*/ 401165 h 1170431"/>
                <a:gd name="connsiteX11" fmla="*/ 553804 w 560832"/>
                <a:gd name="connsiteY11" fmla="*/ 560148 h 1170431"/>
                <a:gd name="connsiteX12" fmla="*/ 503573 w 560832"/>
                <a:gd name="connsiteY12" fmla="*/ 778629 h 1170431"/>
                <a:gd name="connsiteX13" fmla="*/ 468460 w 560832"/>
                <a:gd name="connsiteY13" fmla="*/ 918837 h 1170431"/>
                <a:gd name="connsiteX14" fmla="*/ 495039 w 560832"/>
                <a:gd name="connsiteY14" fmla="*/ 951999 h 1170431"/>
                <a:gd name="connsiteX15" fmla="*/ 416766 w 560832"/>
                <a:gd name="connsiteY15" fmla="*/ 1142195 h 117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0832" h="1170431">
                  <a:moveTo>
                    <a:pt x="416766" y="1142195"/>
                  </a:moveTo>
                  <a:cubicBezTo>
                    <a:pt x="308501" y="1224368"/>
                    <a:pt x="133180" y="1149509"/>
                    <a:pt x="36132" y="1065385"/>
                  </a:cubicBezTo>
                  <a:cubicBezTo>
                    <a:pt x="19063" y="1050755"/>
                    <a:pt x="6627" y="1031247"/>
                    <a:pt x="1994" y="1009301"/>
                  </a:cubicBezTo>
                  <a:cubicBezTo>
                    <a:pt x="-19951" y="903963"/>
                    <a:pt x="146348" y="878116"/>
                    <a:pt x="151225" y="783750"/>
                  </a:cubicBezTo>
                  <a:cubicBezTo>
                    <a:pt x="153419" y="742541"/>
                    <a:pt x="122208" y="708159"/>
                    <a:pt x="99287" y="673778"/>
                  </a:cubicBezTo>
                  <a:cubicBezTo>
                    <a:pt x="46861" y="595261"/>
                    <a:pt x="31987" y="495775"/>
                    <a:pt x="43203" y="402140"/>
                  </a:cubicBezTo>
                  <a:cubicBezTo>
                    <a:pt x="54176" y="308262"/>
                    <a:pt x="89289" y="219016"/>
                    <a:pt x="130254" y="133916"/>
                  </a:cubicBezTo>
                  <a:cubicBezTo>
                    <a:pt x="163660" y="64178"/>
                    <a:pt x="223401" y="-14339"/>
                    <a:pt x="298992" y="2243"/>
                  </a:cubicBezTo>
                  <a:cubicBezTo>
                    <a:pt x="347516" y="12972"/>
                    <a:pt x="378483" y="61252"/>
                    <a:pt x="392626" y="108801"/>
                  </a:cubicBezTo>
                  <a:cubicBezTo>
                    <a:pt x="412133" y="174150"/>
                    <a:pt x="409207" y="244620"/>
                    <a:pt x="396284" y="311432"/>
                  </a:cubicBezTo>
                  <a:cubicBezTo>
                    <a:pt x="390432" y="341180"/>
                    <a:pt x="382873" y="371904"/>
                    <a:pt x="390675" y="401165"/>
                  </a:cubicBezTo>
                  <a:cubicBezTo>
                    <a:pt x="411158" y="475780"/>
                    <a:pt x="515765" y="492605"/>
                    <a:pt x="553804" y="560148"/>
                  </a:cubicBezTo>
                  <a:cubicBezTo>
                    <a:pt x="592575" y="628667"/>
                    <a:pt x="546245" y="712305"/>
                    <a:pt x="503573" y="778629"/>
                  </a:cubicBezTo>
                  <a:cubicBezTo>
                    <a:pt x="466997" y="835200"/>
                    <a:pt x="444564" y="870313"/>
                    <a:pt x="468460" y="918837"/>
                  </a:cubicBezTo>
                  <a:cubicBezTo>
                    <a:pt x="474800" y="931760"/>
                    <a:pt x="484066" y="942733"/>
                    <a:pt x="495039" y="951999"/>
                  </a:cubicBezTo>
                  <a:cubicBezTo>
                    <a:pt x="518448" y="971994"/>
                    <a:pt x="561363" y="1032467"/>
                    <a:pt x="416766" y="1142195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0D7743B7-0B89-449F-AB8A-6FE3EF370C4B}"/>
                </a:ext>
              </a:extLst>
            </p:cNvPr>
            <p:cNvSpPr/>
            <p:nvPr/>
          </p:nvSpPr>
          <p:spPr>
            <a:xfrm>
              <a:off x="5965381" y="2598302"/>
              <a:ext cx="365760" cy="780288"/>
            </a:xfrm>
            <a:custGeom>
              <a:avLst/>
              <a:gdLst>
                <a:gd name="connsiteX0" fmla="*/ 284727 w 365760"/>
                <a:gd name="connsiteY0" fmla="*/ 780140 h 780287"/>
                <a:gd name="connsiteX1" fmla="*/ 24793 w 365760"/>
                <a:gd name="connsiteY1" fmla="*/ 727715 h 780287"/>
                <a:gd name="connsiteX2" fmla="*/ 1384 w 365760"/>
                <a:gd name="connsiteY2" fmla="*/ 689432 h 780287"/>
                <a:gd name="connsiteX3" fmla="*/ 103310 w 365760"/>
                <a:gd name="connsiteY3" fmla="*/ 535325 h 780287"/>
                <a:gd name="connsiteX4" fmla="*/ 67709 w 365760"/>
                <a:gd name="connsiteY4" fmla="*/ 460223 h 780287"/>
                <a:gd name="connsiteX5" fmla="*/ 29426 w 365760"/>
                <a:gd name="connsiteY5" fmla="*/ 274660 h 780287"/>
                <a:gd name="connsiteX6" fmla="*/ 88923 w 365760"/>
                <a:gd name="connsiteY6" fmla="*/ 91537 h 780287"/>
                <a:gd name="connsiteX7" fmla="*/ 204015 w 365760"/>
                <a:gd name="connsiteY7" fmla="*/ 1560 h 780287"/>
                <a:gd name="connsiteX8" fmla="*/ 268145 w 365760"/>
                <a:gd name="connsiteY8" fmla="*/ 74224 h 780287"/>
                <a:gd name="connsiteX9" fmla="*/ 270584 w 365760"/>
                <a:gd name="connsiteY9" fmla="*/ 212725 h 780287"/>
                <a:gd name="connsiteX10" fmla="*/ 266926 w 365760"/>
                <a:gd name="connsiteY10" fmla="*/ 273929 h 780287"/>
                <a:gd name="connsiteX11" fmla="*/ 378361 w 365760"/>
                <a:gd name="connsiteY11" fmla="*/ 382438 h 780287"/>
                <a:gd name="connsiteX12" fmla="*/ 344224 w 365760"/>
                <a:gd name="connsiteY12" fmla="*/ 531668 h 780287"/>
                <a:gd name="connsiteX13" fmla="*/ 320327 w 365760"/>
                <a:gd name="connsiteY13" fmla="*/ 627497 h 780287"/>
                <a:gd name="connsiteX14" fmla="*/ 338371 w 365760"/>
                <a:gd name="connsiteY14" fmla="*/ 650174 h 780287"/>
                <a:gd name="connsiteX15" fmla="*/ 284727 w 365760"/>
                <a:gd name="connsiteY15" fmla="*/ 780140 h 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5760" h="780287">
                  <a:moveTo>
                    <a:pt x="284727" y="780140"/>
                  </a:moveTo>
                  <a:cubicBezTo>
                    <a:pt x="210843" y="836224"/>
                    <a:pt x="91118" y="785017"/>
                    <a:pt x="24793" y="727715"/>
                  </a:cubicBezTo>
                  <a:cubicBezTo>
                    <a:pt x="13088" y="717718"/>
                    <a:pt x="4554" y="704550"/>
                    <a:pt x="1384" y="689432"/>
                  </a:cubicBezTo>
                  <a:cubicBezTo>
                    <a:pt x="-13734" y="617499"/>
                    <a:pt x="99896" y="599699"/>
                    <a:pt x="103310" y="535325"/>
                  </a:cubicBezTo>
                  <a:cubicBezTo>
                    <a:pt x="104773" y="507040"/>
                    <a:pt x="83559" y="483631"/>
                    <a:pt x="67709" y="460223"/>
                  </a:cubicBezTo>
                  <a:cubicBezTo>
                    <a:pt x="31864" y="406578"/>
                    <a:pt x="21867" y="338546"/>
                    <a:pt x="29426" y="274660"/>
                  </a:cubicBezTo>
                  <a:cubicBezTo>
                    <a:pt x="36985" y="210530"/>
                    <a:pt x="60881" y="149570"/>
                    <a:pt x="88923" y="91537"/>
                  </a:cubicBezTo>
                  <a:cubicBezTo>
                    <a:pt x="111844" y="43988"/>
                    <a:pt x="152565" y="-9901"/>
                    <a:pt x="204015" y="1560"/>
                  </a:cubicBezTo>
                  <a:cubicBezTo>
                    <a:pt x="237177" y="8875"/>
                    <a:pt x="258392" y="41793"/>
                    <a:pt x="268145" y="74224"/>
                  </a:cubicBezTo>
                  <a:cubicBezTo>
                    <a:pt x="281312" y="118847"/>
                    <a:pt x="279362" y="166883"/>
                    <a:pt x="270584" y="212725"/>
                  </a:cubicBezTo>
                  <a:cubicBezTo>
                    <a:pt x="266682" y="232964"/>
                    <a:pt x="261318" y="253934"/>
                    <a:pt x="266926" y="273929"/>
                  </a:cubicBezTo>
                  <a:cubicBezTo>
                    <a:pt x="280825" y="324891"/>
                    <a:pt x="352514" y="336352"/>
                    <a:pt x="378361" y="382438"/>
                  </a:cubicBezTo>
                  <a:cubicBezTo>
                    <a:pt x="404695" y="429255"/>
                    <a:pt x="373241" y="486313"/>
                    <a:pt x="344224" y="531668"/>
                  </a:cubicBezTo>
                  <a:cubicBezTo>
                    <a:pt x="319351" y="570438"/>
                    <a:pt x="303989" y="594335"/>
                    <a:pt x="320327" y="627497"/>
                  </a:cubicBezTo>
                  <a:cubicBezTo>
                    <a:pt x="324716" y="636275"/>
                    <a:pt x="331056" y="643834"/>
                    <a:pt x="338371" y="650174"/>
                  </a:cubicBezTo>
                  <a:cubicBezTo>
                    <a:pt x="354221" y="663829"/>
                    <a:pt x="383726" y="705282"/>
                    <a:pt x="284727" y="780140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A796208-A4FD-4A10-A031-DB2F990278B3}"/>
                </a:ext>
              </a:extLst>
            </p:cNvPr>
            <p:cNvSpPr/>
            <p:nvPr/>
          </p:nvSpPr>
          <p:spPr>
            <a:xfrm>
              <a:off x="191414" y="2824823"/>
              <a:ext cx="609600" cy="195072"/>
            </a:xfrm>
            <a:custGeom>
              <a:avLst/>
              <a:gdLst>
                <a:gd name="connsiteX0" fmla="*/ 0 w 609600"/>
                <a:gd name="connsiteY0" fmla="*/ 205172 h 195071"/>
                <a:gd name="connsiteX1" fmla="*/ 618622 w 609600"/>
                <a:gd name="connsiteY1" fmla="*/ 52528 h 195071"/>
                <a:gd name="connsiteX2" fmla="*/ 0 w 609600"/>
                <a:gd name="connsiteY2" fmla="*/ 205172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95071">
                  <a:moveTo>
                    <a:pt x="0" y="205172"/>
                  </a:moveTo>
                  <a:cubicBezTo>
                    <a:pt x="0" y="205172"/>
                    <a:pt x="563514" y="-125231"/>
                    <a:pt x="618622" y="52528"/>
                  </a:cubicBezTo>
                  <a:cubicBezTo>
                    <a:pt x="681777" y="256135"/>
                    <a:pt x="0" y="205172"/>
                    <a:pt x="0" y="20517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27FBC5B-7A8C-490C-8395-03639401E643}"/>
                </a:ext>
              </a:extLst>
            </p:cNvPr>
            <p:cNvSpPr/>
            <p:nvPr/>
          </p:nvSpPr>
          <p:spPr>
            <a:xfrm>
              <a:off x="0" y="2546216"/>
              <a:ext cx="146304" cy="463296"/>
            </a:xfrm>
            <a:custGeom>
              <a:avLst/>
              <a:gdLst>
                <a:gd name="connsiteX0" fmla="*/ 147036 w 146304"/>
                <a:gd name="connsiteY0" fmla="*/ 472562 h 463295"/>
                <a:gd name="connsiteX1" fmla="*/ 0 w 146304"/>
                <a:gd name="connsiteY1" fmla="*/ 0 h 463295"/>
                <a:gd name="connsiteX2" fmla="*/ 0 w 146304"/>
                <a:gd name="connsiteY2" fmla="*/ 334305 h 463295"/>
                <a:gd name="connsiteX3" fmla="*/ 147036 w 146304"/>
                <a:gd name="connsiteY3" fmla="*/ 472562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463295">
                  <a:moveTo>
                    <a:pt x="147036" y="472562"/>
                  </a:moveTo>
                  <a:cubicBezTo>
                    <a:pt x="138501" y="368198"/>
                    <a:pt x="82418" y="135087"/>
                    <a:pt x="0" y="0"/>
                  </a:cubicBezTo>
                  <a:lnTo>
                    <a:pt x="0" y="334305"/>
                  </a:lnTo>
                  <a:cubicBezTo>
                    <a:pt x="78029" y="414284"/>
                    <a:pt x="147036" y="472562"/>
                    <a:pt x="147036" y="47256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C393DB7F-9E1E-4254-8726-CE53449BFCFC}"/>
                </a:ext>
              </a:extLst>
            </p:cNvPr>
            <p:cNvSpPr/>
            <p:nvPr/>
          </p:nvSpPr>
          <p:spPr>
            <a:xfrm>
              <a:off x="407944" y="2478785"/>
              <a:ext cx="609600" cy="146304"/>
            </a:xfrm>
            <a:custGeom>
              <a:avLst/>
              <a:gdLst>
                <a:gd name="connsiteX0" fmla="*/ 0 w 609600"/>
                <a:gd name="connsiteY0" fmla="*/ 132293 h 146303"/>
                <a:gd name="connsiteX1" fmla="*/ 611063 w 609600"/>
                <a:gd name="connsiteY1" fmla="*/ 61823 h 146303"/>
                <a:gd name="connsiteX2" fmla="*/ 0 w 609600"/>
                <a:gd name="connsiteY2" fmla="*/ 132293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46303">
                  <a:moveTo>
                    <a:pt x="0" y="132293"/>
                  </a:moveTo>
                  <a:cubicBezTo>
                    <a:pt x="0" y="132293"/>
                    <a:pt x="575462" y="-110572"/>
                    <a:pt x="611063" y="61823"/>
                  </a:cubicBezTo>
                  <a:cubicBezTo>
                    <a:pt x="649590" y="249580"/>
                    <a:pt x="0" y="132293"/>
                    <a:pt x="0" y="13229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A13CFDCF-1EEE-4326-887A-1524655799D2}"/>
                </a:ext>
              </a:extLst>
            </p:cNvPr>
            <p:cNvSpPr/>
            <p:nvPr/>
          </p:nvSpPr>
          <p:spPr>
            <a:xfrm>
              <a:off x="244" y="2097015"/>
              <a:ext cx="365760" cy="487680"/>
            </a:xfrm>
            <a:custGeom>
              <a:avLst/>
              <a:gdLst>
                <a:gd name="connsiteX0" fmla="*/ 372344 w 365760"/>
                <a:gd name="connsiteY0" fmla="*/ 510649 h 487679"/>
                <a:gd name="connsiteX1" fmla="*/ 26579 w 365760"/>
                <a:gd name="connsiteY1" fmla="*/ 12240 h 487679"/>
                <a:gd name="connsiteX2" fmla="*/ 0 w 365760"/>
                <a:gd name="connsiteY2" fmla="*/ 29796 h 487679"/>
                <a:gd name="connsiteX3" fmla="*/ 0 w 365760"/>
                <a:gd name="connsiteY3" fmla="*/ 157081 h 487679"/>
                <a:gd name="connsiteX4" fmla="*/ 372344 w 365760"/>
                <a:gd name="connsiteY4" fmla="*/ 510649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0" h="487679">
                  <a:moveTo>
                    <a:pt x="372344" y="510649"/>
                  </a:moveTo>
                  <a:cubicBezTo>
                    <a:pt x="372344" y="510649"/>
                    <a:pt x="244815" y="-92611"/>
                    <a:pt x="26579" y="12240"/>
                  </a:cubicBezTo>
                  <a:cubicBezTo>
                    <a:pt x="15850" y="17361"/>
                    <a:pt x="7071" y="23213"/>
                    <a:pt x="0" y="29796"/>
                  </a:cubicBezTo>
                  <a:lnTo>
                    <a:pt x="0" y="157081"/>
                  </a:lnTo>
                  <a:cubicBezTo>
                    <a:pt x="84856" y="310212"/>
                    <a:pt x="372344" y="510649"/>
                    <a:pt x="372344" y="510649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A8A49B75-BBFE-49D4-BB4A-235CDB7EAADB}"/>
                </a:ext>
              </a:extLst>
            </p:cNvPr>
            <p:cNvSpPr/>
            <p:nvPr/>
          </p:nvSpPr>
          <p:spPr>
            <a:xfrm>
              <a:off x="596920" y="2084476"/>
              <a:ext cx="585216" cy="170688"/>
            </a:xfrm>
            <a:custGeom>
              <a:avLst/>
              <a:gdLst>
                <a:gd name="connsiteX0" fmla="*/ 0 w 585216"/>
                <a:gd name="connsiteY0" fmla="*/ 171327 h 170687"/>
                <a:gd name="connsiteX1" fmla="*/ 591068 w 585216"/>
                <a:gd name="connsiteY1" fmla="*/ 45993 h 170687"/>
                <a:gd name="connsiteX2" fmla="*/ 0 w 585216"/>
                <a:gd name="connsiteY2" fmla="*/ 17132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5216" h="170687">
                  <a:moveTo>
                    <a:pt x="0" y="171327"/>
                  </a:moveTo>
                  <a:cubicBezTo>
                    <a:pt x="99243" y="92079"/>
                    <a:pt x="573999" y="-82998"/>
                    <a:pt x="591068" y="45993"/>
                  </a:cubicBezTo>
                  <a:cubicBezTo>
                    <a:pt x="620817" y="270326"/>
                    <a:pt x="0" y="171327"/>
                    <a:pt x="0" y="17132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48FDE24C-E24A-489C-9754-4552040B29DC}"/>
                </a:ext>
              </a:extLst>
            </p:cNvPr>
            <p:cNvSpPr/>
            <p:nvPr/>
          </p:nvSpPr>
          <p:spPr>
            <a:xfrm>
              <a:off x="167209" y="1738921"/>
              <a:ext cx="365760" cy="487680"/>
            </a:xfrm>
            <a:custGeom>
              <a:avLst/>
              <a:gdLst>
                <a:gd name="connsiteX0" fmla="*/ 376798 w 365760"/>
                <a:gd name="connsiteY0" fmla="*/ 504446 h 487679"/>
                <a:gd name="connsiteX1" fmla="*/ 40543 w 365760"/>
                <a:gd name="connsiteY1" fmla="*/ 7988 h 487679"/>
                <a:gd name="connsiteX2" fmla="*/ 376798 w 365760"/>
                <a:gd name="connsiteY2" fmla="*/ 504446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760" h="487679">
                  <a:moveTo>
                    <a:pt x="376798" y="504446"/>
                  </a:moveTo>
                  <a:cubicBezTo>
                    <a:pt x="316326" y="293524"/>
                    <a:pt x="154904" y="-57361"/>
                    <a:pt x="40543" y="7988"/>
                  </a:cubicBezTo>
                  <a:cubicBezTo>
                    <a:pt x="-146970" y="115521"/>
                    <a:pt x="376798" y="504446"/>
                    <a:pt x="376798" y="504446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B898F5EF-97B6-4904-B33F-5B209395F35A}"/>
                </a:ext>
              </a:extLst>
            </p:cNvPr>
            <p:cNvSpPr/>
            <p:nvPr/>
          </p:nvSpPr>
          <p:spPr>
            <a:xfrm>
              <a:off x="353830" y="1431609"/>
              <a:ext cx="316992" cy="438912"/>
            </a:xfrm>
            <a:custGeom>
              <a:avLst/>
              <a:gdLst>
                <a:gd name="connsiteX0" fmla="*/ 333799 w 316992"/>
                <a:gd name="connsiteY0" fmla="*/ 455020 h 438911"/>
                <a:gd name="connsiteX1" fmla="*/ 26073 w 316992"/>
                <a:gd name="connsiteY1" fmla="*/ 6354 h 438911"/>
                <a:gd name="connsiteX2" fmla="*/ 333799 w 316992"/>
                <a:gd name="connsiteY2" fmla="*/ 455020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38911">
                  <a:moveTo>
                    <a:pt x="333799" y="455020"/>
                  </a:moveTo>
                  <a:cubicBezTo>
                    <a:pt x="321119" y="267507"/>
                    <a:pt x="162623" y="-48753"/>
                    <a:pt x="26073" y="6354"/>
                  </a:cubicBezTo>
                  <a:cubicBezTo>
                    <a:pt x="-110478" y="61706"/>
                    <a:pt x="333799" y="455020"/>
                    <a:pt x="333799" y="455020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61599FB-0944-4664-8E21-034AE1B8DFC6}"/>
                </a:ext>
              </a:extLst>
            </p:cNvPr>
            <p:cNvSpPr/>
            <p:nvPr/>
          </p:nvSpPr>
          <p:spPr>
            <a:xfrm>
              <a:off x="742493" y="1294120"/>
              <a:ext cx="243840" cy="536448"/>
            </a:xfrm>
            <a:custGeom>
              <a:avLst/>
              <a:gdLst>
                <a:gd name="connsiteX0" fmla="*/ 0 w 243840"/>
                <a:gd name="connsiteY0" fmla="*/ 548618 h 536447"/>
                <a:gd name="connsiteX1" fmla="*/ 203363 w 243840"/>
                <a:gd name="connsiteY1" fmla="*/ 6075 h 536447"/>
                <a:gd name="connsiteX2" fmla="*/ 0 w 243840"/>
                <a:gd name="connsiteY2" fmla="*/ 548618 h 536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840" h="536447">
                  <a:moveTo>
                    <a:pt x="0" y="548618"/>
                  </a:moveTo>
                  <a:cubicBezTo>
                    <a:pt x="0" y="548618"/>
                    <a:pt x="385267" y="79470"/>
                    <a:pt x="203363" y="6075"/>
                  </a:cubicBezTo>
                  <a:cubicBezTo>
                    <a:pt x="21702" y="-67321"/>
                    <a:pt x="0" y="548618"/>
                    <a:pt x="0" y="548618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31FCE595-85F5-475D-9A64-3E2D664ECA6D}"/>
                </a:ext>
              </a:extLst>
            </p:cNvPr>
            <p:cNvSpPr/>
            <p:nvPr/>
          </p:nvSpPr>
          <p:spPr>
            <a:xfrm>
              <a:off x="10973" y="1484781"/>
              <a:ext cx="853440" cy="1804416"/>
            </a:xfrm>
            <a:custGeom>
              <a:avLst/>
              <a:gdLst>
                <a:gd name="connsiteX0" fmla="*/ 868314 w 853440"/>
                <a:gd name="connsiteY0" fmla="*/ 0 h 1804415"/>
                <a:gd name="connsiteX1" fmla="*/ 0 w 853440"/>
                <a:gd name="connsiteY1" fmla="*/ 1818558 h 180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3440" h="1804415">
                  <a:moveTo>
                    <a:pt x="868314" y="0"/>
                  </a:moveTo>
                  <a:cubicBezTo>
                    <a:pt x="868314" y="0"/>
                    <a:pt x="618866" y="787603"/>
                    <a:pt x="0" y="1818558"/>
                  </a:cubicBez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C69363A-7713-46FC-A840-2D83D4CCDB18}"/>
                </a:ext>
              </a:extLst>
            </p:cNvPr>
            <p:cNvSpPr/>
            <p:nvPr/>
          </p:nvSpPr>
          <p:spPr>
            <a:xfrm>
              <a:off x="710062" y="1760934"/>
              <a:ext cx="536448" cy="170688"/>
            </a:xfrm>
            <a:custGeom>
              <a:avLst/>
              <a:gdLst>
                <a:gd name="connsiteX0" fmla="*/ 0 w 536448"/>
                <a:gd name="connsiteY0" fmla="*/ 159833 h 170687"/>
                <a:gd name="connsiteX1" fmla="*/ 554004 w 536448"/>
                <a:gd name="connsiteY1" fmla="*/ 44009 h 170687"/>
                <a:gd name="connsiteX2" fmla="*/ 0 w 536448"/>
                <a:gd name="connsiteY2" fmla="*/ 159833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6448" h="170687">
                  <a:moveTo>
                    <a:pt x="0" y="159833"/>
                  </a:moveTo>
                  <a:cubicBezTo>
                    <a:pt x="0" y="159833"/>
                    <a:pt x="504505" y="-101320"/>
                    <a:pt x="554004" y="44009"/>
                  </a:cubicBezTo>
                  <a:cubicBezTo>
                    <a:pt x="614721" y="223475"/>
                    <a:pt x="0" y="159833"/>
                    <a:pt x="0" y="15983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802BFF8-E76C-446A-ABCA-EF2F1FA6564D}"/>
                </a:ext>
              </a:extLst>
            </p:cNvPr>
            <p:cNvSpPr/>
            <p:nvPr/>
          </p:nvSpPr>
          <p:spPr>
            <a:xfrm>
              <a:off x="485973" y="1573051"/>
              <a:ext cx="609600" cy="341376"/>
            </a:xfrm>
            <a:custGeom>
              <a:avLst/>
              <a:gdLst>
                <a:gd name="connsiteX0" fmla="*/ 624962 w 609600"/>
                <a:gd name="connsiteY0" fmla="*/ 265542 h 341375"/>
                <a:gd name="connsiteX1" fmla="*/ 224089 w 609600"/>
                <a:gd name="connsiteY1" fmla="*/ 347716 h 341375"/>
                <a:gd name="connsiteX2" fmla="*/ 0 w 609600"/>
                <a:gd name="connsiteY2" fmla="*/ 0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341375">
                  <a:moveTo>
                    <a:pt x="624962" y="265542"/>
                  </a:moveTo>
                  <a:lnTo>
                    <a:pt x="224089" y="347716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C0F2BE2-A079-4D86-8847-21325865BC4E}"/>
                </a:ext>
              </a:extLst>
            </p:cNvPr>
            <p:cNvSpPr/>
            <p:nvPr/>
          </p:nvSpPr>
          <p:spPr>
            <a:xfrm>
              <a:off x="295290" y="1881021"/>
              <a:ext cx="707136" cy="365760"/>
            </a:xfrm>
            <a:custGeom>
              <a:avLst/>
              <a:gdLst>
                <a:gd name="connsiteX0" fmla="*/ 728838 w 707136"/>
                <a:gd name="connsiteY0" fmla="*/ 297241 h 365759"/>
                <a:gd name="connsiteX1" fmla="*/ 262128 w 707136"/>
                <a:gd name="connsiteY1" fmla="*/ 381853 h 365759"/>
                <a:gd name="connsiteX2" fmla="*/ 0 w 707136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7136" h="365759">
                  <a:moveTo>
                    <a:pt x="728838" y="297241"/>
                  </a:moveTo>
                  <a:lnTo>
                    <a:pt x="262128" y="381853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1234FE09-4B52-4D2A-B491-9360C32B6BDC}"/>
                </a:ext>
              </a:extLst>
            </p:cNvPr>
            <p:cNvSpPr/>
            <p:nvPr/>
          </p:nvSpPr>
          <p:spPr>
            <a:xfrm>
              <a:off x="125578" y="2238003"/>
              <a:ext cx="682752" cy="365760"/>
            </a:xfrm>
            <a:custGeom>
              <a:avLst/>
              <a:gdLst>
                <a:gd name="connsiteX0" fmla="*/ 698602 w 682752"/>
                <a:gd name="connsiteY0" fmla="*/ 328209 h 365759"/>
                <a:gd name="connsiteX1" fmla="*/ 260177 w 682752"/>
                <a:gd name="connsiteY1" fmla="*/ 375514 h 365759"/>
                <a:gd name="connsiteX2" fmla="*/ 0 w 682752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365759">
                  <a:moveTo>
                    <a:pt x="698602" y="328209"/>
                  </a:moveTo>
                  <a:lnTo>
                    <a:pt x="260177" y="375514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D0BCA38-7759-4F7E-97FC-F2938E8291C7}"/>
                </a:ext>
              </a:extLst>
            </p:cNvPr>
            <p:cNvSpPr/>
            <p:nvPr/>
          </p:nvSpPr>
          <p:spPr>
            <a:xfrm>
              <a:off x="16093" y="2777620"/>
              <a:ext cx="682752" cy="268224"/>
            </a:xfrm>
            <a:custGeom>
              <a:avLst/>
              <a:gdLst>
                <a:gd name="connsiteX0" fmla="*/ 691043 w 682752"/>
                <a:gd name="connsiteY0" fmla="*/ 131674 h 268223"/>
                <a:gd name="connsiteX1" fmla="*/ 157521 w 682752"/>
                <a:gd name="connsiteY1" fmla="*/ 286268 h 268223"/>
                <a:gd name="connsiteX2" fmla="*/ 0 w 682752"/>
                <a:gd name="connsiteY2" fmla="*/ 0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268223">
                  <a:moveTo>
                    <a:pt x="691043" y="131674"/>
                  </a:moveTo>
                  <a:lnTo>
                    <a:pt x="157521" y="286268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C3B1C37-22D9-4A34-BBB9-1B6003D209BC}"/>
                </a:ext>
              </a:extLst>
            </p:cNvPr>
            <p:cNvSpPr/>
            <p:nvPr/>
          </p:nvSpPr>
          <p:spPr>
            <a:xfrm>
              <a:off x="2573243" y="781059"/>
              <a:ext cx="3438144" cy="1463040"/>
            </a:xfrm>
            <a:custGeom>
              <a:avLst/>
              <a:gdLst>
                <a:gd name="connsiteX0" fmla="*/ 0 w 3438144"/>
                <a:gd name="connsiteY0" fmla="*/ 1480352 h 1463039"/>
                <a:gd name="connsiteX1" fmla="*/ 3443265 w 3438144"/>
                <a:gd name="connsiteY1" fmla="*/ 0 h 1463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8144" h="1463039">
                  <a:moveTo>
                    <a:pt x="0" y="1480352"/>
                  </a:moveTo>
                  <a:cubicBezTo>
                    <a:pt x="925861" y="611063"/>
                    <a:pt x="3397179" y="596189"/>
                    <a:pt x="3443265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A20314E8-2C41-4E96-B569-F28204586BD5}"/>
                </a:ext>
              </a:extLst>
            </p:cNvPr>
            <p:cNvSpPr/>
            <p:nvPr/>
          </p:nvSpPr>
          <p:spPr>
            <a:xfrm>
              <a:off x="4338889" y="814953"/>
              <a:ext cx="2365248" cy="1024128"/>
            </a:xfrm>
            <a:custGeom>
              <a:avLst/>
              <a:gdLst>
                <a:gd name="connsiteX0" fmla="*/ 0 w 2365248"/>
                <a:gd name="connsiteY0" fmla="*/ 1030224 h 1024127"/>
                <a:gd name="connsiteX1" fmla="*/ 2375246 w 2365248"/>
                <a:gd name="connsiteY1" fmla="*/ 0 h 102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65248" h="1024127">
                  <a:moveTo>
                    <a:pt x="0" y="1030224"/>
                  </a:moveTo>
                  <a:cubicBezTo>
                    <a:pt x="1150681" y="1014374"/>
                    <a:pt x="1727850" y="813206"/>
                    <a:pt x="2375246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59D1BFEC-B02C-422D-9117-3B35D766CFE2}"/>
                </a:ext>
              </a:extLst>
            </p:cNvPr>
            <p:cNvSpPr/>
            <p:nvPr/>
          </p:nvSpPr>
          <p:spPr>
            <a:xfrm>
              <a:off x="8535131" y="360923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3886 h 195071"/>
                <a:gd name="connsiteX2" fmla="*/ 198242 w 195072"/>
                <a:gd name="connsiteY2" fmla="*/ 98999 h 195071"/>
                <a:gd name="connsiteX3" fmla="*/ 134112 w 195072"/>
                <a:gd name="connsiteY3" fmla="*/ 134112 h 195071"/>
                <a:gd name="connsiteX4" fmla="*/ 98999 w 195072"/>
                <a:gd name="connsiteY4" fmla="*/ 198242 h 195071"/>
                <a:gd name="connsiteX5" fmla="*/ 64130 w 195072"/>
                <a:gd name="connsiteY5" fmla="*/ 134112 h 195071"/>
                <a:gd name="connsiteX6" fmla="*/ 0 w 195072"/>
                <a:gd name="connsiteY6" fmla="*/ 98999 h 195071"/>
                <a:gd name="connsiteX7" fmla="*/ 64130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3886"/>
                  </a:lnTo>
                  <a:lnTo>
                    <a:pt x="198242" y="98999"/>
                  </a:lnTo>
                  <a:lnTo>
                    <a:pt x="134112" y="134112"/>
                  </a:lnTo>
                  <a:lnTo>
                    <a:pt x="98999" y="198242"/>
                  </a:lnTo>
                  <a:lnTo>
                    <a:pt x="64130" y="134112"/>
                  </a:lnTo>
                  <a:lnTo>
                    <a:pt x="0" y="98999"/>
                  </a:lnTo>
                  <a:lnTo>
                    <a:pt x="64130" y="63886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59755722-B20C-4910-AD39-077AEA29EC00}"/>
                </a:ext>
              </a:extLst>
            </p:cNvPr>
            <p:cNvSpPr/>
            <p:nvPr/>
          </p:nvSpPr>
          <p:spPr>
            <a:xfrm>
              <a:off x="956097" y="9306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4130 h 195071"/>
                <a:gd name="connsiteX2" fmla="*/ 198242 w 195072"/>
                <a:gd name="connsiteY2" fmla="*/ 99243 h 195071"/>
                <a:gd name="connsiteX3" fmla="*/ 134112 w 195072"/>
                <a:gd name="connsiteY3" fmla="*/ 134356 h 195071"/>
                <a:gd name="connsiteX4" fmla="*/ 98999 w 195072"/>
                <a:gd name="connsiteY4" fmla="*/ 198242 h 195071"/>
                <a:gd name="connsiteX5" fmla="*/ 64130 w 195072"/>
                <a:gd name="connsiteY5" fmla="*/ 134356 h 195071"/>
                <a:gd name="connsiteX6" fmla="*/ 0 w 195072"/>
                <a:gd name="connsiteY6" fmla="*/ 99243 h 195071"/>
                <a:gd name="connsiteX7" fmla="*/ 64130 w 195072"/>
                <a:gd name="connsiteY7" fmla="*/ 64130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4130"/>
                  </a:lnTo>
                  <a:lnTo>
                    <a:pt x="198242" y="99243"/>
                  </a:lnTo>
                  <a:lnTo>
                    <a:pt x="134112" y="134356"/>
                  </a:lnTo>
                  <a:lnTo>
                    <a:pt x="98999" y="198242"/>
                  </a:lnTo>
                  <a:lnTo>
                    <a:pt x="64130" y="134356"/>
                  </a:lnTo>
                  <a:lnTo>
                    <a:pt x="0" y="99243"/>
                  </a:lnTo>
                  <a:lnTo>
                    <a:pt x="64130" y="64130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81D18C9-ECA0-4A34-B35D-BCEAA01DFDA7}"/>
                </a:ext>
              </a:extLst>
            </p:cNvPr>
            <p:cNvSpPr/>
            <p:nvPr/>
          </p:nvSpPr>
          <p:spPr>
            <a:xfrm>
              <a:off x="2900477" y="1127312"/>
              <a:ext cx="292608" cy="292608"/>
            </a:xfrm>
            <a:custGeom>
              <a:avLst/>
              <a:gdLst>
                <a:gd name="connsiteX0" fmla="*/ 150937 w 292608"/>
                <a:gd name="connsiteY0" fmla="*/ 0 h 292607"/>
                <a:gd name="connsiteX1" fmla="*/ 204338 w 292608"/>
                <a:gd name="connsiteY1" fmla="*/ 97780 h 292607"/>
                <a:gd name="connsiteX2" fmla="*/ 301874 w 292608"/>
                <a:gd name="connsiteY2" fmla="*/ 150937 h 292607"/>
                <a:gd name="connsiteX3" fmla="*/ 204338 w 292608"/>
                <a:gd name="connsiteY3" fmla="*/ 204338 h 292607"/>
                <a:gd name="connsiteX4" fmla="*/ 150937 w 292608"/>
                <a:gd name="connsiteY4" fmla="*/ 301874 h 292607"/>
                <a:gd name="connsiteX5" fmla="*/ 97536 w 292608"/>
                <a:gd name="connsiteY5" fmla="*/ 204338 h 292607"/>
                <a:gd name="connsiteX6" fmla="*/ 0 w 292608"/>
                <a:gd name="connsiteY6" fmla="*/ 150937 h 292607"/>
                <a:gd name="connsiteX7" fmla="*/ 97536 w 292608"/>
                <a:gd name="connsiteY7" fmla="*/ 97780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608" h="292607">
                  <a:moveTo>
                    <a:pt x="150937" y="0"/>
                  </a:moveTo>
                  <a:lnTo>
                    <a:pt x="204338" y="97780"/>
                  </a:lnTo>
                  <a:lnTo>
                    <a:pt x="301874" y="150937"/>
                  </a:lnTo>
                  <a:lnTo>
                    <a:pt x="204338" y="204338"/>
                  </a:lnTo>
                  <a:lnTo>
                    <a:pt x="150937" y="301874"/>
                  </a:lnTo>
                  <a:lnTo>
                    <a:pt x="97536" y="204338"/>
                  </a:lnTo>
                  <a:lnTo>
                    <a:pt x="0" y="150937"/>
                  </a:lnTo>
                  <a:lnTo>
                    <a:pt x="97536" y="97780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ABCB4FD1-9965-46F9-8916-6E8532F6B3C1}"/>
                </a:ext>
              </a:extLst>
            </p:cNvPr>
            <p:cNvSpPr/>
            <p:nvPr/>
          </p:nvSpPr>
          <p:spPr>
            <a:xfrm>
              <a:off x="6842882" y="1924425"/>
              <a:ext cx="195072" cy="195072"/>
            </a:xfrm>
            <a:custGeom>
              <a:avLst/>
              <a:gdLst>
                <a:gd name="connsiteX0" fmla="*/ 102169 w 195072"/>
                <a:gd name="connsiteY0" fmla="*/ 0 h 195071"/>
                <a:gd name="connsiteX1" fmla="*/ 138257 w 195072"/>
                <a:gd name="connsiteY1" fmla="*/ 66081 h 195071"/>
                <a:gd name="connsiteX2" fmla="*/ 204338 w 195072"/>
                <a:gd name="connsiteY2" fmla="*/ 102169 h 195071"/>
                <a:gd name="connsiteX3" fmla="*/ 138257 w 195072"/>
                <a:gd name="connsiteY3" fmla="*/ 138257 h 195071"/>
                <a:gd name="connsiteX4" fmla="*/ 102169 w 195072"/>
                <a:gd name="connsiteY4" fmla="*/ 204338 h 195071"/>
                <a:gd name="connsiteX5" fmla="*/ 66080 w 195072"/>
                <a:gd name="connsiteY5" fmla="*/ 138257 h 195071"/>
                <a:gd name="connsiteX6" fmla="*/ 0 w 195072"/>
                <a:gd name="connsiteY6" fmla="*/ 102169 h 195071"/>
                <a:gd name="connsiteX7" fmla="*/ 66080 w 195072"/>
                <a:gd name="connsiteY7" fmla="*/ 66081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102169" y="0"/>
                  </a:moveTo>
                  <a:lnTo>
                    <a:pt x="138257" y="66081"/>
                  </a:lnTo>
                  <a:lnTo>
                    <a:pt x="204338" y="102169"/>
                  </a:lnTo>
                  <a:lnTo>
                    <a:pt x="138257" y="138257"/>
                  </a:lnTo>
                  <a:lnTo>
                    <a:pt x="102169" y="204338"/>
                  </a:lnTo>
                  <a:lnTo>
                    <a:pt x="66080" y="138257"/>
                  </a:lnTo>
                  <a:lnTo>
                    <a:pt x="0" y="102169"/>
                  </a:lnTo>
                  <a:lnTo>
                    <a:pt x="66080" y="66081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94F8D03D-7B12-433F-9497-B6E4EA7E34CD}"/>
                </a:ext>
              </a:extLst>
            </p:cNvPr>
            <p:cNvSpPr/>
            <p:nvPr/>
          </p:nvSpPr>
          <p:spPr>
            <a:xfrm>
              <a:off x="4904354" y="207999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7 w 97536"/>
                <a:gd name="connsiteY1" fmla="*/ 31699 h 97535"/>
                <a:gd name="connsiteX2" fmla="*/ 97536 w 97536"/>
                <a:gd name="connsiteY2" fmla="*/ 48768 h 97535"/>
                <a:gd name="connsiteX3" fmla="*/ 65837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699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7" y="31699"/>
                  </a:lnTo>
                  <a:lnTo>
                    <a:pt x="97536" y="48768"/>
                  </a:lnTo>
                  <a:lnTo>
                    <a:pt x="65837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699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F28B539-DBDC-4BD5-89AF-27CA0D0C36AD}"/>
                </a:ext>
              </a:extLst>
            </p:cNvPr>
            <p:cNvSpPr/>
            <p:nvPr/>
          </p:nvSpPr>
          <p:spPr>
            <a:xfrm>
              <a:off x="8252765" y="-9164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6 w 97536"/>
                <a:gd name="connsiteY1" fmla="*/ 31455 h 97535"/>
                <a:gd name="connsiteX2" fmla="*/ 97536 w 97536"/>
                <a:gd name="connsiteY2" fmla="*/ 48768 h 97535"/>
                <a:gd name="connsiteX3" fmla="*/ 65836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6" y="31455"/>
                  </a:lnTo>
                  <a:lnTo>
                    <a:pt x="97536" y="48768"/>
                  </a:lnTo>
                  <a:lnTo>
                    <a:pt x="65836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455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90E6826-7FF2-42F0-B938-D9F0FE3F8F63}"/>
                </a:ext>
              </a:extLst>
            </p:cNvPr>
            <p:cNvSpPr/>
            <p:nvPr/>
          </p:nvSpPr>
          <p:spPr>
            <a:xfrm>
              <a:off x="4430817" y="559165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6080 w 97536"/>
                <a:gd name="connsiteY1" fmla="*/ 31455 h 97535"/>
                <a:gd name="connsiteX2" fmla="*/ 97536 w 97536"/>
                <a:gd name="connsiteY2" fmla="*/ 48768 h 97535"/>
                <a:gd name="connsiteX3" fmla="*/ 66080 w 97536"/>
                <a:gd name="connsiteY3" fmla="*/ 65837 h 97535"/>
                <a:gd name="connsiteX4" fmla="*/ 48768 w 97536"/>
                <a:gd name="connsiteY4" fmla="*/ 97536 h 97535"/>
                <a:gd name="connsiteX5" fmla="*/ 31699 w 97536"/>
                <a:gd name="connsiteY5" fmla="*/ 65837 h 97535"/>
                <a:gd name="connsiteX6" fmla="*/ 0 w 97536"/>
                <a:gd name="connsiteY6" fmla="*/ 48768 h 97535"/>
                <a:gd name="connsiteX7" fmla="*/ 31699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6080" y="31455"/>
                  </a:lnTo>
                  <a:lnTo>
                    <a:pt x="97536" y="48768"/>
                  </a:lnTo>
                  <a:lnTo>
                    <a:pt x="66080" y="65837"/>
                  </a:lnTo>
                  <a:lnTo>
                    <a:pt x="48768" y="97536"/>
                  </a:lnTo>
                  <a:lnTo>
                    <a:pt x="31699" y="65837"/>
                  </a:lnTo>
                  <a:lnTo>
                    <a:pt x="0" y="48768"/>
                  </a:lnTo>
                  <a:lnTo>
                    <a:pt x="31699" y="31455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74F0CF91-E4DF-49E9-9C4C-A886D7B959EA}"/>
                </a:ext>
              </a:extLst>
            </p:cNvPr>
            <p:cNvSpPr/>
            <p:nvPr/>
          </p:nvSpPr>
          <p:spPr>
            <a:xfrm>
              <a:off x="10607771" y="402132"/>
              <a:ext cx="195072" cy="195072"/>
            </a:xfrm>
            <a:custGeom>
              <a:avLst/>
              <a:gdLst>
                <a:gd name="connsiteX0" fmla="*/ 98755 w 195072"/>
                <a:gd name="connsiteY0" fmla="*/ 0 h 195071"/>
                <a:gd name="connsiteX1" fmla="*/ 133625 w 195072"/>
                <a:gd name="connsiteY1" fmla="*/ 63886 h 195071"/>
                <a:gd name="connsiteX2" fmla="*/ 197511 w 195072"/>
                <a:gd name="connsiteY2" fmla="*/ 98755 h 195071"/>
                <a:gd name="connsiteX3" fmla="*/ 133625 w 195072"/>
                <a:gd name="connsiteY3" fmla="*/ 133868 h 195071"/>
                <a:gd name="connsiteX4" fmla="*/ 98755 w 195072"/>
                <a:gd name="connsiteY4" fmla="*/ 197754 h 195071"/>
                <a:gd name="connsiteX5" fmla="*/ 63886 w 195072"/>
                <a:gd name="connsiteY5" fmla="*/ 133868 h 195071"/>
                <a:gd name="connsiteX6" fmla="*/ 0 w 195072"/>
                <a:gd name="connsiteY6" fmla="*/ 98755 h 195071"/>
                <a:gd name="connsiteX7" fmla="*/ 63886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755" y="0"/>
                  </a:moveTo>
                  <a:lnTo>
                    <a:pt x="133625" y="63886"/>
                  </a:lnTo>
                  <a:lnTo>
                    <a:pt x="197511" y="98755"/>
                  </a:lnTo>
                  <a:lnTo>
                    <a:pt x="133625" y="133868"/>
                  </a:lnTo>
                  <a:lnTo>
                    <a:pt x="98755" y="197754"/>
                  </a:lnTo>
                  <a:lnTo>
                    <a:pt x="63886" y="133868"/>
                  </a:lnTo>
                  <a:lnTo>
                    <a:pt x="0" y="98755"/>
                  </a:lnTo>
                  <a:lnTo>
                    <a:pt x="63886" y="63886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83F48F-DFCB-4F62-817C-DC39CB442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762" y="6453188"/>
            <a:ext cx="2743200" cy="268287"/>
          </a:xfrm>
        </p:spPr>
        <p:txBody>
          <a:bodyPr/>
          <a:lstStyle/>
          <a:p>
            <a:fld id="{E0BDCBD0-93B5-4B61-86F8-939F02C82BA8}" type="slidenum">
              <a:rPr lang="en-US" b="0" smtClean="0"/>
              <a:pPr/>
              <a:t>12</a:t>
            </a:fld>
            <a:endParaRPr lang="en-US" b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6DDCA62-0250-4BBC-9642-364177A6B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7497" y="164242"/>
            <a:ext cx="12192000" cy="1768851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латформа «</a:t>
            </a:r>
            <a:r>
              <a:rPr lang="ru-RU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ЯКласс</a:t>
            </a:r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E49967D6-5ACE-425B-802E-9CB2DDD8C28D}"/>
              </a:ext>
            </a:extLst>
          </p:cNvPr>
          <p:cNvGrpSpPr/>
          <p:nvPr/>
        </p:nvGrpSpPr>
        <p:grpSpPr>
          <a:xfrm rot="1328355">
            <a:off x="7542189" y="457667"/>
            <a:ext cx="227287" cy="227287"/>
            <a:chOff x="13389778" y="2334193"/>
            <a:chExt cx="351340" cy="351340"/>
          </a:xfrm>
        </p:grpSpPr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3F3D4A40-7EE3-4F55-8403-DE56E6D414B4}"/>
                </a:ext>
              </a:extLst>
            </p:cNvPr>
            <p:cNvSpPr/>
            <p:nvPr/>
          </p:nvSpPr>
          <p:spPr>
            <a:xfrm>
              <a:off x="13389778" y="2334193"/>
              <a:ext cx="351340" cy="351340"/>
            </a:xfrm>
            <a:custGeom>
              <a:avLst/>
              <a:gdLst>
                <a:gd name="connsiteX0" fmla="*/ 353529 w 351339"/>
                <a:gd name="connsiteY0" fmla="*/ 141219 h 351339"/>
                <a:gd name="connsiteX1" fmla="*/ 216339 w 351339"/>
                <a:gd name="connsiteY1" fmla="*/ 353529 h 351339"/>
                <a:gd name="connsiteX2" fmla="*/ 4030 w 351339"/>
                <a:gd name="connsiteY2" fmla="*/ 216339 h 351339"/>
                <a:gd name="connsiteX3" fmla="*/ 141219 w 351339"/>
                <a:gd name="connsiteY3" fmla="*/ 4030 h 351339"/>
                <a:gd name="connsiteX4" fmla="*/ 353529 w 351339"/>
                <a:gd name="connsiteY4" fmla="*/ 141219 h 351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339" h="351339">
                  <a:moveTo>
                    <a:pt x="353529" y="141219"/>
                  </a:moveTo>
                  <a:cubicBezTo>
                    <a:pt x="374275" y="237754"/>
                    <a:pt x="312874" y="332783"/>
                    <a:pt x="216339" y="353529"/>
                  </a:cubicBezTo>
                  <a:cubicBezTo>
                    <a:pt x="119804" y="374275"/>
                    <a:pt x="24775" y="312874"/>
                    <a:pt x="4030" y="216339"/>
                  </a:cubicBezTo>
                  <a:cubicBezTo>
                    <a:pt x="-16716" y="119804"/>
                    <a:pt x="44685" y="24775"/>
                    <a:pt x="141219" y="4030"/>
                  </a:cubicBezTo>
                  <a:cubicBezTo>
                    <a:pt x="237754" y="-16716"/>
                    <a:pt x="332783" y="44685"/>
                    <a:pt x="353529" y="141219"/>
                  </a:cubicBezTo>
                  <a:close/>
                </a:path>
              </a:pathLst>
            </a:custGeom>
            <a:solidFill>
              <a:srgbClr val="DB2828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F88D5018-2CD4-4C89-9DE0-421776886AC3}"/>
                </a:ext>
              </a:extLst>
            </p:cNvPr>
            <p:cNvSpPr/>
            <p:nvPr/>
          </p:nvSpPr>
          <p:spPr>
            <a:xfrm>
              <a:off x="13463556" y="2429170"/>
              <a:ext cx="200765" cy="184035"/>
            </a:xfrm>
            <a:custGeom>
              <a:avLst/>
              <a:gdLst>
                <a:gd name="connsiteX0" fmla="*/ 127002 w 200765"/>
                <a:gd name="connsiteY0" fmla="*/ 185607 h 184035"/>
                <a:gd name="connsiteX1" fmla="*/ 11896 w 200765"/>
                <a:gd name="connsiteY1" fmla="*/ 38379 h 184035"/>
                <a:gd name="connsiteX2" fmla="*/ 100233 w 200765"/>
                <a:gd name="connsiteY2" fmla="*/ 61132 h 184035"/>
                <a:gd name="connsiteX3" fmla="*/ 171505 w 200765"/>
                <a:gd name="connsiteY3" fmla="*/ 4081 h 184035"/>
                <a:gd name="connsiteX4" fmla="*/ 127002 w 200765"/>
                <a:gd name="connsiteY4" fmla="*/ 185607 h 18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65" h="184035">
                  <a:moveTo>
                    <a:pt x="127002" y="185607"/>
                  </a:moveTo>
                  <a:cubicBezTo>
                    <a:pt x="13569" y="162686"/>
                    <a:pt x="-21063" y="71840"/>
                    <a:pt x="11896" y="38379"/>
                  </a:cubicBezTo>
                  <a:cubicBezTo>
                    <a:pt x="56232" y="-6459"/>
                    <a:pt x="100233" y="61132"/>
                    <a:pt x="100233" y="61132"/>
                  </a:cubicBezTo>
                  <a:cubicBezTo>
                    <a:pt x="100233" y="61132"/>
                    <a:pt x="112613" y="-18672"/>
                    <a:pt x="171505" y="4081"/>
                  </a:cubicBezTo>
                  <a:cubicBezTo>
                    <a:pt x="215171" y="21146"/>
                    <a:pt x="221027" y="118016"/>
                    <a:pt x="127002" y="185607"/>
                  </a:cubicBezTo>
                  <a:close/>
                </a:path>
              </a:pathLst>
            </a:custGeom>
            <a:solidFill>
              <a:srgbClr val="FFFFFF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28" name="Rectangle: Rounded Corners 11">
            <a:extLst>
              <a:ext uri="{FF2B5EF4-FFF2-40B4-BE49-F238E27FC236}">
                <a16:creationId xmlns:a16="http://schemas.microsoft.com/office/drawing/2014/main" id="{84418A71-5AD4-47B3-8BB1-C10C92ED628D}"/>
              </a:ext>
            </a:extLst>
          </p:cNvPr>
          <p:cNvSpPr/>
          <p:nvPr/>
        </p:nvSpPr>
        <p:spPr>
          <a:xfrm>
            <a:off x="491553" y="2543139"/>
            <a:ext cx="5445919" cy="3600450"/>
          </a:xfrm>
          <a:prstGeom prst="roundRect">
            <a:avLst>
              <a:gd name="adj" fmla="val 1093"/>
            </a:avLst>
          </a:prstGeom>
          <a:solidFill>
            <a:schemeClr val="bg1"/>
          </a:solidFill>
          <a:ln>
            <a:noFill/>
          </a:ln>
          <a:effectLst>
            <a:outerShdw blurRad="368300" dist="609600" dir="5400000" sx="84000" sy="84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Rectangle: Rounded Corners 40">
            <a:extLst>
              <a:ext uri="{FF2B5EF4-FFF2-40B4-BE49-F238E27FC236}">
                <a16:creationId xmlns:a16="http://schemas.microsoft.com/office/drawing/2014/main" id="{B053AF66-986D-4A26-B077-D8D7D97772EF}"/>
              </a:ext>
            </a:extLst>
          </p:cNvPr>
          <p:cNvSpPr/>
          <p:nvPr/>
        </p:nvSpPr>
        <p:spPr>
          <a:xfrm>
            <a:off x="6285486" y="2543139"/>
            <a:ext cx="5445919" cy="3600450"/>
          </a:xfrm>
          <a:prstGeom prst="roundRect">
            <a:avLst>
              <a:gd name="adj" fmla="val 1093"/>
            </a:avLst>
          </a:prstGeom>
          <a:solidFill>
            <a:schemeClr val="bg1"/>
          </a:solidFill>
          <a:ln>
            <a:noFill/>
          </a:ln>
          <a:effectLst>
            <a:outerShdw blurRad="368300" dist="609600" dir="5400000" sx="84000" sy="84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1D64564-7ED6-4A6D-B7A0-C2BDB9FDD886}"/>
              </a:ext>
            </a:extLst>
          </p:cNvPr>
          <p:cNvSpPr txBox="1"/>
          <p:nvPr/>
        </p:nvSpPr>
        <p:spPr>
          <a:xfrm>
            <a:off x="6878225" y="5171980"/>
            <a:ext cx="46262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итель получает результаты учащихся в наглядном виде. Можно просматривать ответы учеников, исправлять ошибки и добавлять комментарии</a:t>
            </a:r>
            <a:b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к работе.</a:t>
            </a:r>
          </a:p>
        </p:txBody>
      </p:sp>
      <p:cxnSp>
        <p:nvCxnSpPr>
          <p:cNvPr id="134" name="Straight Connector 45">
            <a:extLst>
              <a:ext uri="{FF2B5EF4-FFF2-40B4-BE49-F238E27FC236}">
                <a16:creationId xmlns:a16="http://schemas.microsoft.com/office/drawing/2014/main" id="{2FC9294A-9F19-4F83-8623-0345DE9F3488}"/>
              </a:ext>
            </a:extLst>
          </p:cNvPr>
          <p:cNvCxnSpPr/>
          <p:nvPr/>
        </p:nvCxnSpPr>
        <p:spPr>
          <a:xfrm>
            <a:off x="6460508" y="5190511"/>
            <a:ext cx="509587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23">
            <a:extLst>
              <a:ext uri="{FF2B5EF4-FFF2-40B4-BE49-F238E27FC236}">
                <a16:creationId xmlns:a16="http://schemas.microsoft.com/office/drawing/2014/main" id="{9AA2EBFE-EA22-4D9C-9256-2ADCA3CEA1F2}"/>
              </a:ext>
            </a:extLst>
          </p:cNvPr>
          <p:cNvCxnSpPr/>
          <p:nvPr/>
        </p:nvCxnSpPr>
        <p:spPr>
          <a:xfrm>
            <a:off x="666575" y="5190511"/>
            <a:ext cx="509587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: Top Corners Rounded 129">
            <a:extLst>
              <a:ext uri="{FF2B5EF4-FFF2-40B4-BE49-F238E27FC236}">
                <a16:creationId xmlns:a16="http://schemas.microsoft.com/office/drawing/2014/main" id="{3E577135-9603-45D2-9E51-4F9BACC1EBF8}"/>
              </a:ext>
            </a:extLst>
          </p:cNvPr>
          <p:cNvSpPr/>
          <p:nvPr/>
        </p:nvSpPr>
        <p:spPr>
          <a:xfrm>
            <a:off x="490746" y="2189623"/>
            <a:ext cx="5446800" cy="493180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29487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разовательный онлайн-ресурс</a:t>
            </a:r>
            <a:endParaRPr lang="en-US" sz="1400" b="1" dirty="0">
              <a:solidFill>
                <a:srgbClr val="29487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1" name="Rectangle: Top Corners Rounded 130">
            <a:extLst>
              <a:ext uri="{FF2B5EF4-FFF2-40B4-BE49-F238E27FC236}">
                <a16:creationId xmlns:a16="http://schemas.microsoft.com/office/drawing/2014/main" id="{497DA5E6-BF39-4CDA-9AD8-1A036DFE8891}"/>
              </a:ext>
            </a:extLst>
          </p:cNvPr>
          <p:cNvSpPr/>
          <p:nvPr/>
        </p:nvSpPr>
        <p:spPr>
          <a:xfrm>
            <a:off x="6282561" y="2189623"/>
            <a:ext cx="5446888" cy="493180"/>
          </a:xfrm>
          <a:prstGeom prst="round2Same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29487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нлайн-проверка работ</a:t>
            </a:r>
          </a:p>
        </p:txBody>
      </p:sp>
      <p:grpSp>
        <p:nvGrpSpPr>
          <p:cNvPr id="151" name="Graphic 138">
            <a:extLst>
              <a:ext uri="{FF2B5EF4-FFF2-40B4-BE49-F238E27FC236}">
                <a16:creationId xmlns:a16="http://schemas.microsoft.com/office/drawing/2014/main" id="{B1B21B41-15BA-4B53-B16A-0DCDB25D1489}"/>
              </a:ext>
            </a:extLst>
          </p:cNvPr>
          <p:cNvGrpSpPr/>
          <p:nvPr/>
        </p:nvGrpSpPr>
        <p:grpSpPr>
          <a:xfrm>
            <a:off x="6405440" y="5423838"/>
            <a:ext cx="479456" cy="440581"/>
            <a:chOff x="6699681" y="5362755"/>
            <a:chExt cx="352425" cy="323850"/>
          </a:xfrm>
          <a:gradFill>
            <a:gsLst>
              <a:gs pos="14000">
                <a:srgbClr val="0165E2"/>
              </a:gs>
              <a:gs pos="100000">
                <a:srgbClr val="16A8FD"/>
              </a:gs>
            </a:gsLst>
            <a:lin ang="14400000" scaled="0"/>
          </a:gradFill>
        </p:grpSpPr>
        <p:sp>
          <p:nvSpPr>
            <p:cNvPr id="152" name="Freeform: Shape 140">
              <a:extLst>
                <a:ext uri="{FF2B5EF4-FFF2-40B4-BE49-F238E27FC236}">
                  <a16:creationId xmlns:a16="http://schemas.microsoft.com/office/drawing/2014/main" id="{CA61C1E2-7B9D-4565-B8DD-C7CC13EBA946}"/>
                </a:ext>
              </a:extLst>
            </p:cNvPr>
            <p:cNvSpPr/>
            <p:nvPr/>
          </p:nvSpPr>
          <p:spPr>
            <a:xfrm>
              <a:off x="6734352" y="5362755"/>
              <a:ext cx="152400" cy="152400"/>
            </a:xfrm>
            <a:custGeom>
              <a:avLst/>
              <a:gdLst>
                <a:gd name="connsiteX0" fmla="*/ 76581 w 152400"/>
                <a:gd name="connsiteY0" fmla="*/ 152876 h 152400"/>
                <a:gd name="connsiteX1" fmla="*/ 152972 w 152400"/>
                <a:gd name="connsiteY1" fmla="*/ 76486 h 152400"/>
                <a:gd name="connsiteX2" fmla="*/ 76581 w 152400"/>
                <a:gd name="connsiteY2" fmla="*/ 0 h 152400"/>
                <a:gd name="connsiteX3" fmla="*/ 0 w 152400"/>
                <a:gd name="connsiteY3" fmla="*/ 76486 h 152400"/>
                <a:gd name="connsiteX4" fmla="*/ 76581 w 152400"/>
                <a:gd name="connsiteY4" fmla="*/ 152876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76581" y="152876"/>
                  </a:moveTo>
                  <a:cubicBezTo>
                    <a:pt x="118872" y="152876"/>
                    <a:pt x="152972" y="118682"/>
                    <a:pt x="152972" y="76486"/>
                  </a:cubicBezTo>
                  <a:cubicBezTo>
                    <a:pt x="152972" y="34195"/>
                    <a:pt x="118872" y="0"/>
                    <a:pt x="76581" y="0"/>
                  </a:cubicBezTo>
                  <a:cubicBezTo>
                    <a:pt x="34195" y="0"/>
                    <a:pt x="0" y="34195"/>
                    <a:pt x="0" y="76486"/>
                  </a:cubicBezTo>
                  <a:cubicBezTo>
                    <a:pt x="0" y="118682"/>
                    <a:pt x="34195" y="152876"/>
                    <a:pt x="76581" y="1528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3" name="Freeform: Shape 141">
              <a:extLst>
                <a:ext uri="{FF2B5EF4-FFF2-40B4-BE49-F238E27FC236}">
                  <a16:creationId xmlns:a16="http://schemas.microsoft.com/office/drawing/2014/main" id="{26B9D990-9580-44DD-9A28-B7271253BFA6}"/>
                </a:ext>
              </a:extLst>
            </p:cNvPr>
            <p:cNvSpPr/>
            <p:nvPr/>
          </p:nvSpPr>
          <p:spPr>
            <a:xfrm>
              <a:off x="6699681" y="5533538"/>
              <a:ext cx="219075" cy="152400"/>
            </a:xfrm>
            <a:custGeom>
              <a:avLst/>
              <a:gdLst>
                <a:gd name="connsiteX0" fmla="*/ 111252 w 219075"/>
                <a:gd name="connsiteY0" fmla="*/ 0 h 152400"/>
                <a:gd name="connsiteX1" fmla="*/ 0 w 219075"/>
                <a:gd name="connsiteY1" fmla="*/ 96869 h 152400"/>
                <a:gd name="connsiteX2" fmla="*/ 111252 w 219075"/>
                <a:gd name="connsiteY2" fmla="*/ 152972 h 152400"/>
                <a:gd name="connsiteX3" fmla="*/ 222409 w 219075"/>
                <a:gd name="connsiteY3" fmla="*/ 96869 h 152400"/>
                <a:gd name="connsiteX4" fmla="*/ 111252 w 219075"/>
                <a:gd name="connsiteY4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5" h="152400">
                  <a:moveTo>
                    <a:pt x="111252" y="0"/>
                  </a:moveTo>
                  <a:cubicBezTo>
                    <a:pt x="49816" y="0"/>
                    <a:pt x="0" y="54578"/>
                    <a:pt x="0" y="96869"/>
                  </a:cubicBezTo>
                  <a:cubicBezTo>
                    <a:pt x="0" y="139065"/>
                    <a:pt x="49816" y="152972"/>
                    <a:pt x="111252" y="152972"/>
                  </a:cubicBezTo>
                  <a:cubicBezTo>
                    <a:pt x="172688" y="152972"/>
                    <a:pt x="222409" y="139065"/>
                    <a:pt x="222409" y="96869"/>
                  </a:cubicBezTo>
                  <a:cubicBezTo>
                    <a:pt x="222409" y="54578"/>
                    <a:pt x="172593" y="0"/>
                    <a:pt x="11125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7" name="Freeform: Shape 142">
              <a:extLst>
                <a:ext uri="{FF2B5EF4-FFF2-40B4-BE49-F238E27FC236}">
                  <a16:creationId xmlns:a16="http://schemas.microsoft.com/office/drawing/2014/main" id="{2C8456F4-816F-4CF0-A2A0-A494434B88A4}"/>
                </a:ext>
              </a:extLst>
            </p:cNvPr>
            <p:cNvSpPr/>
            <p:nvPr/>
          </p:nvSpPr>
          <p:spPr>
            <a:xfrm>
              <a:off x="6900944" y="5531824"/>
              <a:ext cx="142875" cy="114300"/>
            </a:xfrm>
            <a:custGeom>
              <a:avLst/>
              <a:gdLst>
                <a:gd name="connsiteX0" fmla="*/ 59150 w 142875"/>
                <a:gd name="connsiteY0" fmla="*/ 0 h 114300"/>
                <a:gd name="connsiteX1" fmla="*/ 0 w 142875"/>
                <a:gd name="connsiteY1" fmla="*/ 23051 h 114300"/>
                <a:gd name="connsiteX2" fmla="*/ 42291 w 142875"/>
                <a:gd name="connsiteY2" fmla="*/ 102489 h 114300"/>
                <a:gd name="connsiteX3" fmla="*/ 38386 w 142875"/>
                <a:gd name="connsiteY3" fmla="*/ 122206 h 114300"/>
                <a:gd name="connsiteX4" fmla="*/ 59246 w 142875"/>
                <a:gd name="connsiteY4" fmla="*/ 123063 h 114300"/>
                <a:gd name="connsiteX5" fmla="*/ 148781 w 142875"/>
                <a:gd name="connsiteY5" fmla="*/ 77819 h 114300"/>
                <a:gd name="connsiteX6" fmla="*/ 59150 w 142875"/>
                <a:gd name="connsiteY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" h="114300">
                  <a:moveTo>
                    <a:pt x="59150" y="0"/>
                  </a:moveTo>
                  <a:cubicBezTo>
                    <a:pt x="36290" y="0"/>
                    <a:pt x="15621" y="9525"/>
                    <a:pt x="0" y="23051"/>
                  </a:cubicBezTo>
                  <a:cubicBezTo>
                    <a:pt x="25908" y="46006"/>
                    <a:pt x="42291" y="76105"/>
                    <a:pt x="42291" y="102489"/>
                  </a:cubicBezTo>
                  <a:cubicBezTo>
                    <a:pt x="42291" y="109823"/>
                    <a:pt x="40767" y="116205"/>
                    <a:pt x="38386" y="122206"/>
                  </a:cubicBezTo>
                  <a:cubicBezTo>
                    <a:pt x="45053" y="122682"/>
                    <a:pt x="52007" y="123063"/>
                    <a:pt x="59246" y="123063"/>
                  </a:cubicBezTo>
                  <a:cubicBezTo>
                    <a:pt x="108680" y="123063"/>
                    <a:pt x="148781" y="111919"/>
                    <a:pt x="148781" y="77819"/>
                  </a:cubicBezTo>
                  <a:cubicBezTo>
                    <a:pt x="148685" y="43910"/>
                    <a:pt x="108680" y="0"/>
                    <a:pt x="5915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8" name="Freeform: Shape 143">
              <a:extLst>
                <a:ext uri="{FF2B5EF4-FFF2-40B4-BE49-F238E27FC236}">
                  <a16:creationId xmlns:a16="http://schemas.microsoft.com/office/drawing/2014/main" id="{B3662479-5407-442F-BE5F-B2AD53AABD08}"/>
                </a:ext>
              </a:extLst>
            </p:cNvPr>
            <p:cNvSpPr/>
            <p:nvPr/>
          </p:nvSpPr>
          <p:spPr>
            <a:xfrm>
              <a:off x="6898658" y="5394378"/>
              <a:ext cx="114300" cy="114300"/>
            </a:xfrm>
            <a:custGeom>
              <a:avLst/>
              <a:gdLst>
                <a:gd name="connsiteX0" fmla="*/ 61436 w 114300"/>
                <a:gd name="connsiteY0" fmla="*/ 123063 h 114300"/>
                <a:gd name="connsiteX1" fmla="*/ 122968 w 114300"/>
                <a:gd name="connsiteY1" fmla="*/ 61532 h 114300"/>
                <a:gd name="connsiteX2" fmla="*/ 61436 w 114300"/>
                <a:gd name="connsiteY2" fmla="*/ 0 h 114300"/>
                <a:gd name="connsiteX3" fmla="*/ 0 w 114300"/>
                <a:gd name="connsiteY3" fmla="*/ 61532 h 114300"/>
                <a:gd name="connsiteX4" fmla="*/ 61436 w 114300"/>
                <a:gd name="connsiteY4" fmla="*/ 12306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61436" y="123063"/>
                  </a:moveTo>
                  <a:cubicBezTo>
                    <a:pt x="95345" y="123063"/>
                    <a:pt x="122968" y="95631"/>
                    <a:pt x="122968" y="61532"/>
                  </a:cubicBezTo>
                  <a:cubicBezTo>
                    <a:pt x="122968" y="27432"/>
                    <a:pt x="95345" y="0"/>
                    <a:pt x="61436" y="0"/>
                  </a:cubicBezTo>
                  <a:cubicBezTo>
                    <a:pt x="27527" y="0"/>
                    <a:pt x="0" y="27432"/>
                    <a:pt x="0" y="61532"/>
                  </a:cubicBezTo>
                  <a:cubicBezTo>
                    <a:pt x="0" y="95631"/>
                    <a:pt x="27527" y="123063"/>
                    <a:pt x="61436" y="123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4E28FE39-72DF-4DA2-9841-C2ACAEA79287}"/>
              </a:ext>
            </a:extLst>
          </p:cNvPr>
          <p:cNvSpPr txBox="1"/>
          <p:nvPr/>
        </p:nvSpPr>
        <p:spPr>
          <a:xfrm>
            <a:off x="1072268" y="5191779"/>
            <a:ext cx="46262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Ресурс содержит теоретический материал по предмету русский язык, а также задания для домашних, проверочных и контрольных работ, ВПР и подготовки к ЕГЭ.</a:t>
            </a:r>
          </a:p>
        </p:txBody>
      </p:sp>
      <p:grpSp>
        <p:nvGrpSpPr>
          <p:cNvPr id="163" name="Graphic 138">
            <a:extLst>
              <a:ext uri="{FF2B5EF4-FFF2-40B4-BE49-F238E27FC236}">
                <a16:creationId xmlns:a16="http://schemas.microsoft.com/office/drawing/2014/main" id="{2B1E7FBF-72EF-4F52-A8A3-C08E20557319}"/>
              </a:ext>
            </a:extLst>
          </p:cNvPr>
          <p:cNvGrpSpPr/>
          <p:nvPr/>
        </p:nvGrpSpPr>
        <p:grpSpPr>
          <a:xfrm>
            <a:off x="621289" y="5402067"/>
            <a:ext cx="479456" cy="440581"/>
            <a:chOff x="6699681" y="5362755"/>
            <a:chExt cx="352425" cy="323850"/>
          </a:xfrm>
          <a:gradFill>
            <a:gsLst>
              <a:gs pos="14000">
                <a:srgbClr val="0165E2"/>
              </a:gs>
              <a:gs pos="100000">
                <a:srgbClr val="16A8FD"/>
              </a:gs>
            </a:gsLst>
            <a:lin ang="14400000" scaled="0"/>
          </a:gradFill>
        </p:grpSpPr>
        <p:sp>
          <p:nvSpPr>
            <p:cNvPr id="164" name="Freeform: Shape 140">
              <a:extLst>
                <a:ext uri="{FF2B5EF4-FFF2-40B4-BE49-F238E27FC236}">
                  <a16:creationId xmlns:a16="http://schemas.microsoft.com/office/drawing/2014/main" id="{09BE3758-01CF-4CAD-A81B-50F59E03DDF2}"/>
                </a:ext>
              </a:extLst>
            </p:cNvPr>
            <p:cNvSpPr/>
            <p:nvPr/>
          </p:nvSpPr>
          <p:spPr>
            <a:xfrm>
              <a:off x="6734352" y="5362755"/>
              <a:ext cx="152400" cy="152400"/>
            </a:xfrm>
            <a:custGeom>
              <a:avLst/>
              <a:gdLst>
                <a:gd name="connsiteX0" fmla="*/ 76581 w 152400"/>
                <a:gd name="connsiteY0" fmla="*/ 152876 h 152400"/>
                <a:gd name="connsiteX1" fmla="*/ 152972 w 152400"/>
                <a:gd name="connsiteY1" fmla="*/ 76486 h 152400"/>
                <a:gd name="connsiteX2" fmla="*/ 76581 w 152400"/>
                <a:gd name="connsiteY2" fmla="*/ 0 h 152400"/>
                <a:gd name="connsiteX3" fmla="*/ 0 w 152400"/>
                <a:gd name="connsiteY3" fmla="*/ 76486 h 152400"/>
                <a:gd name="connsiteX4" fmla="*/ 76581 w 152400"/>
                <a:gd name="connsiteY4" fmla="*/ 152876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76581" y="152876"/>
                  </a:moveTo>
                  <a:cubicBezTo>
                    <a:pt x="118872" y="152876"/>
                    <a:pt x="152972" y="118682"/>
                    <a:pt x="152972" y="76486"/>
                  </a:cubicBezTo>
                  <a:cubicBezTo>
                    <a:pt x="152972" y="34195"/>
                    <a:pt x="118872" y="0"/>
                    <a:pt x="76581" y="0"/>
                  </a:cubicBezTo>
                  <a:cubicBezTo>
                    <a:pt x="34195" y="0"/>
                    <a:pt x="0" y="34195"/>
                    <a:pt x="0" y="76486"/>
                  </a:cubicBezTo>
                  <a:cubicBezTo>
                    <a:pt x="0" y="118682"/>
                    <a:pt x="34195" y="152876"/>
                    <a:pt x="76581" y="1528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5" name="Freeform: Shape 141">
              <a:extLst>
                <a:ext uri="{FF2B5EF4-FFF2-40B4-BE49-F238E27FC236}">
                  <a16:creationId xmlns:a16="http://schemas.microsoft.com/office/drawing/2014/main" id="{72831750-17A9-4F4B-AF3F-41B2906B7818}"/>
                </a:ext>
              </a:extLst>
            </p:cNvPr>
            <p:cNvSpPr/>
            <p:nvPr/>
          </p:nvSpPr>
          <p:spPr>
            <a:xfrm>
              <a:off x="6699681" y="5533538"/>
              <a:ext cx="219075" cy="152400"/>
            </a:xfrm>
            <a:custGeom>
              <a:avLst/>
              <a:gdLst>
                <a:gd name="connsiteX0" fmla="*/ 111252 w 219075"/>
                <a:gd name="connsiteY0" fmla="*/ 0 h 152400"/>
                <a:gd name="connsiteX1" fmla="*/ 0 w 219075"/>
                <a:gd name="connsiteY1" fmla="*/ 96869 h 152400"/>
                <a:gd name="connsiteX2" fmla="*/ 111252 w 219075"/>
                <a:gd name="connsiteY2" fmla="*/ 152972 h 152400"/>
                <a:gd name="connsiteX3" fmla="*/ 222409 w 219075"/>
                <a:gd name="connsiteY3" fmla="*/ 96869 h 152400"/>
                <a:gd name="connsiteX4" fmla="*/ 111252 w 219075"/>
                <a:gd name="connsiteY4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9075" h="152400">
                  <a:moveTo>
                    <a:pt x="111252" y="0"/>
                  </a:moveTo>
                  <a:cubicBezTo>
                    <a:pt x="49816" y="0"/>
                    <a:pt x="0" y="54578"/>
                    <a:pt x="0" y="96869"/>
                  </a:cubicBezTo>
                  <a:cubicBezTo>
                    <a:pt x="0" y="139065"/>
                    <a:pt x="49816" y="152972"/>
                    <a:pt x="111252" y="152972"/>
                  </a:cubicBezTo>
                  <a:cubicBezTo>
                    <a:pt x="172688" y="152972"/>
                    <a:pt x="222409" y="139065"/>
                    <a:pt x="222409" y="96869"/>
                  </a:cubicBezTo>
                  <a:cubicBezTo>
                    <a:pt x="222409" y="54578"/>
                    <a:pt x="172593" y="0"/>
                    <a:pt x="11125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6" name="Freeform: Shape 142">
              <a:extLst>
                <a:ext uri="{FF2B5EF4-FFF2-40B4-BE49-F238E27FC236}">
                  <a16:creationId xmlns:a16="http://schemas.microsoft.com/office/drawing/2014/main" id="{7B81A0B0-9E8E-4C26-A38A-5D6066D557EE}"/>
                </a:ext>
              </a:extLst>
            </p:cNvPr>
            <p:cNvSpPr/>
            <p:nvPr/>
          </p:nvSpPr>
          <p:spPr>
            <a:xfrm>
              <a:off x="6900944" y="5531824"/>
              <a:ext cx="142875" cy="114300"/>
            </a:xfrm>
            <a:custGeom>
              <a:avLst/>
              <a:gdLst>
                <a:gd name="connsiteX0" fmla="*/ 59150 w 142875"/>
                <a:gd name="connsiteY0" fmla="*/ 0 h 114300"/>
                <a:gd name="connsiteX1" fmla="*/ 0 w 142875"/>
                <a:gd name="connsiteY1" fmla="*/ 23051 h 114300"/>
                <a:gd name="connsiteX2" fmla="*/ 42291 w 142875"/>
                <a:gd name="connsiteY2" fmla="*/ 102489 h 114300"/>
                <a:gd name="connsiteX3" fmla="*/ 38386 w 142875"/>
                <a:gd name="connsiteY3" fmla="*/ 122206 h 114300"/>
                <a:gd name="connsiteX4" fmla="*/ 59246 w 142875"/>
                <a:gd name="connsiteY4" fmla="*/ 123063 h 114300"/>
                <a:gd name="connsiteX5" fmla="*/ 148781 w 142875"/>
                <a:gd name="connsiteY5" fmla="*/ 77819 h 114300"/>
                <a:gd name="connsiteX6" fmla="*/ 59150 w 142875"/>
                <a:gd name="connsiteY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" h="114300">
                  <a:moveTo>
                    <a:pt x="59150" y="0"/>
                  </a:moveTo>
                  <a:cubicBezTo>
                    <a:pt x="36290" y="0"/>
                    <a:pt x="15621" y="9525"/>
                    <a:pt x="0" y="23051"/>
                  </a:cubicBezTo>
                  <a:cubicBezTo>
                    <a:pt x="25908" y="46006"/>
                    <a:pt x="42291" y="76105"/>
                    <a:pt x="42291" y="102489"/>
                  </a:cubicBezTo>
                  <a:cubicBezTo>
                    <a:pt x="42291" y="109823"/>
                    <a:pt x="40767" y="116205"/>
                    <a:pt x="38386" y="122206"/>
                  </a:cubicBezTo>
                  <a:cubicBezTo>
                    <a:pt x="45053" y="122682"/>
                    <a:pt x="52007" y="123063"/>
                    <a:pt x="59246" y="123063"/>
                  </a:cubicBezTo>
                  <a:cubicBezTo>
                    <a:pt x="108680" y="123063"/>
                    <a:pt x="148781" y="111919"/>
                    <a:pt x="148781" y="77819"/>
                  </a:cubicBezTo>
                  <a:cubicBezTo>
                    <a:pt x="148685" y="43910"/>
                    <a:pt x="108680" y="0"/>
                    <a:pt x="5915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7" name="Freeform: Shape 143">
              <a:extLst>
                <a:ext uri="{FF2B5EF4-FFF2-40B4-BE49-F238E27FC236}">
                  <a16:creationId xmlns:a16="http://schemas.microsoft.com/office/drawing/2014/main" id="{272EE625-11ED-4CC4-B1BE-EDAD84BF43EA}"/>
                </a:ext>
              </a:extLst>
            </p:cNvPr>
            <p:cNvSpPr/>
            <p:nvPr/>
          </p:nvSpPr>
          <p:spPr>
            <a:xfrm>
              <a:off x="6898658" y="5394378"/>
              <a:ext cx="114300" cy="114300"/>
            </a:xfrm>
            <a:custGeom>
              <a:avLst/>
              <a:gdLst>
                <a:gd name="connsiteX0" fmla="*/ 61436 w 114300"/>
                <a:gd name="connsiteY0" fmla="*/ 123063 h 114300"/>
                <a:gd name="connsiteX1" fmla="*/ 122968 w 114300"/>
                <a:gd name="connsiteY1" fmla="*/ 61532 h 114300"/>
                <a:gd name="connsiteX2" fmla="*/ 61436 w 114300"/>
                <a:gd name="connsiteY2" fmla="*/ 0 h 114300"/>
                <a:gd name="connsiteX3" fmla="*/ 0 w 114300"/>
                <a:gd name="connsiteY3" fmla="*/ 61532 h 114300"/>
                <a:gd name="connsiteX4" fmla="*/ 61436 w 114300"/>
                <a:gd name="connsiteY4" fmla="*/ 123063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61436" y="123063"/>
                  </a:moveTo>
                  <a:cubicBezTo>
                    <a:pt x="95345" y="123063"/>
                    <a:pt x="122968" y="95631"/>
                    <a:pt x="122968" y="61532"/>
                  </a:cubicBezTo>
                  <a:cubicBezTo>
                    <a:pt x="122968" y="27432"/>
                    <a:pt x="95345" y="0"/>
                    <a:pt x="61436" y="0"/>
                  </a:cubicBezTo>
                  <a:cubicBezTo>
                    <a:pt x="27527" y="0"/>
                    <a:pt x="0" y="27432"/>
                    <a:pt x="0" y="61532"/>
                  </a:cubicBezTo>
                  <a:cubicBezTo>
                    <a:pt x="0" y="95631"/>
                    <a:pt x="27527" y="123063"/>
                    <a:pt x="61436" y="1230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28FCAFA-B29E-4495-94F3-401D2F9D86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807" y="2886691"/>
            <a:ext cx="4901732" cy="2129172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D93AF7B-AB26-454F-8926-6F702490ED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7935" y="2887727"/>
            <a:ext cx="4934831" cy="2125419"/>
          </a:xfrm>
          <a:prstGeom prst="rect">
            <a:avLst/>
          </a:prstGeom>
          <a:ln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17198915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73A7CE6-7D49-49E8-8BA4-1D8C83EC7131}"/>
              </a:ext>
            </a:extLst>
          </p:cNvPr>
          <p:cNvSpPr/>
          <p:nvPr/>
        </p:nvSpPr>
        <p:spPr>
          <a:xfrm>
            <a:off x="0" y="0"/>
            <a:ext cx="4880008" cy="6858000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9A6E10-591C-4B02-82AA-479EF78F6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63" y="347617"/>
            <a:ext cx="3906202" cy="678656"/>
          </a:xfrm>
        </p:spPr>
        <p:txBody>
          <a:bodyPr>
            <a:noAutofit/>
          </a:bodyPr>
          <a:lstStyle/>
          <a:p>
            <a:r>
              <a:rPr lang="ru-RU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ЯКласс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4220CCB-3AB9-4239-8B38-3DA9A8554954}"/>
              </a:ext>
            </a:extLst>
          </p:cNvPr>
          <p:cNvSpPr/>
          <p:nvPr/>
        </p:nvSpPr>
        <p:spPr>
          <a:xfrm>
            <a:off x="0" y="2604282"/>
            <a:ext cx="3754392" cy="4253718"/>
          </a:xfrm>
          <a:custGeom>
            <a:avLst/>
            <a:gdLst>
              <a:gd name="connsiteX0" fmla="*/ 0 w 3754392"/>
              <a:gd name="connsiteY0" fmla="*/ 0 h 4231726"/>
              <a:gd name="connsiteX1" fmla="*/ 72692 w 3754392"/>
              <a:gd name="connsiteY1" fmla="*/ 1838 h 4231726"/>
              <a:gd name="connsiteX2" fmla="*/ 3754392 w 3754392"/>
              <a:gd name="connsiteY2" fmla="*/ 3878225 h 4231726"/>
              <a:gd name="connsiteX3" fmla="*/ 3749341 w 3754392"/>
              <a:gd name="connsiteY3" fmla="*/ 4077963 h 4231726"/>
              <a:gd name="connsiteX4" fmla="*/ 3737650 w 3754392"/>
              <a:gd name="connsiteY4" fmla="*/ 4231726 h 4231726"/>
              <a:gd name="connsiteX5" fmla="*/ 0 w 3754392"/>
              <a:gd name="connsiteY5" fmla="*/ 4231726 h 4231726"/>
              <a:gd name="connsiteX6" fmla="*/ 0 w 3754392"/>
              <a:gd name="connsiteY6" fmla="*/ 0 h 4231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54392" h="4231726">
                <a:moveTo>
                  <a:pt x="0" y="0"/>
                </a:moveTo>
                <a:lnTo>
                  <a:pt x="72692" y="1838"/>
                </a:lnTo>
                <a:cubicBezTo>
                  <a:pt x="2123527" y="105794"/>
                  <a:pt x="3754392" y="1801555"/>
                  <a:pt x="3754392" y="3878225"/>
                </a:cubicBezTo>
                <a:cubicBezTo>
                  <a:pt x="3754392" y="3945214"/>
                  <a:pt x="3752695" y="4011807"/>
                  <a:pt x="3749341" y="4077963"/>
                </a:cubicBezTo>
                <a:lnTo>
                  <a:pt x="3737650" y="4231726"/>
                </a:lnTo>
                <a:lnTo>
                  <a:pt x="0" y="4231726"/>
                </a:lnTo>
                <a:lnTo>
                  <a:pt x="0" y="0"/>
                </a:lnTo>
                <a:close/>
              </a:path>
            </a:pathLst>
          </a:custGeom>
          <a:solidFill>
            <a:srgbClr val="2948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EEDB7BB-67BF-4F13-83AE-4F0395387D6B}"/>
              </a:ext>
            </a:extLst>
          </p:cNvPr>
          <p:cNvGrpSpPr/>
          <p:nvPr/>
        </p:nvGrpSpPr>
        <p:grpSpPr>
          <a:xfrm rot="1758132">
            <a:off x="3203491" y="2477768"/>
            <a:ext cx="649522" cy="574314"/>
            <a:chOff x="2191671" y="3790700"/>
            <a:chExt cx="904875" cy="8001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9ED76D1-DA3C-4272-A9B6-69392D513E9D}"/>
                </a:ext>
              </a:extLst>
            </p:cNvPr>
            <p:cNvSpPr/>
            <p:nvPr/>
          </p:nvSpPr>
          <p:spPr>
            <a:xfrm>
              <a:off x="2191671" y="3790700"/>
              <a:ext cx="904875" cy="800100"/>
            </a:xfrm>
            <a:custGeom>
              <a:avLst/>
              <a:gdLst>
                <a:gd name="connsiteX0" fmla="*/ 793807 w 904875"/>
                <a:gd name="connsiteY0" fmla="*/ 94576 h 800100"/>
                <a:gd name="connsiteX1" fmla="*/ 212305 w 904875"/>
                <a:gd name="connsiteY1" fmla="*/ 1708 h 800100"/>
                <a:gd name="connsiteX2" fmla="*/ 58858 w 904875"/>
                <a:gd name="connsiteY2" fmla="*/ 112864 h 800100"/>
                <a:gd name="connsiteX3" fmla="*/ 1708 w 904875"/>
                <a:gd name="connsiteY3" fmla="*/ 470623 h 800100"/>
                <a:gd name="connsiteX4" fmla="*/ 112864 w 904875"/>
                <a:gd name="connsiteY4" fmla="*/ 624071 h 800100"/>
                <a:gd name="connsiteX5" fmla="*/ 317938 w 904875"/>
                <a:gd name="connsiteY5" fmla="*/ 656837 h 800100"/>
                <a:gd name="connsiteX6" fmla="*/ 359657 w 904875"/>
                <a:gd name="connsiteY6" fmla="*/ 778662 h 800100"/>
                <a:gd name="connsiteX7" fmla="*/ 428237 w 904875"/>
                <a:gd name="connsiteY7" fmla="*/ 788282 h 800100"/>
                <a:gd name="connsiteX8" fmla="*/ 499770 w 904875"/>
                <a:gd name="connsiteY8" fmla="*/ 685888 h 800100"/>
                <a:gd name="connsiteX9" fmla="*/ 694366 w 904875"/>
                <a:gd name="connsiteY9" fmla="*/ 716940 h 800100"/>
                <a:gd name="connsiteX10" fmla="*/ 847813 w 904875"/>
                <a:gd name="connsiteY10" fmla="*/ 605783 h 800100"/>
                <a:gd name="connsiteX11" fmla="*/ 904963 w 904875"/>
                <a:gd name="connsiteY11" fmla="*/ 248024 h 800100"/>
                <a:gd name="connsiteX12" fmla="*/ 793807 w 904875"/>
                <a:gd name="connsiteY12" fmla="*/ 94576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4875" h="800100">
                  <a:moveTo>
                    <a:pt x="793807" y="94576"/>
                  </a:moveTo>
                  <a:lnTo>
                    <a:pt x="212305" y="1708"/>
                  </a:lnTo>
                  <a:cubicBezTo>
                    <a:pt x="139249" y="-10008"/>
                    <a:pt x="70573" y="39808"/>
                    <a:pt x="58858" y="112864"/>
                  </a:cubicBezTo>
                  <a:lnTo>
                    <a:pt x="1708" y="470623"/>
                  </a:lnTo>
                  <a:cubicBezTo>
                    <a:pt x="-10008" y="543680"/>
                    <a:pt x="39808" y="612355"/>
                    <a:pt x="112864" y="624071"/>
                  </a:cubicBezTo>
                  <a:lnTo>
                    <a:pt x="317938" y="656837"/>
                  </a:lnTo>
                  <a:lnTo>
                    <a:pt x="359657" y="778662"/>
                  </a:lnTo>
                  <a:cubicBezTo>
                    <a:pt x="369944" y="808761"/>
                    <a:pt x="410044" y="814381"/>
                    <a:pt x="428237" y="788282"/>
                  </a:cubicBezTo>
                  <a:lnTo>
                    <a:pt x="499770" y="685888"/>
                  </a:lnTo>
                  <a:lnTo>
                    <a:pt x="694366" y="716940"/>
                  </a:lnTo>
                  <a:cubicBezTo>
                    <a:pt x="767422" y="728560"/>
                    <a:pt x="836098" y="678840"/>
                    <a:pt x="847813" y="605783"/>
                  </a:cubicBezTo>
                  <a:lnTo>
                    <a:pt x="904963" y="248024"/>
                  </a:lnTo>
                  <a:cubicBezTo>
                    <a:pt x="916584" y="174967"/>
                    <a:pt x="866863" y="106292"/>
                    <a:pt x="793807" y="94576"/>
                  </a:cubicBezTo>
                  <a:close/>
                </a:path>
              </a:pathLst>
            </a:custGeom>
            <a:solidFill>
              <a:srgbClr val="F15268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98B0482-A803-4474-A1C9-5881DDEFC9B8}"/>
                </a:ext>
              </a:extLst>
            </p:cNvPr>
            <p:cNvSpPr/>
            <p:nvPr/>
          </p:nvSpPr>
          <p:spPr>
            <a:xfrm>
              <a:off x="2475277" y="3994502"/>
              <a:ext cx="361950" cy="314325"/>
            </a:xfrm>
            <a:custGeom>
              <a:avLst/>
              <a:gdLst>
                <a:gd name="connsiteX0" fmla="*/ 365802 w 361950"/>
                <a:gd name="connsiteY0" fmla="*/ 143853 h 314325"/>
                <a:gd name="connsiteX1" fmla="*/ 287506 w 361950"/>
                <a:gd name="connsiteY1" fmla="*/ 30791 h 314325"/>
                <a:gd name="connsiteX2" fmla="*/ 191113 w 361950"/>
                <a:gd name="connsiteY2" fmla="*/ 70796 h 314325"/>
                <a:gd name="connsiteX3" fmla="*/ 113103 w 361950"/>
                <a:gd name="connsiteY3" fmla="*/ 1550 h 314325"/>
                <a:gd name="connsiteX4" fmla="*/ 5376 w 361950"/>
                <a:gd name="connsiteY4" fmla="*/ 144615 h 314325"/>
                <a:gd name="connsiteX5" fmla="*/ 148346 w 361950"/>
                <a:gd name="connsiteY5" fmla="*/ 322066 h 314325"/>
                <a:gd name="connsiteX6" fmla="*/ 149584 w 361950"/>
                <a:gd name="connsiteY6" fmla="*/ 322256 h 314325"/>
                <a:gd name="connsiteX7" fmla="*/ 340846 w 361950"/>
                <a:gd name="connsiteY7" fmla="*/ 207290 h 314325"/>
                <a:gd name="connsiteX8" fmla="*/ 365802 w 361950"/>
                <a:gd name="connsiteY8" fmla="*/ 143853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950" h="314325">
                  <a:moveTo>
                    <a:pt x="365802" y="143853"/>
                  </a:moveTo>
                  <a:cubicBezTo>
                    <a:pt x="372469" y="92609"/>
                    <a:pt x="349323" y="41174"/>
                    <a:pt x="287506" y="30791"/>
                  </a:cubicBezTo>
                  <a:cubicBezTo>
                    <a:pt x="249120" y="24314"/>
                    <a:pt x="212354" y="41078"/>
                    <a:pt x="191113" y="70796"/>
                  </a:cubicBezTo>
                  <a:cubicBezTo>
                    <a:pt x="180731" y="35840"/>
                    <a:pt x="151489" y="7931"/>
                    <a:pt x="113103" y="1550"/>
                  </a:cubicBezTo>
                  <a:cubicBezTo>
                    <a:pt x="28426" y="-12643"/>
                    <a:pt x="-16151" y="73463"/>
                    <a:pt x="5376" y="144615"/>
                  </a:cubicBezTo>
                  <a:cubicBezTo>
                    <a:pt x="28140" y="219863"/>
                    <a:pt x="82528" y="280727"/>
                    <a:pt x="148346" y="322066"/>
                  </a:cubicBezTo>
                  <a:lnTo>
                    <a:pt x="149584" y="322256"/>
                  </a:lnTo>
                  <a:cubicBezTo>
                    <a:pt x="220926" y="305683"/>
                    <a:pt x="297222" y="268059"/>
                    <a:pt x="340846" y="207290"/>
                  </a:cubicBezTo>
                  <a:cubicBezTo>
                    <a:pt x="354276" y="188430"/>
                    <a:pt x="362849" y="166142"/>
                    <a:pt x="365802" y="143853"/>
                  </a:cubicBezTo>
                  <a:close/>
                </a:path>
              </a:pathLst>
            </a:custGeom>
            <a:solidFill>
              <a:srgbClr val="F4F5F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A5AA195-CBD7-40F4-813F-67FAA35AF518}"/>
              </a:ext>
            </a:extLst>
          </p:cNvPr>
          <p:cNvGrpSpPr/>
          <p:nvPr/>
        </p:nvGrpSpPr>
        <p:grpSpPr>
          <a:xfrm>
            <a:off x="2393742" y="2752970"/>
            <a:ext cx="676870" cy="594825"/>
            <a:chOff x="1492752" y="5127283"/>
            <a:chExt cx="942975" cy="828675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74D6DD8-F117-4588-B059-1BD9CFF1CB8E}"/>
                </a:ext>
              </a:extLst>
            </p:cNvPr>
            <p:cNvSpPr/>
            <p:nvPr/>
          </p:nvSpPr>
          <p:spPr>
            <a:xfrm>
              <a:off x="1492752" y="5127283"/>
              <a:ext cx="942975" cy="828675"/>
            </a:xfrm>
            <a:custGeom>
              <a:avLst/>
              <a:gdLst>
                <a:gd name="connsiteX0" fmla="*/ 628766 w 942975"/>
                <a:gd name="connsiteY0" fmla="*/ 9928 h 828675"/>
                <a:gd name="connsiteX1" fmla="*/ 83460 w 942975"/>
                <a:gd name="connsiteY1" fmla="*/ 232147 h 828675"/>
                <a:gd name="connsiteX2" fmla="*/ 9927 w 942975"/>
                <a:gd name="connsiteY2" fmla="*/ 406740 h 828675"/>
                <a:gd name="connsiteX3" fmla="*/ 146611 w 942975"/>
                <a:gd name="connsiteY3" fmla="*/ 742211 h 828675"/>
                <a:gd name="connsiteX4" fmla="*/ 321204 w 942975"/>
                <a:gd name="connsiteY4" fmla="*/ 815744 h 828675"/>
                <a:gd name="connsiteX5" fmla="*/ 513514 w 942975"/>
                <a:gd name="connsiteY5" fmla="*/ 737353 h 828675"/>
                <a:gd name="connsiteX6" fmla="*/ 612383 w 942975"/>
                <a:gd name="connsiteY6" fmla="*/ 819839 h 828675"/>
                <a:gd name="connsiteX7" fmla="*/ 676010 w 942975"/>
                <a:gd name="connsiteY7" fmla="*/ 792503 h 828675"/>
                <a:gd name="connsiteX8" fmla="*/ 684107 w 942975"/>
                <a:gd name="connsiteY8" fmla="*/ 667820 h 828675"/>
                <a:gd name="connsiteX9" fmla="*/ 866606 w 942975"/>
                <a:gd name="connsiteY9" fmla="*/ 593430 h 828675"/>
                <a:gd name="connsiteX10" fmla="*/ 940139 w 942975"/>
                <a:gd name="connsiteY10" fmla="*/ 418837 h 828675"/>
                <a:gd name="connsiteX11" fmla="*/ 803455 w 942975"/>
                <a:gd name="connsiteY11" fmla="*/ 83366 h 828675"/>
                <a:gd name="connsiteX12" fmla="*/ 628766 w 942975"/>
                <a:gd name="connsiteY12" fmla="*/ 9928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2975" h="828675">
                  <a:moveTo>
                    <a:pt x="628766" y="9928"/>
                  </a:moveTo>
                  <a:lnTo>
                    <a:pt x="83460" y="232147"/>
                  </a:lnTo>
                  <a:cubicBezTo>
                    <a:pt x="14975" y="260055"/>
                    <a:pt x="-17981" y="338255"/>
                    <a:pt x="9927" y="406740"/>
                  </a:cubicBezTo>
                  <a:lnTo>
                    <a:pt x="146611" y="742211"/>
                  </a:lnTo>
                  <a:cubicBezTo>
                    <a:pt x="174519" y="810695"/>
                    <a:pt x="252719" y="843652"/>
                    <a:pt x="321204" y="815744"/>
                  </a:cubicBezTo>
                  <a:lnTo>
                    <a:pt x="513514" y="737353"/>
                  </a:lnTo>
                  <a:lnTo>
                    <a:pt x="612383" y="819839"/>
                  </a:lnTo>
                  <a:cubicBezTo>
                    <a:pt x="636767" y="840223"/>
                    <a:pt x="673915" y="824221"/>
                    <a:pt x="676010" y="792503"/>
                  </a:cubicBezTo>
                  <a:lnTo>
                    <a:pt x="684107" y="667820"/>
                  </a:lnTo>
                  <a:lnTo>
                    <a:pt x="866606" y="593430"/>
                  </a:lnTo>
                  <a:cubicBezTo>
                    <a:pt x="935090" y="565522"/>
                    <a:pt x="968047" y="487321"/>
                    <a:pt x="940139" y="418837"/>
                  </a:cubicBezTo>
                  <a:lnTo>
                    <a:pt x="803455" y="83366"/>
                  </a:lnTo>
                  <a:cubicBezTo>
                    <a:pt x="775547" y="14977"/>
                    <a:pt x="697346" y="-17980"/>
                    <a:pt x="628766" y="9928"/>
                  </a:cubicBezTo>
                  <a:close/>
                </a:path>
              </a:pathLst>
            </a:custGeom>
            <a:solidFill>
              <a:srgbClr val="F15268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96BBD93-0E76-463E-82A8-F6999C20D84F}"/>
                </a:ext>
              </a:extLst>
            </p:cNvPr>
            <p:cNvSpPr/>
            <p:nvPr/>
          </p:nvSpPr>
          <p:spPr>
            <a:xfrm>
              <a:off x="1779694" y="5364712"/>
              <a:ext cx="352425" cy="323850"/>
            </a:xfrm>
            <a:custGeom>
              <a:avLst/>
              <a:gdLst>
                <a:gd name="connsiteX0" fmla="*/ 349635 w 352425"/>
                <a:gd name="connsiteY0" fmla="*/ 63774 h 323850"/>
                <a:gd name="connsiteX1" fmla="*/ 224000 w 352425"/>
                <a:gd name="connsiteY1" fmla="*/ 7767 h 323850"/>
                <a:gd name="connsiteX2" fmla="*/ 162373 w 352425"/>
                <a:gd name="connsiteY2" fmla="*/ 91968 h 323850"/>
                <a:gd name="connsiteX3" fmla="*/ 59694 w 352425"/>
                <a:gd name="connsiteY3" fmla="*/ 73204 h 323850"/>
                <a:gd name="connsiteX4" fmla="*/ 41787 w 352425"/>
                <a:gd name="connsiteY4" fmla="*/ 251417 h 323850"/>
                <a:gd name="connsiteX5" fmla="*/ 256004 w 352425"/>
                <a:gd name="connsiteY5" fmla="*/ 329046 h 323850"/>
                <a:gd name="connsiteX6" fmla="*/ 257242 w 352425"/>
                <a:gd name="connsiteY6" fmla="*/ 328569 h 323850"/>
                <a:gd name="connsiteX7" fmla="*/ 361065 w 352425"/>
                <a:gd name="connsiteY7" fmla="*/ 131116 h 323850"/>
                <a:gd name="connsiteX8" fmla="*/ 349635 w 352425"/>
                <a:gd name="connsiteY8" fmla="*/ 6377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425" h="323850">
                  <a:moveTo>
                    <a:pt x="349635" y="63774"/>
                  </a:moveTo>
                  <a:cubicBezTo>
                    <a:pt x="328775" y="16435"/>
                    <a:pt x="282293" y="-15474"/>
                    <a:pt x="224000" y="7767"/>
                  </a:cubicBezTo>
                  <a:cubicBezTo>
                    <a:pt x="187900" y="22150"/>
                    <a:pt x="165040" y="55583"/>
                    <a:pt x="162373" y="91968"/>
                  </a:cubicBezTo>
                  <a:cubicBezTo>
                    <a:pt x="135417" y="67489"/>
                    <a:pt x="95889" y="58821"/>
                    <a:pt x="59694" y="73204"/>
                  </a:cubicBezTo>
                  <a:cubicBezTo>
                    <a:pt x="-20031" y="104922"/>
                    <a:pt x="-13554" y="201696"/>
                    <a:pt x="41787" y="251417"/>
                  </a:cubicBezTo>
                  <a:cubicBezTo>
                    <a:pt x="100270" y="303995"/>
                    <a:pt x="178375" y="327807"/>
                    <a:pt x="256004" y="329046"/>
                  </a:cubicBezTo>
                  <a:lnTo>
                    <a:pt x="257242" y="328569"/>
                  </a:lnTo>
                  <a:cubicBezTo>
                    <a:pt x="309630" y="277325"/>
                    <a:pt x="355350" y="205697"/>
                    <a:pt x="361065" y="131116"/>
                  </a:cubicBezTo>
                  <a:cubicBezTo>
                    <a:pt x="362970" y="107875"/>
                    <a:pt x="358683" y="84348"/>
                    <a:pt x="349635" y="63774"/>
                  </a:cubicBezTo>
                  <a:close/>
                </a:path>
              </a:pathLst>
            </a:custGeom>
            <a:solidFill>
              <a:srgbClr val="F4F5F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A3EC4A5-CE10-43F2-8783-886524EB1AB2}"/>
              </a:ext>
            </a:extLst>
          </p:cNvPr>
          <p:cNvGrpSpPr/>
          <p:nvPr/>
        </p:nvGrpSpPr>
        <p:grpSpPr>
          <a:xfrm rot="2917994">
            <a:off x="3167304" y="3300520"/>
            <a:ext cx="594825" cy="526455"/>
            <a:chOff x="1644063" y="6099154"/>
            <a:chExt cx="828675" cy="733425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7EE3E34-A89E-4F6F-BBCB-66B5854AFA70}"/>
                </a:ext>
              </a:extLst>
            </p:cNvPr>
            <p:cNvSpPr/>
            <p:nvPr/>
          </p:nvSpPr>
          <p:spPr>
            <a:xfrm>
              <a:off x="1644063" y="6099154"/>
              <a:ext cx="828675" cy="733425"/>
            </a:xfrm>
            <a:custGeom>
              <a:avLst/>
              <a:gdLst>
                <a:gd name="connsiteX0" fmla="*/ 730581 w 828675"/>
                <a:gd name="connsiteY0" fmla="*/ 81167 h 733425"/>
                <a:gd name="connsiteX1" fmla="*/ 191371 w 828675"/>
                <a:gd name="connsiteY1" fmla="*/ 1347 h 733425"/>
                <a:gd name="connsiteX2" fmla="*/ 50496 w 828675"/>
                <a:gd name="connsiteY2" fmla="*/ 105836 h 733425"/>
                <a:gd name="connsiteX3" fmla="*/ 1347 w 828675"/>
                <a:gd name="connsiteY3" fmla="*/ 437497 h 733425"/>
                <a:gd name="connsiteX4" fmla="*/ 105836 w 828675"/>
                <a:gd name="connsiteY4" fmla="*/ 578372 h 733425"/>
                <a:gd name="connsiteX5" fmla="*/ 296051 w 828675"/>
                <a:gd name="connsiteY5" fmla="*/ 606566 h 733425"/>
                <a:gd name="connsiteX6" fmla="*/ 335960 w 828675"/>
                <a:gd name="connsiteY6" fmla="*/ 718865 h 733425"/>
                <a:gd name="connsiteX7" fmla="*/ 399492 w 828675"/>
                <a:gd name="connsiteY7" fmla="*/ 727057 h 733425"/>
                <a:gd name="connsiteX8" fmla="*/ 464643 w 828675"/>
                <a:gd name="connsiteY8" fmla="*/ 631521 h 733425"/>
                <a:gd name="connsiteX9" fmla="*/ 645047 w 828675"/>
                <a:gd name="connsiteY9" fmla="*/ 658286 h 733425"/>
                <a:gd name="connsiteX10" fmla="*/ 785921 w 828675"/>
                <a:gd name="connsiteY10" fmla="*/ 553797 h 733425"/>
                <a:gd name="connsiteX11" fmla="*/ 835070 w 828675"/>
                <a:gd name="connsiteY11" fmla="*/ 222137 h 733425"/>
                <a:gd name="connsiteX12" fmla="*/ 730581 w 828675"/>
                <a:gd name="connsiteY12" fmla="*/ 81167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8675" h="733425">
                  <a:moveTo>
                    <a:pt x="730581" y="81167"/>
                  </a:moveTo>
                  <a:lnTo>
                    <a:pt x="191371" y="1347"/>
                  </a:lnTo>
                  <a:cubicBezTo>
                    <a:pt x="123648" y="-8654"/>
                    <a:pt x="60593" y="38114"/>
                    <a:pt x="50496" y="105836"/>
                  </a:cubicBezTo>
                  <a:lnTo>
                    <a:pt x="1347" y="437497"/>
                  </a:lnTo>
                  <a:cubicBezTo>
                    <a:pt x="-8654" y="505220"/>
                    <a:pt x="38114" y="568275"/>
                    <a:pt x="105836" y="578372"/>
                  </a:cubicBezTo>
                  <a:lnTo>
                    <a:pt x="296051" y="606566"/>
                  </a:lnTo>
                  <a:lnTo>
                    <a:pt x="335960" y="718865"/>
                  </a:lnTo>
                  <a:cubicBezTo>
                    <a:pt x="345771" y="746583"/>
                    <a:pt x="382919" y="751346"/>
                    <a:pt x="399492" y="727057"/>
                  </a:cubicBezTo>
                  <a:lnTo>
                    <a:pt x="464643" y="631521"/>
                  </a:lnTo>
                  <a:lnTo>
                    <a:pt x="645047" y="658286"/>
                  </a:lnTo>
                  <a:cubicBezTo>
                    <a:pt x="712769" y="668288"/>
                    <a:pt x="775825" y="621520"/>
                    <a:pt x="785921" y="553797"/>
                  </a:cubicBezTo>
                  <a:lnTo>
                    <a:pt x="835070" y="222137"/>
                  </a:lnTo>
                  <a:cubicBezTo>
                    <a:pt x="845167" y="154223"/>
                    <a:pt x="798304" y="91168"/>
                    <a:pt x="730581" y="81167"/>
                  </a:cubicBezTo>
                  <a:close/>
                </a:path>
              </a:pathLst>
            </a:custGeom>
            <a:solidFill>
              <a:srgbClr val="F9F9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B1CB38F-1B02-446F-AAA7-0CDBAE0669BB}"/>
                </a:ext>
              </a:extLst>
            </p:cNvPr>
            <p:cNvSpPr/>
            <p:nvPr/>
          </p:nvSpPr>
          <p:spPr>
            <a:xfrm>
              <a:off x="1802950" y="6169087"/>
              <a:ext cx="514350" cy="514350"/>
            </a:xfrm>
            <a:custGeom>
              <a:avLst/>
              <a:gdLst>
                <a:gd name="connsiteX0" fmla="*/ 484072 w 514350"/>
                <a:gd name="connsiteY0" fmla="*/ 224981 h 514350"/>
                <a:gd name="connsiteX1" fmla="*/ 293201 w 514350"/>
                <a:gd name="connsiteY1" fmla="*/ 484072 h 514350"/>
                <a:gd name="connsiteX2" fmla="*/ 34110 w 514350"/>
                <a:gd name="connsiteY2" fmla="*/ 293201 h 514350"/>
                <a:gd name="connsiteX3" fmla="*/ 224981 w 514350"/>
                <a:gd name="connsiteY3" fmla="*/ 34110 h 514350"/>
                <a:gd name="connsiteX4" fmla="*/ 484072 w 514350"/>
                <a:gd name="connsiteY4" fmla="*/ 224981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50" h="514350">
                  <a:moveTo>
                    <a:pt x="484072" y="224981"/>
                  </a:moveTo>
                  <a:cubicBezTo>
                    <a:pt x="502910" y="349234"/>
                    <a:pt x="417455" y="465233"/>
                    <a:pt x="293201" y="484072"/>
                  </a:cubicBezTo>
                  <a:cubicBezTo>
                    <a:pt x="168948" y="502910"/>
                    <a:pt x="52949" y="417455"/>
                    <a:pt x="34110" y="293201"/>
                  </a:cubicBezTo>
                  <a:cubicBezTo>
                    <a:pt x="15272" y="168947"/>
                    <a:pt x="100727" y="52948"/>
                    <a:pt x="224981" y="34110"/>
                  </a:cubicBezTo>
                  <a:cubicBezTo>
                    <a:pt x="349234" y="15272"/>
                    <a:pt x="465233" y="100727"/>
                    <a:pt x="484072" y="224981"/>
                  </a:cubicBezTo>
                  <a:close/>
                </a:path>
              </a:pathLst>
            </a:custGeom>
            <a:solidFill>
              <a:srgbClr val="F2D46A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B58E91F0-CCD9-4F28-92FA-D949D94BA955}"/>
                </a:ext>
              </a:extLst>
            </p:cNvPr>
            <p:cNvSpPr/>
            <p:nvPr/>
          </p:nvSpPr>
          <p:spPr>
            <a:xfrm>
              <a:off x="1931922" y="6306813"/>
              <a:ext cx="57150" cy="66675"/>
            </a:xfrm>
            <a:custGeom>
              <a:avLst/>
              <a:gdLst>
                <a:gd name="connsiteX0" fmla="*/ 8763 w 57150"/>
                <a:gd name="connsiteY0" fmla="*/ 0 h 66675"/>
                <a:gd name="connsiteX1" fmla="*/ 61246 w 57150"/>
                <a:gd name="connsiteY1" fmla="*/ 39815 h 66675"/>
                <a:gd name="connsiteX2" fmla="*/ 0 w 57150"/>
                <a:gd name="connsiteY2" fmla="*/ 6734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66675">
                  <a:moveTo>
                    <a:pt x="8763" y="0"/>
                  </a:moveTo>
                  <a:lnTo>
                    <a:pt x="61246" y="39815"/>
                  </a:lnTo>
                  <a:lnTo>
                    <a:pt x="0" y="67342"/>
                  </a:lnTo>
                </a:path>
              </a:pathLst>
            </a:custGeom>
            <a:noFill/>
            <a:ln w="22337" cap="rnd">
              <a:solidFill>
                <a:srgbClr val="252935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5FC0443-7DE5-4A97-8986-FE08FFFE005F}"/>
                </a:ext>
              </a:extLst>
            </p:cNvPr>
            <p:cNvSpPr/>
            <p:nvPr/>
          </p:nvSpPr>
          <p:spPr>
            <a:xfrm>
              <a:off x="2152140" y="6338722"/>
              <a:ext cx="57150" cy="66675"/>
            </a:xfrm>
            <a:custGeom>
              <a:avLst/>
              <a:gdLst>
                <a:gd name="connsiteX0" fmla="*/ 52483 w 57150"/>
                <a:gd name="connsiteY0" fmla="*/ 67342 h 66675"/>
                <a:gd name="connsiteX1" fmla="*/ 0 w 57150"/>
                <a:gd name="connsiteY1" fmla="*/ 27432 h 66675"/>
                <a:gd name="connsiteX2" fmla="*/ 61246 w 57150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66675">
                  <a:moveTo>
                    <a:pt x="52483" y="67342"/>
                  </a:moveTo>
                  <a:lnTo>
                    <a:pt x="0" y="27432"/>
                  </a:lnTo>
                  <a:lnTo>
                    <a:pt x="61246" y="0"/>
                  </a:lnTo>
                </a:path>
              </a:pathLst>
            </a:custGeom>
            <a:noFill/>
            <a:ln w="22337" cap="rnd">
              <a:solidFill>
                <a:srgbClr val="252935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2EED3F2-E43F-41F4-9E5F-DC830E7D75C6}"/>
                </a:ext>
              </a:extLst>
            </p:cNvPr>
            <p:cNvSpPr/>
            <p:nvPr/>
          </p:nvSpPr>
          <p:spPr>
            <a:xfrm>
              <a:off x="1932208" y="6475709"/>
              <a:ext cx="238125" cy="95250"/>
            </a:xfrm>
            <a:custGeom>
              <a:avLst/>
              <a:gdLst>
                <a:gd name="connsiteX0" fmla="*/ 0 w 238125"/>
                <a:gd name="connsiteY0" fmla="*/ 18556 h 95250"/>
                <a:gd name="connsiteX1" fmla="*/ 112776 w 238125"/>
                <a:gd name="connsiteY1" fmla="*/ 97138 h 95250"/>
                <a:gd name="connsiteX2" fmla="*/ 240697 w 238125"/>
                <a:gd name="connsiteY2" fmla="*/ 46655 h 95250"/>
                <a:gd name="connsiteX3" fmla="*/ 123920 w 238125"/>
                <a:gd name="connsiteY3" fmla="*/ 2078 h 95250"/>
                <a:gd name="connsiteX4" fmla="*/ 0 w 238125"/>
                <a:gd name="connsiteY4" fmla="*/ 1855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125" h="95250">
                  <a:moveTo>
                    <a:pt x="0" y="18556"/>
                  </a:moveTo>
                  <a:cubicBezTo>
                    <a:pt x="21336" y="60466"/>
                    <a:pt x="62579" y="91232"/>
                    <a:pt x="112776" y="97138"/>
                  </a:cubicBezTo>
                  <a:cubicBezTo>
                    <a:pt x="162973" y="103043"/>
                    <a:pt x="210217" y="82565"/>
                    <a:pt x="240697" y="46655"/>
                  </a:cubicBezTo>
                  <a:cubicBezTo>
                    <a:pt x="216979" y="25224"/>
                    <a:pt x="174117" y="7984"/>
                    <a:pt x="123920" y="2078"/>
                  </a:cubicBezTo>
                  <a:cubicBezTo>
                    <a:pt x="73628" y="-3827"/>
                    <a:pt x="28003" y="3221"/>
                    <a:pt x="0" y="18556"/>
                  </a:cubicBezTo>
                  <a:close/>
                </a:path>
              </a:pathLst>
            </a:custGeom>
            <a:solidFill>
              <a:srgbClr val="DB3A63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70A5929-B762-414E-8079-8F679992661F}"/>
                </a:ext>
              </a:extLst>
            </p:cNvPr>
            <p:cNvSpPr/>
            <p:nvPr/>
          </p:nvSpPr>
          <p:spPr>
            <a:xfrm>
              <a:off x="1916368" y="6406254"/>
              <a:ext cx="285750" cy="114300"/>
            </a:xfrm>
            <a:custGeom>
              <a:avLst/>
              <a:gdLst>
                <a:gd name="connsiteX0" fmla="*/ 1647 w 285750"/>
                <a:gd name="connsiteY0" fmla="*/ 0 h 114300"/>
                <a:gd name="connsiteX1" fmla="*/ 980 w 285750"/>
                <a:gd name="connsiteY1" fmla="*/ 5048 h 114300"/>
                <a:gd name="connsiteX2" fmla="*/ 15839 w 285750"/>
                <a:gd name="connsiteY2" fmla="*/ 88011 h 114300"/>
                <a:gd name="connsiteX3" fmla="*/ 139759 w 285750"/>
                <a:gd name="connsiteY3" fmla="*/ 71533 h 114300"/>
                <a:gd name="connsiteX4" fmla="*/ 256536 w 285750"/>
                <a:gd name="connsiteY4" fmla="*/ 116110 h 114300"/>
                <a:gd name="connsiteX5" fmla="*/ 290159 w 285750"/>
                <a:gd name="connsiteY5" fmla="*/ 38862 h 114300"/>
                <a:gd name="connsiteX6" fmla="*/ 1647 w 285750"/>
                <a:gd name="connsiteY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0" h="114300">
                  <a:moveTo>
                    <a:pt x="1647" y="0"/>
                  </a:moveTo>
                  <a:cubicBezTo>
                    <a:pt x="1361" y="1715"/>
                    <a:pt x="1171" y="3429"/>
                    <a:pt x="980" y="5048"/>
                  </a:cubicBezTo>
                  <a:cubicBezTo>
                    <a:pt x="-2449" y="34671"/>
                    <a:pt x="3266" y="63246"/>
                    <a:pt x="15839" y="88011"/>
                  </a:cubicBezTo>
                  <a:cubicBezTo>
                    <a:pt x="43938" y="72676"/>
                    <a:pt x="89467" y="65627"/>
                    <a:pt x="139759" y="71533"/>
                  </a:cubicBezTo>
                  <a:cubicBezTo>
                    <a:pt x="189956" y="77438"/>
                    <a:pt x="232819" y="94679"/>
                    <a:pt x="256536" y="116110"/>
                  </a:cubicBezTo>
                  <a:cubicBezTo>
                    <a:pt x="274538" y="94964"/>
                    <a:pt x="286635" y="68485"/>
                    <a:pt x="290159" y="38862"/>
                  </a:cubicBezTo>
                  <a:lnTo>
                    <a:pt x="1647" y="0"/>
                  </a:lnTo>
                  <a:close/>
                </a:path>
              </a:pathLst>
            </a:custGeom>
            <a:solidFill>
              <a:srgbClr val="25293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9" name="Graphic 58">
            <a:extLst>
              <a:ext uri="{FF2B5EF4-FFF2-40B4-BE49-F238E27FC236}">
                <a16:creationId xmlns:a16="http://schemas.microsoft.com/office/drawing/2014/main" id="{EBD44257-EF71-4321-8011-620DDF2C01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50985" y="4959179"/>
            <a:ext cx="3595642" cy="1898822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8FBFD9DB-8811-4B4E-8EA9-236F786354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5899" y="1627880"/>
            <a:ext cx="2724150" cy="6096908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E74A2E9E-539F-41EF-B425-A92F32645B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439041" y="5419405"/>
            <a:ext cx="2724150" cy="1438596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EB3DEA1A-F5E8-43BC-A8D6-1817351AA5E3}"/>
              </a:ext>
            </a:extLst>
          </p:cNvPr>
          <p:cNvGrpSpPr/>
          <p:nvPr/>
        </p:nvGrpSpPr>
        <p:grpSpPr>
          <a:xfrm rot="20887923">
            <a:off x="2497786" y="1981174"/>
            <a:ext cx="676870" cy="600722"/>
            <a:chOff x="212807" y="3831951"/>
            <a:chExt cx="1524000" cy="1352550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5B03640-D481-4060-A712-84B478E27F04}"/>
                </a:ext>
              </a:extLst>
            </p:cNvPr>
            <p:cNvSpPr/>
            <p:nvPr/>
          </p:nvSpPr>
          <p:spPr>
            <a:xfrm>
              <a:off x="212807" y="3831951"/>
              <a:ext cx="1524000" cy="1352550"/>
            </a:xfrm>
            <a:custGeom>
              <a:avLst/>
              <a:gdLst>
                <a:gd name="connsiteX0" fmla="*/ 1319952 w 1524000"/>
                <a:gd name="connsiteY0" fmla="*/ 95799 h 1352550"/>
                <a:gd name="connsiteX1" fmla="*/ 310493 w 1524000"/>
                <a:gd name="connsiteY1" fmla="*/ 1025 h 1352550"/>
                <a:gd name="connsiteX2" fmla="*/ 59318 w 1524000"/>
                <a:gd name="connsiteY2" fmla="*/ 209147 h 1352550"/>
                <a:gd name="connsiteX3" fmla="*/ 1025 w 1524000"/>
                <a:gd name="connsiteY3" fmla="*/ 830081 h 1352550"/>
                <a:gd name="connsiteX4" fmla="*/ 209147 w 1524000"/>
                <a:gd name="connsiteY4" fmla="*/ 1081256 h 1352550"/>
                <a:gd name="connsiteX5" fmla="*/ 565191 w 1524000"/>
                <a:gd name="connsiteY5" fmla="*/ 1114688 h 1352550"/>
                <a:gd name="connsiteX6" fmla="*/ 650440 w 1524000"/>
                <a:gd name="connsiteY6" fmla="*/ 1319381 h 1352550"/>
                <a:gd name="connsiteX7" fmla="*/ 769312 w 1524000"/>
                <a:gd name="connsiteY7" fmla="*/ 1328334 h 1352550"/>
                <a:gd name="connsiteX8" fmla="*/ 880850 w 1524000"/>
                <a:gd name="connsiteY8" fmla="*/ 1144311 h 1352550"/>
                <a:gd name="connsiteX9" fmla="*/ 1218606 w 1524000"/>
                <a:gd name="connsiteY9" fmla="*/ 1176029 h 1352550"/>
                <a:gd name="connsiteX10" fmla="*/ 1469780 w 1524000"/>
                <a:gd name="connsiteY10" fmla="*/ 967908 h 1352550"/>
                <a:gd name="connsiteX11" fmla="*/ 1528073 w 1524000"/>
                <a:gd name="connsiteY11" fmla="*/ 346973 h 1352550"/>
                <a:gd name="connsiteX12" fmla="*/ 1319952 w 1524000"/>
                <a:gd name="connsiteY12" fmla="*/ 95799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24000" h="1352550">
                  <a:moveTo>
                    <a:pt x="1319952" y="95799"/>
                  </a:moveTo>
                  <a:lnTo>
                    <a:pt x="310493" y="1025"/>
                  </a:lnTo>
                  <a:cubicBezTo>
                    <a:pt x="183620" y="-10881"/>
                    <a:pt x="71225" y="82274"/>
                    <a:pt x="59318" y="209147"/>
                  </a:cubicBezTo>
                  <a:lnTo>
                    <a:pt x="1025" y="830081"/>
                  </a:lnTo>
                  <a:cubicBezTo>
                    <a:pt x="-10881" y="956954"/>
                    <a:pt x="82274" y="1069349"/>
                    <a:pt x="209147" y="1081256"/>
                  </a:cubicBezTo>
                  <a:lnTo>
                    <a:pt x="565191" y="1114688"/>
                  </a:lnTo>
                  <a:lnTo>
                    <a:pt x="650440" y="1319381"/>
                  </a:lnTo>
                  <a:cubicBezTo>
                    <a:pt x="671490" y="1369863"/>
                    <a:pt x="740927" y="1375102"/>
                    <a:pt x="769312" y="1328334"/>
                  </a:cubicBezTo>
                  <a:lnTo>
                    <a:pt x="880850" y="1144311"/>
                  </a:lnTo>
                  <a:lnTo>
                    <a:pt x="1218606" y="1176029"/>
                  </a:lnTo>
                  <a:cubicBezTo>
                    <a:pt x="1345384" y="1187936"/>
                    <a:pt x="1457874" y="1094781"/>
                    <a:pt x="1469780" y="967908"/>
                  </a:cubicBezTo>
                  <a:lnTo>
                    <a:pt x="1528073" y="346973"/>
                  </a:lnTo>
                  <a:cubicBezTo>
                    <a:pt x="1539980" y="220100"/>
                    <a:pt x="1446825" y="107705"/>
                    <a:pt x="1319952" y="95799"/>
                  </a:cubicBezTo>
                  <a:close/>
                </a:path>
              </a:pathLst>
            </a:custGeom>
            <a:solidFill>
              <a:srgbClr val="407FFE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342E5D2-7FE6-4D72-BF64-D125C447AAAE}"/>
                </a:ext>
              </a:extLst>
            </p:cNvPr>
            <p:cNvSpPr/>
            <p:nvPr/>
          </p:nvSpPr>
          <p:spPr>
            <a:xfrm>
              <a:off x="863273" y="4091775"/>
              <a:ext cx="495300" cy="590550"/>
            </a:xfrm>
            <a:custGeom>
              <a:avLst/>
              <a:gdLst>
                <a:gd name="connsiteX0" fmla="*/ 65316 w 495300"/>
                <a:gd name="connsiteY0" fmla="*/ 570448 h 590550"/>
                <a:gd name="connsiteX1" fmla="*/ 350304 w 495300"/>
                <a:gd name="connsiteY1" fmla="*/ 596546 h 590550"/>
                <a:gd name="connsiteX2" fmla="*/ 356972 w 495300"/>
                <a:gd name="connsiteY2" fmla="*/ 595879 h 590550"/>
                <a:gd name="connsiteX3" fmla="*/ 400596 w 495300"/>
                <a:gd name="connsiteY3" fmla="*/ 566447 h 590550"/>
                <a:gd name="connsiteX4" fmla="*/ 402977 w 495300"/>
                <a:gd name="connsiteY4" fmla="*/ 528728 h 590550"/>
                <a:gd name="connsiteX5" fmla="*/ 402977 w 495300"/>
                <a:gd name="connsiteY5" fmla="*/ 528728 h 590550"/>
                <a:gd name="connsiteX6" fmla="*/ 411359 w 495300"/>
                <a:gd name="connsiteY6" fmla="*/ 507964 h 590550"/>
                <a:gd name="connsiteX7" fmla="*/ 411359 w 495300"/>
                <a:gd name="connsiteY7" fmla="*/ 507964 h 590550"/>
                <a:gd name="connsiteX8" fmla="*/ 435362 w 495300"/>
                <a:gd name="connsiteY8" fmla="*/ 445194 h 590550"/>
                <a:gd name="connsiteX9" fmla="*/ 435362 w 495300"/>
                <a:gd name="connsiteY9" fmla="*/ 445194 h 590550"/>
                <a:gd name="connsiteX10" fmla="*/ 442982 w 495300"/>
                <a:gd name="connsiteY10" fmla="*/ 423572 h 590550"/>
                <a:gd name="connsiteX11" fmla="*/ 442982 w 495300"/>
                <a:gd name="connsiteY11" fmla="*/ 423572 h 590550"/>
                <a:gd name="connsiteX12" fmla="*/ 462318 w 495300"/>
                <a:gd name="connsiteY12" fmla="*/ 365374 h 590550"/>
                <a:gd name="connsiteX13" fmla="*/ 462318 w 495300"/>
                <a:gd name="connsiteY13" fmla="*/ 365374 h 590550"/>
                <a:gd name="connsiteX14" fmla="*/ 470510 w 495300"/>
                <a:gd name="connsiteY14" fmla="*/ 342991 h 590550"/>
                <a:gd name="connsiteX15" fmla="*/ 470510 w 495300"/>
                <a:gd name="connsiteY15" fmla="*/ 342991 h 590550"/>
                <a:gd name="connsiteX16" fmla="*/ 497275 w 495300"/>
                <a:gd name="connsiteY16" fmla="*/ 301843 h 590550"/>
                <a:gd name="connsiteX17" fmla="*/ 449173 w 495300"/>
                <a:gd name="connsiteY17" fmla="*/ 274887 h 590550"/>
                <a:gd name="connsiteX18" fmla="*/ 259435 w 495300"/>
                <a:gd name="connsiteY18" fmla="*/ 255837 h 590550"/>
                <a:gd name="connsiteX19" fmla="*/ 245053 w 495300"/>
                <a:gd name="connsiteY19" fmla="*/ 230786 h 590550"/>
                <a:gd name="connsiteX20" fmla="*/ 245053 w 495300"/>
                <a:gd name="connsiteY20" fmla="*/ 230786 h 590550"/>
                <a:gd name="connsiteX21" fmla="*/ 274009 w 495300"/>
                <a:gd name="connsiteY21" fmla="*/ 104199 h 590550"/>
                <a:gd name="connsiteX22" fmla="*/ 249625 w 495300"/>
                <a:gd name="connsiteY22" fmla="*/ 15045 h 590550"/>
                <a:gd name="connsiteX23" fmla="*/ 243910 w 495300"/>
                <a:gd name="connsiteY23" fmla="*/ 7425 h 590550"/>
                <a:gd name="connsiteX24" fmla="*/ 233623 w 495300"/>
                <a:gd name="connsiteY24" fmla="*/ 1710 h 590550"/>
                <a:gd name="connsiteX25" fmla="*/ 207334 w 495300"/>
                <a:gd name="connsiteY25" fmla="*/ 3520 h 590550"/>
                <a:gd name="connsiteX26" fmla="*/ 197047 w 495300"/>
                <a:gd name="connsiteY26" fmla="*/ 18093 h 590550"/>
                <a:gd name="connsiteX27" fmla="*/ 189427 w 495300"/>
                <a:gd name="connsiteY27" fmla="*/ 101722 h 590550"/>
                <a:gd name="connsiteX28" fmla="*/ 188093 w 495300"/>
                <a:gd name="connsiteY28" fmla="*/ 104580 h 590550"/>
                <a:gd name="connsiteX29" fmla="*/ 67983 w 495300"/>
                <a:gd name="connsiteY29" fmla="*/ 270315 h 590550"/>
                <a:gd name="connsiteX30" fmla="*/ 65887 w 495300"/>
                <a:gd name="connsiteY30" fmla="*/ 272506 h 590550"/>
                <a:gd name="connsiteX31" fmla="*/ 29121 w 495300"/>
                <a:gd name="connsiteY31" fmla="*/ 291270 h 590550"/>
                <a:gd name="connsiteX32" fmla="*/ 21025 w 495300"/>
                <a:gd name="connsiteY32" fmla="*/ 293365 h 590550"/>
                <a:gd name="connsiteX33" fmla="*/ 70 w 495300"/>
                <a:gd name="connsiteY33" fmla="*/ 522156 h 590550"/>
                <a:gd name="connsiteX34" fmla="*/ 16167 w 495300"/>
                <a:gd name="connsiteY34" fmla="*/ 541492 h 590550"/>
                <a:gd name="connsiteX35" fmla="*/ 16167 w 495300"/>
                <a:gd name="connsiteY35" fmla="*/ 541492 h 590550"/>
                <a:gd name="connsiteX36" fmla="*/ 24835 w 495300"/>
                <a:gd name="connsiteY36" fmla="*/ 544635 h 590550"/>
                <a:gd name="connsiteX37" fmla="*/ 56648 w 495300"/>
                <a:gd name="connsiteY37" fmla="*/ 567114 h 590550"/>
                <a:gd name="connsiteX38" fmla="*/ 65316 w 495300"/>
                <a:gd name="connsiteY38" fmla="*/ 570448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95300" h="590550">
                  <a:moveTo>
                    <a:pt x="65316" y="570448"/>
                  </a:moveTo>
                  <a:lnTo>
                    <a:pt x="350304" y="596546"/>
                  </a:lnTo>
                  <a:cubicBezTo>
                    <a:pt x="352590" y="596737"/>
                    <a:pt x="354781" y="596546"/>
                    <a:pt x="356972" y="595879"/>
                  </a:cubicBezTo>
                  <a:cubicBezTo>
                    <a:pt x="367544" y="592641"/>
                    <a:pt x="390309" y="583973"/>
                    <a:pt x="400596" y="566447"/>
                  </a:cubicBezTo>
                  <a:cubicBezTo>
                    <a:pt x="406787" y="555970"/>
                    <a:pt x="407549" y="543587"/>
                    <a:pt x="402977" y="528728"/>
                  </a:cubicBezTo>
                  <a:lnTo>
                    <a:pt x="402977" y="528728"/>
                  </a:lnTo>
                  <a:cubicBezTo>
                    <a:pt x="400501" y="520727"/>
                    <a:pt x="404025" y="512059"/>
                    <a:pt x="411359" y="507964"/>
                  </a:cubicBezTo>
                  <a:lnTo>
                    <a:pt x="411359" y="507964"/>
                  </a:lnTo>
                  <a:cubicBezTo>
                    <a:pt x="415264" y="505678"/>
                    <a:pt x="450221" y="484532"/>
                    <a:pt x="435362" y="445194"/>
                  </a:cubicBezTo>
                  <a:lnTo>
                    <a:pt x="435362" y="445194"/>
                  </a:lnTo>
                  <a:cubicBezTo>
                    <a:pt x="432314" y="437098"/>
                    <a:pt x="435553" y="427954"/>
                    <a:pt x="442982" y="423572"/>
                  </a:cubicBezTo>
                  <a:lnTo>
                    <a:pt x="442982" y="423572"/>
                  </a:lnTo>
                  <a:cubicBezTo>
                    <a:pt x="446411" y="421477"/>
                    <a:pt x="476986" y="401665"/>
                    <a:pt x="462318" y="365374"/>
                  </a:cubicBezTo>
                  <a:lnTo>
                    <a:pt x="462318" y="365374"/>
                  </a:lnTo>
                  <a:cubicBezTo>
                    <a:pt x="458889" y="356897"/>
                    <a:pt x="462413" y="347277"/>
                    <a:pt x="470510" y="342991"/>
                  </a:cubicBezTo>
                  <a:lnTo>
                    <a:pt x="470510" y="342991"/>
                  </a:lnTo>
                  <a:cubicBezTo>
                    <a:pt x="470700" y="342895"/>
                    <a:pt x="499275" y="327084"/>
                    <a:pt x="497275" y="301843"/>
                  </a:cubicBezTo>
                  <a:cubicBezTo>
                    <a:pt x="495751" y="282983"/>
                    <a:pt x="458984" y="275839"/>
                    <a:pt x="449173" y="274887"/>
                  </a:cubicBezTo>
                  <a:lnTo>
                    <a:pt x="259435" y="255837"/>
                  </a:lnTo>
                  <a:cubicBezTo>
                    <a:pt x="247339" y="254599"/>
                    <a:pt x="240004" y="241835"/>
                    <a:pt x="245053" y="230786"/>
                  </a:cubicBezTo>
                  <a:lnTo>
                    <a:pt x="245053" y="230786"/>
                  </a:lnTo>
                  <a:cubicBezTo>
                    <a:pt x="255149" y="208688"/>
                    <a:pt x="280010" y="142966"/>
                    <a:pt x="274009" y="104199"/>
                  </a:cubicBezTo>
                  <a:cubicBezTo>
                    <a:pt x="268008" y="65432"/>
                    <a:pt x="255149" y="29332"/>
                    <a:pt x="249625" y="15045"/>
                  </a:cubicBezTo>
                  <a:cubicBezTo>
                    <a:pt x="248482" y="11997"/>
                    <a:pt x="246481" y="9425"/>
                    <a:pt x="243910" y="7425"/>
                  </a:cubicBezTo>
                  <a:cubicBezTo>
                    <a:pt x="241338" y="5425"/>
                    <a:pt x="237814" y="3234"/>
                    <a:pt x="233623" y="1710"/>
                  </a:cubicBezTo>
                  <a:cubicBezTo>
                    <a:pt x="225526" y="-1052"/>
                    <a:pt x="216668" y="-481"/>
                    <a:pt x="207334" y="3520"/>
                  </a:cubicBezTo>
                  <a:cubicBezTo>
                    <a:pt x="201523" y="5996"/>
                    <a:pt x="197618" y="11806"/>
                    <a:pt x="197047" y="18093"/>
                  </a:cubicBezTo>
                  <a:lnTo>
                    <a:pt x="189427" y="101722"/>
                  </a:lnTo>
                  <a:lnTo>
                    <a:pt x="188093" y="104580"/>
                  </a:lnTo>
                  <a:cubicBezTo>
                    <a:pt x="186569" y="107818"/>
                    <a:pt x="149803" y="184304"/>
                    <a:pt x="67983" y="270315"/>
                  </a:cubicBezTo>
                  <a:lnTo>
                    <a:pt x="65887" y="272506"/>
                  </a:lnTo>
                  <a:lnTo>
                    <a:pt x="29121" y="291270"/>
                  </a:lnTo>
                  <a:lnTo>
                    <a:pt x="21025" y="293365"/>
                  </a:lnTo>
                  <a:lnTo>
                    <a:pt x="70" y="522156"/>
                  </a:lnTo>
                  <a:cubicBezTo>
                    <a:pt x="-788" y="531967"/>
                    <a:pt x="6356" y="540539"/>
                    <a:pt x="16167" y="541492"/>
                  </a:cubicBezTo>
                  <a:lnTo>
                    <a:pt x="16167" y="541492"/>
                  </a:lnTo>
                  <a:cubicBezTo>
                    <a:pt x="19310" y="541777"/>
                    <a:pt x="22263" y="542825"/>
                    <a:pt x="24835" y="544635"/>
                  </a:cubicBezTo>
                  <a:lnTo>
                    <a:pt x="56648" y="567114"/>
                  </a:lnTo>
                  <a:cubicBezTo>
                    <a:pt x="59315" y="569019"/>
                    <a:pt x="62268" y="570162"/>
                    <a:pt x="65316" y="570448"/>
                  </a:cubicBezTo>
                  <a:close/>
                </a:path>
              </a:pathLst>
            </a:custGeom>
            <a:solidFill>
              <a:srgbClr val="EDF4F6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C8EF0A1-DE42-40E8-A1A1-B83680C36382}"/>
                </a:ext>
              </a:extLst>
            </p:cNvPr>
            <p:cNvSpPr/>
            <p:nvPr/>
          </p:nvSpPr>
          <p:spPr>
            <a:xfrm>
              <a:off x="642458" y="4346659"/>
              <a:ext cx="200025" cy="323850"/>
            </a:xfrm>
            <a:custGeom>
              <a:avLst/>
              <a:gdLst>
                <a:gd name="connsiteX0" fmla="*/ 0 w 200025"/>
                <a:gd name="connsiteY0" fmla="*/ 308801 h 323850"/>
                <a:gd name="connsiteX1" fmla="*/ 180118 w 200025"/>
                <a:gd name="connsiteY1" fmla="*/ 325279 h 323850"/>
                <a:gd name="connsiteX2" fmla="*/ 192976 w 200025"/>
                <a:gd name="connsiteY2" fmla="*/ 184690 h 323850"/>
                <a:gd name="connsiteX3" fmla="*/ 208407 w 200025"/>
                <a:gd name="connsiteY3" fmla="*/ 16478 h 323850"/>
                <a:gd name="connsiteX4" fmla="*/ 28289 w 200025"/>
                <a:gd name="connsiteY4" fmla="*/ 0 h 323850"/>
                <a:gd name="connsiteX5" fmla="*/ 0 w 200025"/>
                <a:gd name="connsiteY5" fmla="*/ 30880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025" h="323850">
                  <a:moveTo>
                    <a:pt x="0" y="308801"/>
                  </a:moveTo>
                  <a:lnTo>
                    <a:pt x="180118" y="325279"/>
                  </a:lnTo>
                  <a:lnTo>
                    <a:pt x="192976" y="184690"/>
                  </a:lnTo>
                  <a:lnTo>
                    <a:pt x="208407" y="16478"/>
                  </a:lnTo>
                  <a:lnTo>
                    <a:pt x="28289" y="0"/>
                  </a:lnTo>
                  <a:lnTo>
                    <a:pt x="0" y="308801"/>
                  </a:lnTo>
                  <a:close/>
                </a:path>
              </a:pathLst>
            </a:custGeom>
            <a:solidFill>
              <a:srgbClr val="EDF4F6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F013860-7EEE-4E13-8709-CB3A84DBEE71}"/>
              </a:ext>
            </a:extLst>
          </p:cNvPr>
          <p:cNvSpPr/>
          <p:nvPr/>
        </p:nvSpPr>
        <p:spPr>
          <a:xfrm>
            <a:off x="4301366" y="347617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ED345FC-28B5-40DD-83E6-12D1C049D463}"/>
              </a:ext>
            </a:extLst>
          </p:cNvPr>
          <p:cNvSpPr/>
          <p:nvPr/>
        </p:nvSpPr>
        <p:spPr>
          <a:xfrm>
            <a:off x="4301366" y="1449459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AF20AAF-F8B5-4C59-9A71-18C6B30FEC0E}"/>
              </a:ext>
            </a:extLst>
          </p:cNvPr>
          <p:cNvSpPr/>
          <p:nvPr/>
        </p:nvSpPr>
        <p:spPr>
          <a:xfrm>
            <a:off x="4301366" y="2551302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6319277-F970-44A6-96A5-8EE1BA9AEBF2}"/>
              </a:ext>
            </a:extLst>
          </p:cNvPr>
          <p:cNvSpPr/>
          <p:nvPr/>
        </p:nvSpPr>
        <p:spPr>
          <a:xfrm>
            <a:off x="4301366" y="3653144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EE53B54-DAC5-4221-AE62-FDC577B1151A}"/>
              </a:ext>
            </a:extLst>
          </p:cNvPr>
          <p:cNvSpPr/>
          <p:nvPr/>
        </p:nvSpPr>
        <p:spPr>
          <a:xfrm>
            <a:off x="4428438" y="465337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87625EB-742E-47F7-BB87-75EC1A279AE0}"/>
              </a:ext>
            </a:extLst>
          </p:cNvPr>
          <p:cNvSpPr/>
          <p:nvPr/>
        </p:nvSpPr>
        <p:spPr>
          <a:xfrm>
            <a:off x="4428438" y="1567178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DE09517-3ABE-4E7B-84D4-2172C044FB16}"/>
              </a:ext>
            </a:extLst>
          </p:cNvPr>
          <p:cNvSpPr/>
          <p:nvPr/>
        </p:nvSpPr>
        <p:spPr>
          <a:xfrm>
            <a:off x="4428438" y="2669021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710F99D-5217-431B-B42B-F6686867D9DA}"/>
              </a:ext>
            </a:extLst>
          </p:cNvPr>
          <p:cNvSpPr/>
          <p:nvPr/>
        </p:nvSpPr>
        <p:spPr>
          <a:xfrm>
            <a:off x="4428438" y="3770863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3A3055C-9921-4FC6-B563-D2BE977AD415}"/>
              </a:ext>
            </a:extLst>
          </p:cNvPr>
          <p:cNvSpPr txBox="1"/>
          <p:nvPr/>
        </p:nvSpPr>
        <p:spPr>
          <a:xfrm>
            <a:off x="5695984" y="632780"/>
            <a:ext cx="60827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итель получает результаты учащихся в простом и наглядном виде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4E613C-0D13-46A1-8BAC-4DCEDDE3B5A9}"/>
              </a:ext>
            </a:extLst>
          </p:cNvPr>
          <p:cNvSpPr txBox="1"/>
          <p:nvPr/>
        </p:nvSpPr>
        <p:spPr>
          <a:xfrm>
            <a:off x="5631250" y="1648324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Проверочная работа для всего класса создаётся за 5–10 минут - выбор готовых материалов из базы </a:t>
            </a:r>
            <a:r>
              <a:rPr lang="ru-RU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ЯКласс</a:t>
            </a: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8B6E60-0814-4D25-9D89-6A78FD2113DA}"/>
              </a:ext>
            </a:extLst>
          </p:cNvPr>
          <p:cNvSpPr txBox="1"/>
          <p:nvPr/>
        </p:nvSpPr>
        <p:spPr>
          <a:xfrm>
            <a:off x="5631251" y="2733297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итель может контролировать время выполнения работы, просматривать ответы учеников, отправлять ученикам комментарии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3728C8-99CE-4633-ACB3-AC37ED396C84}"/>
              </a:ext>
            </a:extLst>
          </p:cNvPr>
          <p:cNvSpPr txBox="1"/>
          <p:nvPr/>
        </p:nvSpPr>
        <p:spPr>
          <a:xfrm>
            <a:off x="5631251" y="3860496"/>
            <a:ext cx="6082765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еники сразу увидят результат (баллы за выполненные задания).</a:t>
            </a:r>
          </a:p>
        </p:txBody>
      </p:sp>
      <p:sp>
        <p:nvSpPr>
          <p:cNvPr id="14" name="Rectangle: Rounded Corners 6">
            <a:extLst>
              <a:ext uri="{FF2B5EF4-FFF2-40B4-BE49-F238E27FC236}">
                <a16:creationId xmlns:a16="http://schemas.microsoft.com/office/drawing/2014/main" id="{1385E563-8D44-4230-869B-2ED424C9701F}"/>
              </a:ext>
            </a:extLst>
          </p:cNvPr>
          <p:cNvSpPr/>
          <p:nvPr/>
        </p:nvSpPr>
        <p:spPr>
          <a:xfrm>
            <a:off x="4301366" y="5724127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: Rounded Corners 16">
            <a:extLst>
              <a:ext uri="{FF2B5EF4-FFF2-40B4-BE49-F238E27FC236}">
                <a16:creationId xmlns:a16="http://schemas.microsoft.com/office/drawing/2014/main" id="{825CFCE6-5387-46BC-865A-FB9431247069}"/>
              </a:ext>
            </a:extLst>
          </p:cNvPr>
          <p:cNvSpPr/>
          <p:nvPr/>
        </p:nvSpPr>
        <p:spPr>
          <a:xfrm>
            <a:off x="4428438" y="5841846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FFC000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-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7C81E1C-95F4-420E-9B60-3EB7AC4AE534}"/>
              </a:ext>
            </a:extLst>
          </p:cNvPr>
          <p:cNvSpPr txBox="1"/>
          <p:nvPr/>
        </p:nvSpPr>
        <p:spPr>
          <a:xfrm>
            <a:off x="5631250" y="5917443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Нет ЦОР по литературе 5-11 классов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Контент платный.</a:t>
            </a:r>
          </a:p>
        </p:txBody>
      </p:sp>
      <p:sp>
        <p:nvSpPr>
          <p:cNvPr id="71" name="Rectangle: Rounded Corners 6">
            <a:extLst>
              <a:ext uri="{FF2B5EF4-FFF2-40B4-BE49-F238E27FC236}">
                <a16:creationId xmlns:a16="http://schemas.microsoft.com/office/drawing/2014/main" id="{15766686-1BFC-47BE-BA4F-63DE913D5877}"/>
              </a:ext>
            </a:extLst>
          </p:cNvPr>
          <p:cNvSpPr/>
          <p:nvPr/>
        </p:nvSpPr>
        <p:spPr>
          <a:xfrm>
            <a:off x="4301366" y="4676499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: Rounded Corners 16">
            <a:extLst>
              <a:ext uri="{FF2B5EF4-FFF2-40B4-BE49-F238E27FC236}">
                <a16:creationId xmlns:a16="http://schemas.microsoft.com/office/drawing/2014/main" id="{33E78FBC-59CA-4384-9B45-41BC6A8240A0}"/>
              </a:ext>
            </a:extLst>
          </p:cNvPr>
          <p:cNvSpPr/>
          <p:nvPr/>
        </p:nvSpPr>
        <p:spPr>
          <a:xfrm>
            <a:off x="4428438" y="4794218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7949EFA-3E28-481F-A7FB-0B22D9082A2F}"/>
              </a:ext>
            </a:extLst>
          </p:cNvPr>
          <p:cNvSpPr txBox="1"/>
          <p:nvPr/>
        </p:nvSpPr>
        <p:spPr>
          <a:xfrm>
            <a:off x="5631250" y="4837674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Возможность распечатать задания для учеников, у которых нет доступа к компьютеру.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17BF694-3804-49E6-ACF9-2A9DEA1808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711" y="4018455"/>
            <a:ext cx="2078036" cy="207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68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B367FC-4FA9-45F0-AE59-7703281F4D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B367FC-4FA9-45F0-AE59-7703281F4D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9DB41B2-B905-46D0-B1D4-794248C469C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grpSp>
        <p:nvGrpSpPr>
          <p:cNvPr id="7" name="Group 5">
            <a:extLst>
              <a:ext uri="{FF2B5EF4-FFF2-40B4-BE49-F238E27FC236}">
                <a16:creationId xmlns:a16="http://schemas.microsoft.com/office/drawing/2014/main" id="{ED10F32B-BA27-4CF5-A302-A69A9B8F5B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4782" y="2827477"/>
            <a:ext cx="3515711" cy="3316012"/>
            <a:chOff x="1746" y="173"/>
            <a:chExt cx="4190" cy="3952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7FB9C497-FF34-4604-8998-CA604846C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" y="625"/>
              <a:ext cx="3480" cy="3063"/>
            </a:xfrm>
            <a:custGeom>
              <a:avLst/>
              <a:gdLst>
                <a:gd name="T0" fmla="*/ 365 w 1466"/>
                <a:gd name="T1" fmla="*/ 348 h 1290"/>
                <a:gd name="T2" fmla="*/ 232 w 1466"/>
                <a:gd name="T3" fmla="*/ 560 h 1290"/>
                <a:gd name="T4" fmla="*/ 8 w 1466"/>
                <a:gd name="T5" fmla="*/ 767 h 1290"/>
                <a:gd name="T6" fmla="*/ 621 w 1466"/>
                <a:gd name="T7" fmla="*/ 1243 h 1290"/>
                <a:gd name="T8" fmla="*/ 1328 w 1466"/>
                <a:gd name="T9" fmla="*/ 848 h 1290"/>
                <a:gd name="T10" fmla="*/ 1325 w 1466"/>
                <a:gd name="T11" fmla="*/ 319 h 1290"/>
                <a:gd name="T12" fmla="*/ 948 w 1466"/>
                <a:gd name="T13" fmla="*/ 201 h 1290"/>
                <a:gd name="T14" fmla="*/ 365 w 1466"/>
                <a:gd name="T15" fmla="*/ 348 h 1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66" h="1290">
                  <a:moveTo>
                    <a:pt x="365" y="348"/>
                  </a:moveTo>
                  <a:cubicBezTo>
                    <a:pt x="365" y="355"/>
                    <a:pt x="371" y="529"/>
                    <a:pt x="232" y="560"/>
                  </a:cubicBezTo>
                  <a:cubicBezTo>
                    <a:pt x="72" y="595"/>
                    <a:pt x="0" y="669"/>
                    <a:pt x="8" y="767"/>
                  </a:cubicBezTo>
                  <a:cubicBezTo>
                    <a:pt x="17" y="865"/>
                    <a:pt x="101" y="1194"/>
                    <a:pt x="621" y="1243"/>
                  </a:cubicBezTo>
                  <a:cubicBezTo>
                    <a:pt x="1132" y="1290"/>
                    <a:pt x="1262" y="989"/>
                    <a:pt x="1328" y="848"/>
                  </a:cubicBezTo>
                  <a:cubicBezTo>
                    <a:pt x="1391" y="713"/>
                    <a:pt x="1466" y="423"/>
                    <a:pt x="1325" y="319"/>
                  </a:cubicBezTo>
                  <a:cubicBezTo>
                    <a:pt x="1184" y="214"/>
                    <a:pt x="1110" y="380"/>
                    <a:pt x="948" y="201"/>
                  </a:cubicBezTo>
                  <a:cubicBezTo>
                    <a:pt x="766" y="0"/>
                    <a:pt x="358" y="38"/>
                    <a:pt x="365" y="348"/>
                  </a:cubicBezTo>
                  <a:close/>
                </a:path>
              </a:pathLst>
            </a:custGeom>
            <a:gradFill>
              <a:gsLst>
                <a:gs pos="0">
                  <a:srgbClr val="B32C9C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0BB310D-E349-4358-9764-23CCF6B98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" y="729"/>
              <a:ext cx="1002" cy="1159"/>
            </a:xfrm>
            <a:custGeom>
              <a:avLst/>
              <a:gdLst>
                <a:gd name="T0" fmla="*/ 81 w 422"/>
                <a:gd name="T1" fmla="*/ 140 h 488"/>
                <a:gd name="T2" fmla="*/ 36 w 422"/>
                <a:gd name="T3" fmla="*/ 338 h 488"/>
                <a:gd name="T4" fmla="*/ 312 w 422"/>
                <a:gd name="T5" fmla="*/ 324 h 488"/>
                <a:gd name="T6" fmla="*/ 285 w 422"/>
                <a:gd name="T7" fmla="*/ 69 h 488"/>
                <a:gd name="T8" fmla="*/ 81 w 422"/>
                <a:gd name="T9" fmla="*/ 140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2" h="488">
                  <a:moveTo>
                    <a:pt x="81" y="140"/>
                  </a:moveTo>
                  <a:cubicBezTo>
                    <a:pt x="81" y="140"/>
                    <a:pt x="0" y="238"/>
                    <a:pt x="36" y="338"/>
                  </a:cubicBezTo>
                  <a:cubicBezTo>
                    <a:pt x="72" y="439"/>
                    <a:pt x="202" y="488"/>
                    <a:pt x="312" y="324"/>
                  </a:cubicBezTo>
                  <a:cubicBezTo>
                    <a:pt x="422" y="159"/>
                    <a:pt x="285" y="69"/>
                    <a:pt x="285" y="69"/>
                  </a:cubicBezTo>
                  <a:cubicBezTo>
                    <a:pt x="285" y="69"/>
                    <a:pt x="175" y="0"/>
                    <a:pt x="81" y="140"/>
                  </a:cubicBezTo>
                  <a:close/>
                </a:path>
              </a:pathLst>
            </a:custGeom>
            <a:gradFill>
              <a:gsLst>
                <a:gs pos="0">
                  <a:srgbClr val="B32C9C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08C7CE9E-ABE6-4B77-A5FD-DE8EE5DAA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6" y="494"/>
              <a:ext cx="78" cy="76"/>
            </a:xfrm>
            <a:custGeom>
              <a:avLst/>
              <a:gdLst>
                <a:gd name="T0" fmla="*/ 18 w 33"/>
                <a:gd name="T1" fmla="*/ 31 h 32"/>
                <a:gd name="T2" fmla="*/ 1 w 33"/>
                <a:gd name="T3" fmla="*/ 18 h 32"/>
                <a:gd name="T4" fmla="*/ 15 w 33"/>
                <a:gd name="T5" fmla="*/ 1 h 32"/>
                <a:gd name="T6" fmla="*/ 32 w 33"/>
                <a:gd name="T7" fmla="*/ 15 h 32"/>
                <a:gd name="T8" fmla="*/ 18 w 33"/>
                <a:gd name="T9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2">
                  <a:moveTo>
                    <a:pt x="18" y="31"/>
                  </a:moveTo>
                  <a:cubicBezTo>
                    <a:pt x="9" y="32"/>
                    <a:pt x="2" y="26"/>
                    <a:pt x="1" y="18"/>
                  </a:cubicBezTo>
                  <a:cubicBezTo>
                    <a:pt x="0" y="10"/>
                    <a:pt x="6" y="2"/>
                    <a:pt x="15" y="1"/>
                  </a:cubicBezTo>
                  <a:cubicBezTo>
                    <a:pt x="23" y="0"/>
                    <a:pt x="31" y="6"/>
                    <a:pt x="32" y="15"/>
                  </a:cubicBezTo>
                  <a:cubicBezTo>
                    <a:pt x="33" y="23"/>
                    <a:pt x="26" y="31"/>
                    <a:pt x="18" y="31"/>
                  </a:cubicBezTo>
                  <a:close/>
                </a:path>
              </a:pathLst>
            </a:custGeom>
            <a:gradFill>
              <a:gsLst>
                <a:gs pos="0">
                  <a:srgbClr val="B32C9C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282DC392-6080-445C-8728-99023EC366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6" y="2054"/>
              <a:ext cx="76" cy="79"/>
            </a:xfrm>
            <a:custGeom>
              <a:avLst/>
              <a:gdLst>
                <a:gd name="T0" fmla="*/ 18 w 32"/>
                <a:gd name="T1" fmla="*/ 32 h 33"/>
                <a:gd name="T2" fmla="*/ 1 w 32"/>
                <a:gd name="T3" fmla="*/ 18 h 33"/>
                <a:gd name="T4" fmla="*/ 14 w 32"/>
                <a:gd name="T5" fmla="*/ 1 h 33"/>
                <a:gd name="T6" fmla="*/ 31 w 32"/>
                <a:gd name="T7" fmla="*/ 15 h 33"/>
                <a:gd name="T8" fmla="*/ 18 w 32"/>
                <a:gd name="T9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3">
                  <a:moveTo>
                    <a:pt x="18" y="32"/>
                  </a:moveTo>
                  <a:cubicBezTo>
                    <a:pt x="9" y="33"/>
                    <a:pt x="1" y="27"/>
                    <a:pt x="1" y="18"/>
                  </a:cubicBezTo>
                  <a:cubicBezTo>
                    <a:pt x="0" y="10"/>
                    <a:pt x="6" y="2"/>
                    <a:pt x="14" y="1"/>
                  </a:cubicBezTo>
                  <a:cubicBezTo>
                    <a:pt x="23" y="0"/>
                    <a:pt x="30" y="6"/>
                    <a:pt x="31" y="15"/>
                  </a:cubicBezTo>
                  <a:cubicBezTo>
                    <a:pt x="32" y="23"/>
                    <a:pt x="26" y="31"/>
                    <a:pt x="18" y="32"/>
                  </a:cubicBezTo>
                  <a:close/>
                </a:path>
              </a:pathLst>
            </a:custGeom>
            <a:gradFill>
              <a:gsLst>
                <a:gs pos="0">
                  <a:srgbClr val="B32C9C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3557BE5B-EBFD-4F6B-8224-0F0D4C9B5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0" y="2532"/>
              <a:ext cx="79" cy="76"/>
            </a:xfrm>
            <a:custGeom>
              <a:avLst/>
              <a:gdLst>
                <a:gd name="T0" fmla="*/ 18 w 33"/>
                <a:gd name="T1" fmla="*/ 31 h 32"/>
                <a:gd name="T2" fmla="*/ 1 w 33"/>
                <a:gd name="T3" fmla="*/ 18 h 32"/>
                <a:gd name="T4" fmla="*/ 15 w 33"/>
                <a:gd name="T5" fmla="*/ 1 h 32"/>
                <a:gd name="T6" fmla="*/ 32 w 33"/>
                <a:gd name="T7" fmla="*/ 14 h 32"/>
                <a:gd name="T8" fmla="*/ 18 w 33"/>
                <a:gd name="T9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2">
                  <a:moveTo>
                    <a:pt x="18" y="31"/>
                  </a:moveTo>
                  <a:cubicBezTo>
                    <a:pt x="10" y="32"/>
                    <a:pt x="2" y="26"/>
                    <a:pt x="1" y="18"/>
                  </a:cubicBezTo>
                  <a:cubicBezTo>
                    <a:pt x="0" y="9"/>
                    <a:pt x="6" y="2"/>
                    <a:pt x="15" y="1"/>
                  </a:cubicBezTo>
                  <a:cubicBezTo>
                    <a:pt x="23" y="0"/>
                    <a:pt x="31" y="6"/>
                    <a:pt x="32" y="14"/>
                  </a:cubicBezTo>
                  <a:cubicBezTo>
                    <a:pt x="33" y="23"/>
                    <a:pt x="26" y="30"/>
                    <a:pt x="18" y="31"/>
                  </a:cubicBezTo>
                  <a:close/>
                </a:path>
              </a:pathLst>
            </a:custGeom>
            <a:solidFill>
              <a:srgbClr val="F9F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6D6425AA-556D-4388-9518-D8DAAC1D1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5" y="261"/>
              <a:ext cx="78" cy="76"/>
            </a:xfrm>
            <a:custGeom>
              <a:avLst/>
              <a:gdLst>
                <a:gd name="T0" fmla="*/ 18 w 33"/>
                <a:gd name="T1" fmla="*/ 31 h 32"/>
                <a:gd name="T2" fmla="*/ 1 w 33"/>
                <a:gd name="T3" fmla="*/ 18 h 32"/>
                <a:gd name="T4" fmla="*/ 15 w 33"/>
                <a:gd name="T5" fmla="*/ 1 h 32"/>
                <a:gd name="T6" fmla="*/ 32 w 33"/>
                <a:gd name="T7" fmla="*/ 14 h 32"/>
                <a:gd name="T8" fmla="*/ 18 w 33"/>
                <a:gd name="T9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2">
                  <a:moveTo>
                    <a:pt x="18" y="31"/>
                  </a:moveTo>
                  <a:cubicBezTo>
                    <a:pt x="10" y="32"/>
                    <a:pt x="2" y="26"/>
                    <a:pt x="1" y="18"/>
                  </a:cubicBezTo>
                  <a:cubicBezTo>
                    <a:pt x="0" y="9"/>
                    <a:pt x="6" y="2"/>
                    <a:pt x="15" y="1"/>
                  </a:cubicBezTo>
                  <a:cubicBezTo>
                    <a:pt x="23" y="0"/>
                    <a:pt x="31" y="6"/>
                    <a:pt x="32" y="14"/>
                  </a:cubicBezTo>
                  <a:cubicBezTo>
                    <a:pt x="33" y="23"/>
                    <a:pt x="27" y="30"/>
                    <a:pt x="18" y="31"/>
                  </a:cubicBezTo>
                  <a:close/>
                </a:path>
              </a:pathLst>
            </a:custGeom>
            <a:gradFill>
              <a:gsLst>
                <a:gs pos="0">
                  <a:srgbClr val="B32C9C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F616CA3F-74A5-41DE-ACC7-78CF81ED7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8" y="4080"/>
              <a:ext cx="45" cy="45"/>
            </a:xfrm>
            <a:custGeom>
              <a:avLst/>
              <a:gdLst>
                <a:gd name="T0" fmla="*/ 11 w 19"/>
                <a:gd name="T1" fmla="*/ 18 h 19"/>
                <a:gd name="T2" fmla="*/ 1 w 19"/>
                <a:gd name="T3" fmla="*/ 11 h 19"/>
                <a:gd name="T4" fmla="*/ 9 w 19"/>
                <a:gd name="T5" fmla="*/ 1 h 19"/>
                <a:gd name="T6" fmla="*/ 19 w 19"/>
                <a:gd name="T7" fmla="*/ 9 h 19"/>
                <a:gd name="T8" fmla="*/ 11 w 19"/>
                <a:gd name="T9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1" y="18"/>
                  </a:moveTo>
                  <a:cubicBezTo>
                    <a:pt x="6" y="19"/>
                    <a:pt x="1" y="15"/>
                    <a:pt x="1" y="11"/>
                  </a:cubicBezTo>
                  <a:cubicBezTo>
                    <a:pt x="0" y="6"/>
                    <a:pt x="4" y="1"/>
                    <a:pt x="9" y="1"/>
                  </a:cubicBezTo>
                  <a:cubicBezTo>
                    <a:pt x="14" y="0"/>
                    <a:pt x="18" y="4"/>
                    <a:pt x="19" y="9"/>
                  </a:cubicBezTo>
                  <a:cubicBezTo>
                    <a:pt x="19" y="13"/>
                    <a:pt x="16" y="18"/>
                    <a:pt x="11" y="18"/>
                  </a:cubicBezTo>
                  <a:close/>
                </a:path>
              </a:pathLst>
            </a:custGeom>
            <a:solidFill>
              <a:srgbClr val="F9F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E4FBA67E-1225-4FD7-9ED9-9919D4CC4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" y="812"/>
              <a:ext cx="45" cy="45"/>
            </a:xfrm>
            <a:custGeom>
              <a:avLst/>
              <a:gdLst>
                <a:gd name="T0" fmla="*/ 10 w 19"/>
                <a:gd name="T1" fmla="*/ 18 h 19"/>
                <a:gd name="T2" fmla="*/ 1 w 19"/>
                <a:gd name="T3" fmla="*/ 10 h 19"/>
                <a:gd name="T4" fmla="*/ 8 w 19"/>
                <a:gd name="T5" fmla="*/ 1 h 19"/>
                <a:gd name="T6" fmla="*/ 18 w 19"/>
                <a:gd name="T7" fmla="*/ 8 h 19"/>
                <a:gd name="T8" fmla="*/ 10 w 19"/>
                <a:gd name="T9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0" y="18"/>
                  </a:moveTo>
                  <a:cubicBezTo>
                    <a:pt x="6" y="19"/>
                    <a:pt x="1" y="15"/>
                    <a:pt x="1" y="10"/>
                  </a:cubicBezTo>
                  <a:cubicBezTo>
                    <a:pt x="0" y="6"/>
                    <a:pt x="4" y="1"/>
                    <a:pt x="8" y="1"/>
                  </a:cubicBezTo>
                  <a:cubicBezTo>
                    <a:pt x="13" y="0"/>
                    <a:pt x="18" y="4"/>
                    <a:pt x="18" y="8"/>
                  </a:cubicBezTo>
                  <a:cubicBezTo>
                    <a:pt x="19" y="13"/>
                    <a:pt x="15" y="18"/>
                    <a:pt x="10" y="18"/>
                  </a:cubicBezTo>
                  <a:close/>
                </a:path>
              </a:pathLst>
            </a:custGeom>
            <a:solidFill>
              <a:srgbClr val="F9F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674EE221-1C67-4365-A4FE-1A13500B7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2" y="3144"/>
              <a:ext cx="46" cy="43"/>
            </a:xfrm>
            <a:custGeom>
              <a:avLst/>
              <a:gdLst>
                <a:gd name="T0" fmla="*/ 10 w 19"/>
                <a:gd name="T1" fmla="*/ 18 h 18"/>
                <a:gd name="T2" fmla="*/ 1 w 19"/>
                <a:gd name="T3" fmla="*/ 10 h 18"/>
                <a:gd name="T4" fmla="*/ 9 w 19"/>
                <a:gd name="T5" fmla="*/ 0 h 18"/>
                <a:gd name="T6" fmla="*/ 18 w 19"/>
                <a:gd name="T7" fmla="*/ 8 h 18"/>
                <a:gd name="T8" fmla="*/ 10 w 19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0" y="18"/>
                  </a:moveTo>
                  <a:cubicBezTo>
                    <a:pt x="6" y="18"/>
                    <a:pt x="1" y="15"/>
                    <a:pt x="1" y="10"/>
                  </a:cubicBezTo>
                  <a:cubicBezTo>
                    <a:pt x="0" y="5"/>
                    <a:pt x="4" y="1"/>
                    <a:pt x="9" y="0"/>
                  </a:cubicBezTo>
                  <a:cubicBezTo>
                    <a:pt x="13" y="0"/>
                    <a:pt x="18" y="3"/>
                    <a:pt x="18" y="8"/>
                  </a:cubicBezTo>
                  <a:cubicBezTo>
                    <a:pt x="19" y="13"/>
                    <a:pt x="15" y="17"/>
                    <a:pt x="10" y="18"/>
                  </a:cubicBezTo>
                  <a:close/>
                </a:path>
              </a:pathLst>
            </a:custGeom>
            <a:gradFill>
              <a:gsLst>
                <a:gs pos="0">
                  <a:srgbClr val="B32C9C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27B6E30A-F29D-4774-B5CE-AC013D88DF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9" y="173"/>
              <a:ext cx="510" cy="511"/>
            </a:xfrm>
            <a:custGeom>
              <a:avLst/>
              <a:gdLst>
                <a:gd name="T0" fmla="*/ 202 w 215"/>
                <a:gd name="T1" fmla="*/ 85 h 215"/>
                <a:gd name="T2" fmla="*/ 130 w 215"/>
                <a:gd name="T3" fmla="*/ 202 h 215"/>
                <a:gd name="T4" fmla="*/ 13 w 215"/>
                <a:gd name="T5" fmla="*/ 130 h 215"/>
                <a:gd name="T6" fmla="*/ 85 w 215"/>
                <a:gd name="T7" fmla="*/ 13 h 215"/>
                <a:gd name="T8" fmla="*/ 202 w 215"/>
                <a:gd name="T9" fmla="*/ 8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" h="215">
                  <a:moveTo>
                    <a:pt x="202" y="85"/>
                  </a:moveTo>
                  <a:cubicBezTo>
                    <a:pt x="215" y="138"/>
                    <a:pt x="182" y="190"/>
                    <a:pt x="130" y="202"/>
                  </a:cubicBezTo>
                  <a:cubicBezTo>
                    <a:pt x="77" y="215"/>
                    <a:pt x="25" y="182"/>
                    <a:pt x="13" y="130"/>
                  </a:cubicBezTo>
                  <a:cubicBezTo>
                    <a:pt x="0" y="77"/>
                    <a:pt x="33" y="25"/>
                    <a:pt x="85" y="13"/>
                  </a:cubicBezTo>
                  <a:cubicBezTo>
                    <a:pt x="138" y="0"/>
                    <a:pt x="190" y="33"/>
                    <a:pt x="202" y="85"/>
                  </a:cubicBezTo>
                  <a:close/>
                </a:path>
              </a:pathLst>
            </a:custGeom>
            <a:gradFill>
              <a:gsLst>
                <a:gs pos="0">
                  <a:srgbClr val="B32C9C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86358F71-6EBE-4029-8711-AADB7AF59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" y="328"/>
              <a:ext cx="237" cy="216"/>
            </a:xfrm>
            <a:custGeom>
              <a:avLst/>
              <a:gdLst>
                <a:gd name="T0" fmla="*/ 85 w 100"/>
                <a:gd name="T1" fmla="*/ 9 h 91"/>
                <a:gd name="T2" fmla="*/ 46 w 100"/>
                <a:gd name="T3" fmla="*/ 17 h 91"/>
                <a:gd name="T4" fmla="*/ 7 w 100"/>
                <a:gd name="T5" fmla="*/ 27 h 91"/>
                <a:gd name="T6" fmla="*/ 17 w 100"/>
                <a:gd name="T7" fmla="*/ 64 h 91"/>
                <a:gd name="T8" fmla="*/ 54 w 100"/>
                <a:gd name="T9" fmla="*/ 87 h 91"/>
                <a:gd name="T10" fmla="*/ 69 w 100"/>
                <a:gd name="T11" fmla="*/ 84 h 91"/>
                <a:gd name="T12" fmla="*/ 92 w 100"/>
                <a:gd name="T13" fmla="*/ 47 h 91"/>
                <a:gd name="T14" fmla="*/ 85 w 100"/>
                <a:gd name="T15" fmla="*/ 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91">
                  <a:moveTo>
                    <a:pt x="85" y="9"/>
                  </a:moveTo>
                  <a:cubicBezTo>
                    <a:pt x="72" y="0"/>
                    <a:pt x="54" y="4"/>
                    <a:pt x="46" y="17"/>
                  </a:cubicBezTo>
                  <a:cubicBezTo>
                    <a:pt x="32" y="9"/>
                    <a:pt x="15" y="13"/>
                    <a:pt x="7" y="27"/>
                  </a:cubicBezTo>
                  <a:cubicBezTo>
                    <a:pt x="0" y="40"/>
                    <a:pt x="4" y="57"/>
                    <a:pt x="17" y="64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9" y="91"/>
                    <a:pt x="66" y="89"/>
                    <a:pt x="69" y="84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100" y="34"/>
                    <a:pt x="97" y="17"/>
                    <a:pt x="85" y="9"/>
                  </a:cubicBezTo>
                  <a:close/>
                </a:path>
              </a:pathLst>
            </a:custGeom>
            <a:solidFill>
              <a:srgbClr val="F9F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F85DB9B2-5C7B-49D7-AC66-F60B4230B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5" y="3432"/>
              <a:ext cx="411" cy="413"/>
            </a:xfrm>
            <a:custGeom>
              <a:avLst/>
              <a:gdLst>
                <a:gd name="T0" fmla="*/ 164 w 173"/>
                <a:gd name="T1" fmla="*/ 103 h 174"/>
                <a:gd name="T2" fmla="*/ 71 w 173"/>
                <a:gd name="T3" fmla="*/ 165 h 174"/>
                <a:gd name="T4" fmla="*/ 8 w 173"/>
                <a:gd name="T5" fmla="*/ 72 h 174"/>
                <a:gd name="T6" fmla="*/ 102 w 173"/>
                <a:gd name="T7" fmla="*/ 9 h 174"/>
                <a:gd name="T8" fmla="*/ 164 w 173"/>
                <a:gd name="T9" fmla="*/ 103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174">
                  <a:moveTo>
                    <a:pt x="164" y="103"/>
                  </a:moveTo>
                  <a:cubicBezTo>
                    <a:pt x="156" y="146"/>
                    <a:pt x="114" y="174"/>
                    <a:pt x="71" y="165"/>
                  </a:cubicBezTo>
                  <a:cubicBezTo>
                    <a:pt x="28" y="157"/>
                    <a:pt x="0" y="115"/>
                    <a:pt x="8" y="72"/>
                  </a:cubicBezTo>
                  <a:cubicBezTo>
                    <a:pt x="17" y="29"/>
                    <a:pt x="59" y="0"/>
                    <a:pt x="102" y="9"/>
                  </a:cubicBezTo>
                  <a:cubicBezTo>
                    <a:pt x="145" y="18"/>
                    <a:pt x="173" y="59"/>
                    <a:pt x="164" y="103"/>
                  </a:cubicBezTo>
                  <a:close/>
                </a:path>
              </a:pathLst>
            </a:custGeom>
            <a:gradFill>
              <a:gsLst>
                <a:gs pos="0">
                  <a:srgbClr val="B32C9C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B7AFCB1B-61F5-45D4-AB1F-0B4BF1766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5" y="3558"/>
              <a:ext cx="197" cy="175"/>
            </a:xfrm>
            <a:custGeom>
              <a:avLst/>
              <a:gdLst>
                <a:gd name="T0" fmla="*/ 76 w 83"/>
                <a:gd name="T1" fmla="*/ 20 h 74"/>
                <a:gd name="T2" fmla="*/ 44 w 83"/>
                <a:gd name="T3" fmla="*/ 13 h 74"/>
                <a:gd name="T4" fmla="*/ 12 w 83"/>
                <a:gd name="T5" fmla="*/ 8 h 74"/>
                <a:gd name="T6" fmla="*/ 7 w 83"/>
                <a:gd name="T7" fmla="*/ 39 h 74"/>
                <a:gd name="T8" fmla="*/ 27 w 83"/>
                <a:gd name="T9" fmla="*/ 69 h 74"/>
                <a:gd name="T10" fmla="*/ 39 w 83"/>
                <a:gd name="T11" fmla="*/ 71 h 74"/>
                <a:gd name="T12" fmla="*/ 69 w 83"/>
                <a:gd name="T13" fmla="*/ 51 h 74"/>
                <a:gd name="T14" fmla="*/ 76 w 83"/>
                <a:gd name="T15" fmla="*/ 2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74">
                  <a:moveTo>
                    <a:pt x="76" y="20"/>
                  </a:moveTo>
                  <a:cubicBezTo>
                    <a:pt x="70" y="9"/>
                    <a:pt x="55" y="6"/>
                    <a:pt x="44" y="13"/>
                  </a:cubicBezTo>
                  <a:cubicBezTo>
                    <a:pt x="37" y="3"/>
                    <a:pt x="23" y="0"/>
                    <a:pt x="12" y="8"/>
                  </a:cubicBezTo>
                  <a:cubicBezTo>
                    <a:pt x="2" y="15"/>
                    <a:pt x="0" y="29"/>
                    <a:pt x="7" y="3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30" y="73"/>
                    <a:pt x="35" y="74"/>
                    <a:pt x="39" y="7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79" y="44"/>
                    <a:pt x="83" y="31"/>
                    <a:pt x="76" y="20"/>
                  </a:cubicBezTo>
                  <a:close/>
                </a:path>
              </a:pathLst>
            </a:custGeom>
            <a:solidFill>
              <a:srgbClr val="F9F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BDEB0423-CCB1-41CF-BC5A-520C91605C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3" y="3510"/>
              <a:ext cx="503" cy="504"/>
            </a:xfrm>
            <a:custGeom>
              <a:avLst/>
              <a:gdLst>
                <a:gd name="T0" fmla="*/ 204 w 212"/>
                <a:gd name="T1" fmla="*/ 92 h 212"/>
                <a:gd name="T2" fmla="*/ 120 w 212"/>
                <a:gd name="T3" fmla="*/ 205 h 212"/>
                <a:gd name="T4" fmla="*/ 8 w 212"/>
                <a:gd name="T5" fmla="*/ 121 h 212"/>
                <a:gd name="T6" fmla="*/ 92 w 212"/>
                <a:gd name="T7" fmla="*/ 8 h 212"/>
                <a:gd name="T8" fmla="*/ 204 w 212"/>
                <a:gd name="T9" fmla="*/ 9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2" h="212">
                  <a:moveTo>
                    <a:pt x="204" y="92"/>
                  </a:moveTo>
                  <a:cubicBezTo>
                    <a:pt x="212" y="146"/>
                    <a:pt x="175" y="197"/>
                    <a:pt x="120" y="205"/>
                  </a:cubicBezTo>
                  <a:cubicBezTo>
                    <a:pt x="66" y="212"/>
                    <a:pt x="16" y="175"/>
                    <a:pt x="8" y="121"/>
                  </a:cubicBezTo>
                  <a:cubicBezTo>
                    <a:pt x="0" y="66"/>
                    <a:pt x="38" y="16"/>
                    <a:pt x="92" y="8"/>
                  </a:cubicBezTo>
                  <a:cubicBezTo>
                    <a:pt x="146" y="0"/>
                    <a:pt x="196" y="38"/>
                    <a:pt x="204" y="92"/>
                  </a:cubicBezTo>
                  <a:close/>
                </a:path>
              </a:pathLst>
            </a:custGeom>
            <a:gradFill>
              <a:gsLst>
                <a:gs pos="0">
                  <a:srgbClr val="B32C9C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C0C2F450-E343-44E0-93C7-3279FE452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8" y="3650"/>
              <a:ext cx="185" cy="233"/>
            </a:xfrm>
            <a:custGeom>
              <a:avLst/>
              <a:gdLst>
                <a:gd name="T0" fmla="*/ 1 w 78"/>
                <a:gd name="T1" fmla="*/ 14 h 98"/>
                <a:gd name="T2" fmla="*/ 12 w 78"/>
                <a:gd name="T3" fmla="*/ 87 h 98"/>
                <a:gd name="T4" fmla="*/ 28 w 78"/>
                <a:gd name="T5" fmla="*/ 92 h 98"/>
                <a:gd name="T6" fmla="*/ 74 w 78"/>
                <a:gd name="T7" fmla="*/ 50 h 98"/>
                <a:gd name="T8" fmla="*/ 71 w 78"/>
                <a:gd name="T9" fmla="*/ 34 h 98"/>
                <a:gd name="T10" fmla="*/ 15 w 78"/>
                <a:gd name="T11" fmla="*/ 4 h 98"/>
                <a:gd name="T12" fmla="*/ 1 w 78"/>
                <a:gd name="T13" fmla="*/ 1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8">
                  <a:moveTo>
                    <a:pt x="1" y="14"/>
                  </a:moveTo>
                  <a:cubicBezTo>
                    <a:pt x="12" y="87"/>
                    <a:pt x="12" y="87"/>
                    <a:pt x="12" y="87"/>
                  </a:cubicBezTo>
                  <a:cubicBezTo>
                    <a:pt x="13" y="94"/>
                    <a:pt x="22" y="98"/>
                    <a:pt x="28" y="92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8" y="45"/>
                    <a:pt x="77" y="37"/>
                    <a:pt x="71" y="3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8" y="0"/>
                    <a:pt x="0" y="6"/>
                    <a:pt x="1" y="14"/>
                  </a:cubicBezTo>
                  <a:close/>
                </a:path>
              </a:pathLst>
            </a:custGeom>
            <a:solidFill>
              <a:srgbClr val="F9F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82A662F6-1402-4F08-ACF7-EE9C34E83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" y="3030"/>
              <a:ext cx="539" cy="618"/>
            </a:xfrm>
            <a:custGeom>
              <a:avLst/>
              <a:gdLst>
                <a:gd name="T0" fmla="*/ 14 w 227"/>
                <a:gd name="T1" fmla="*/ 51 h 260"/>
                <a:gd name="T2" fmla="*/ 187 w 227"/>
                <a:gd name="T3" fmla="*/ 3 h 260"/>
                <a:gd name="T4" fmla="*/ 205 w 227"/>
                <a:gd name="T5" fmla="*/ 16 h 260"/>
                <a:gd name="T6" fmla="*/ 227 w 227"/>
                <a:gd name="T7" fmla="*/ 164 h 260"/>
                <a:gd name="T8" fmla="*/ 138 w 227"/>
                <a:gd name="T9" fmla="*/ 260 h 260"/>
                <a:gd name="T10" fmla="*/ 6 w 227"/>
                <a:gd name="T11" fmla="*/ 72 h 260"/>
                <a:gd name="T12" fmla="*/ 14 w 227"/>
                <a:gd name="T13" fmla="*/ 51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7" h="260">
                  <a:moveTo>
                    <a:pt x="14" y="51"/>
                  </a:moveTo>
                  <a:cubicBezTo>
                    <a:pt x="187" y="3"/>
                    <a:pt x="187" y="3"/>
                    <a:pt x="187" y="3"/>
                  </a:cubicBezTo>
                  <a:cubicBezTo>
                    <a:pt x="196" y="0"/>
                    <a:pt x="204" y="7"/>
                    <a:pt x="205" y="16"/>
                  </a:cubicBezTo>
                  <a:cubicBezTo>
                    <a:pt x="227" y="164"/>
                    <a:pt x="227" y="164"/>
                    <a:pt x="227" y="164"/>
                  </a:cubicBezTo>
                  <a:cubicBezTo>
                    <a:pt x="138" y="260"/>
                    <a:pt x="138" y="260"/>
                    <a:pt x="138" y="260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0" y="64"/>
                    <a:pt x="4" y="53"/>
                    <a:pt x="14" y="51"/>
                  </a:cubicBezTo>
                  <a:close/>
                </a:path>
              </a:pathLst>
            </a:custGeom>
            <a:solidFill>
              <a:srgbClr val="FEDD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C6BDF79F-A4E4-4CD5-AF27-C4672BCE0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4" y="3106"/>
              <a:ext cx="174" cy="198"/>
            </a:xfrm>
            <a:custGeom>
              <a:avLst/>
              <a:gdLst>
                <a:gd name="T0" fmla="*/ 25 w 73"/>
                <a:gd name="T1" fmla="*/ 0 h 83"/>
                <a:gd name="T2" fmla="*/ 38 w 73"/>
                <a:gd name="T3" fmla="*/ 83 h 83"/>
                <a:gd name="T4" fmla="*/ 0 w 73"/>
                <a:gd name="T5" fmla="*/ 58 h 83"/>
                <a:gd name="T6" fmla="*/ 25 w 73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83">
                  <a:moveTo>
                    <a:pt x="25" y="0"/>
                  </a:moveTo>
                  <a:cubicBezTo>
                    <a:pt x="25" y="0"/>
                    <a:pt x="73" y="32"/>
                    <a:pt x="38" y="83"/>
                  </a:cubicBezTo>
                  <a:cubicBezTo>
                    <a:pt x="0" y="58"/>
                    <a:pt x="0" y="58"/>
                    <a:pt x="0" y="58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FEDD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D43EC3F2-695F-4E6A-A325-63881EB47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0" y="2788"/>
              <a:ext cx="95" cy="100"/>
            </a:xfrm>
            <a:custGeom>
              <a:avLst/>
              <a:gdLst>
                <a:gd name="T0" fmla="*/ 0 w 40"/>
                <a:gd name="T1" fmla="*/ 24 h 42"/>
                <a:gd name="T2" fmla="*/ 5 w 40"/>
                <a:gd name="T3" fmla="*/ 0 h 42"/>
                <a:gd name="T4" fmla="*/ 40 w 40"/>
                <a:gd name="T5" fmla="*/ 1 h 42"/>
                <a:gd name="T6" fmla="*/ 27 w 40"/>
                <a:gd name="T7" fmla="*/ 42 h 42"/>
                <a:gd name="T8" fmla="*/ 0 w 40"/>
                <a:gd name="T9" fmla="*/ 2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2">
                  <a:moveTo>
                    <a:pt x="0" y="24"/>
                  </a:moveTo>
                  <a:cubicBezTo>
                    <a:pt x="0" y="22"/>
                    <a:pt x="5" y="0"/>
                    <a:pt x="5" y="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27" y="42"/>
                    <a:pt x="27" y="42"/>
                    <a:pt x="27" y="42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D985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83DE325E-4CFD-46B4-8A83-742049B22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7" y="2660"/>
              <a:ext cx="171" cy="131"/>
            </a:xfrm>
            <a:custGeom>
              <a:avLst/>
              <a:gdLst>
                <a:gd name="T0" fmla="*/ 19 w 72"/>
                <a:gd name="T1" fmla="*/ 54 h 55"/>
                <a:gd name="T2" fmla="*/ 10 w 72"/>
                <a:gd name="T3" fmla="*/ 10 h 55"/>
                <a:gd name="T4" fmla="*/ 60 w 72"/>
                <a:gd name="T5" fmla="*/ 0 h 55"/>
                <a:gd name="T6" fmla="*/ 54 w 72"/>
                <a:gd name="T7" fmla="*/ 55 h 55"/>
                <a:gd name="T8" fmla="*/ 19 w 72"/>
                <a:gd name="T9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55">
                  <a:moveTo>
                    <a:pt x="19" y="54"/>
                  </a:moveTo>
                  <a:cubicBezTo>
                    <a:pt x="19" y="54"/>
                    <a:pt x="0" y="36"/>
                    <a:pt x="10" y="1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72" y="24"/>
                    <a:pt x="54" y="55"/>
                  </a:cubicBezTo>
                  <a:lnTo>
                    <a:pt x="19" y="54"/>
                  </a:lnTo>
                  <a:close/>
                </a:path>
              </a:pathLst>
            </a:custGeom>
            <a:solidFill>
              <a:srgbClr val="D985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2C7B9CA3-9502-4A22-8A9A-F5D03C741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" y="2491"/>
              <a:ext cx="197" cy="269"/>
            </a:xfrm>
            <a:custGeom>
              <a:avLst/>
              <a:gdLst>
                <a:gd name="T0" fmla="*/ 1 w 83"/>
                <a:gd name="T1" fmla="*/ 22 h 113"/>
                <a:gd name="T2" fmla="*/ 24 w 83"/>
                <a:gd name="T3" fmla="*/ 107 h 113"/>
                <a:gd name="T4" fmla="*/ 33 w 83"/>
                <a:gd name="T5" fmla="*/ 112 h 113"/>
                <a:gd name="T6" fmla="*/ 77 w 83"/>
                <a:gd name="T7" fmla="*/ 101 h 113"/>
                <a:gd name="T8" fmla="*/ 82 w 83"/>
                <a:gd name="T9" fmla="*/ 92 h 113"/>
                <a:gd name="T10" fmla="*/ 59 w 83"/>
                <a:gd name="T11" fmla="*/ 6 h 113"/>
                <a:gd name="T12" fmla="*/ 50 w 83"/>
                <a:gd name="T13" fmla="*/ 1 h 113"/>
                <a:gd name="T14" fmla="*/ 6 w 83"/>
                <a:gd name="T15" fmla="*/ 13 h 113"/>
                <a:gd name="T16" fmla="*/ 1 w 83"/>
                <a:gd name="T17" fmla="*/ 2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113">
                  <a:moveTo>
                    <a:pt x="1" y="22"/>
                  </a:moveTo>
                  <a:cubicBezTo>
                    <a:pt x="24" y="107"/>
                    <a:pt x="24" y="107"/>
                    <a:pt x="24" y="107"/>
                  </a:cubicBezTo>
                  <a:cubicBezTo>
                    <a:pt x="25" y="111"/>
                    <a:pt x="29" y="113"/>
                    <a:pt x="33" y="112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81" y="100"/>
                    <a:pt x="83" y="96"/>
                    <a:pt x="82" y="92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8" y="2"/>
                    <a:pt x="54" y="0"/>
                    <a:pt x="50" y="1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2" y="14"/>
                    <a:pt x="0" y="18"/>
                    <a:pt x="1" y="2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DF68F184-867F-4F7F-BB67-45E3EC2BD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" y="2513"/>
              <a:ext cx="149" cy="209"/>
            </a:xfrm>
            <a:custGeom>
              <a:avLst/>
              <a:gdLst>
                <a:gd name="T0" fmla="*/ 1 w 63"/>
                <a:gd name="T1" fmla="*/ 17 h 88"/>
                <a:gd name="T2" fmla="*/ 19 w 63"/>
                <a:gd name="T3" fmla="*/ 84 h 88"/>
                <a:gd name="T4" fmla="*/ 25 w 63"/>
                <a:gd name="T5" fmla="*/ 88 h 88"/>
                <a:gd name="T6" fmla="*/ 58 w 63"/>
                <a:gd name="T7" fmla="*/ 79 h 88"/>
                <a:gd name="T8" fmla="*/ 62 w 63"/>
                <a:gd name="T9" fmla="*/ 72 h 88"/>
                <a:gd name="T10" fmla="*/ 44 w 63"/>
                <a:gd name="T11" fmla="*/ 5 h 88"/>
                <a:gd name="T12" fmla="*/ 38 w 63"/>
                <a:gd name="T13" fmla="*/ 1 h 88"/>
                <a:gd name="T14" fmla="*/ 5 w 63"/>
                <a:gd name="T15" fmla="*/ 11 h 88"/>
                <a:gd name="T16" fmla="*/ 1 w 63"/>
                <a:gd name="T17" fmla="*/ 1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88">
                  <a:moveTo>
                    <a:pt x="1" y="17"/>
                  </a:moveTo>
                  <a:cubicBezTo>
                    <a:pt x="19" y="84"/>
                    <a:pt x="19" y="84"/>
                    <a:pt x="19" y="84"/>
                  </a:cubicBezTo>
                  <a:cubicBezTo>
                    <a:pt x="19" y="87"/>
                    <a:pt x="22" y="88"/>
                    <a:pt x="25" y="88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61" y="78"/>
                    <a:pt x="63" y="75"/>
                    <a:pt x="62" y="72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3" y="2"/>
                    <a:pt x="41" y="0"/>
                    <a:pt x="38" y="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14"/>
                    <a:pt x="1" y="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05EC513A-1D5F-405B-8852-A4086CB9C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" y="2560"/>
              <a:ext cx="117" cy="176"/>
            </a:xfrm>
            <a:custGeom>
              <a:avLst/>
              <a:gdLst>
                <a:gd name="T0" fmla="*/ 0 w 49"/>
                <a:gd name="T1" fmla="*/ 49 h 74"/>
                <a:gd name="T2" fmla="*/ 12 w 49"/>
                <a:gd name="T3" fmla="*/ 33 h 74"/>
                <a:gd name="T4" fmla="*/ 33 w 49"/>
                <a:gd name="T5" fmla="*/ 0 h 74"/>
                <a:gd name="T6" fmla="*/ 49 w 49"/>
                <a:gd name="T7" fmla="*/ 58 h 74"/>
                <a:gd name="T8" fmla="*/ 45 w 49"/>
                <a:gd name="T9" fmla="*/ 65 h 74"/>
                <a:gd name="T10" fmla="*/ 11 w 49"/>
                <a:gd name="T11" fmla="*/ 73 h 74"/>
                <a:gd name="T12" fmla="*/ 5 w 49"/>
                <a:gd name="T13" fmla="*/ 69 h 74"/>
                <a:gd name="T14" fmla="*/ 0 w 49"/>
                <a:gd name="T15" fmla="*/ 4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74">
                  <a:moveTo>
                    <a:pt x="0" y="49"/>
                  </a:moveTo>
                  <a:cubicBezTo>
                    <a:pt x="0" y="49"/>
                    <a:pt x="10" y="54"/>
                    <a:pt x="12" y="33"/>
                  </a:cubicBezTo>
                  <a:cubicBezTo>
                    <a:pt x="13" y="12"/>
                    <a:pt x="33" y="0"/>
                    <a:pt x="33" y="0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9" y="61"/>
                    <a:pt x="48" y="64"/>
                    <a:pt x="45" y="65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9" y="74"/>
                    <a:pt x="6" y="72"/>
                    <a:pt x="5" y="69"/>
                  </a:cubicBezTo>
                  <a:lnTo>
                    <a:pt x="0" y="49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90AF81EC-3A05-403D-B55A-FAD61A00E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" y="2648"/>
              <a:ext cx="88" cy="119"/>
            </a:xfrm>
            <a:custGeom>
              <a:avLst/>
              <a:gdLst>
                <a:gd name="T0" fmla="*/ 0 w 37"/>
                <a:gd name="T1" fmla="*/ 26 h 50"/>
                <a:gd name="T2" fmla="*/ 9 w 37"/>
                <a:gd name="T3" fmla="*/ 3 h 50"/>
                <a:gd name="T4" fmla="*/ 16 w 37"/>
                <a:gd name="T5" fmla="*/ 1 h 50"/>
                <a:gd name="T6" fmla="*/ 16 w 37"/>
                <a:gd name="T7" fmla="*/ 1 h 50"/>
                <a:gd name="T8" fmla="*/ 20 w 37"/>
                <a:gd name="T9" fmla="*/ 7 h 50"/>
                <a:gd name="T10" fmla="*/ 18 w 37"/>
                <a:gd name="T11" fmla="*/ 23 h 50"/>
                <a:gd name="T12" fmla="*/ 33 w 37"/>
                <a:gd name="T13" fmla="*/ 50 h 50"/>
                <a:gd name="T14" fmla="*/ 2 w 37"/>
                <a:gd name="T15" fmla="*/ 46 h 50"/>
                <a:gd name="T16" fmla="*/ 0 w 37"/>
                <a:gd name="T17" fmla="*/ 2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50">
                  <a:moveTo>
                    <a:pt x="0" y="26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11" y="1"/>
                    <a:pt x="14" y="0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9" y="2"/>
                    <a:pt x="20" y="4"/>
                    <a:pt x="20" y="7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37" y="38"/>
                    <a:pt x="33" y="50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26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D985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29">
              <a:extLst>
                <a:ext uri="{FF2B5EF4-FFF2-40B4-BE49-F238E27FC236}">
                  <a16:creationId xmlns:a16="http://schemas.microsoft.com/office/drawing/2014/main" id="{F3881315-E07C-470C-8E16-22C2BBA62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" y="3035"/>
              <a:ext cx="534" cy="169"/>
            </a:xfrm>
            <a:custGeom>
              <a:avLst/>
              <a:gdLst>
                <a:gd name="T0" fmla="*/ 37 w 225"/>
                <a:gd name="T1" fmla="*/ 0 h 71"/>
                <a:gd name="T2" fmla="*/ 200 w 225"/>
                <a:gd name="T3" fmla="*/ 3 h 71"/>
                <a:gd name="T4" fmla="*/ 225 w 225"/>
                <a:gd name="T5" fmla="*/ 27 h 71"/>
                <a:gd name="T6" fmla="*/ 225 w 225"/>
                <a:gd name="T7" fmla="*/ 27 h 71"/>
                <a:gd name="T8" fmla="*/ 203 w 225"/>
                <a:gd name="T9" fmla="*/ 52 h 71"/>
                <a:gd name="T10" fmla="*/ 43 w 225"/>
                <a:gd name="T11" fmla="*/ 69 h 71"/>
                <a:gd name="T12" fmla="*/ 5 w 225"/>
                <a:gd name="T13" fmla="*/ 26 h 71"/>
                <a:gd name="T14" fmla="*/ 5 w 225"/>
                <a:gd name="T15" fmla="*/ 26 h 71"/>
                <a:gd name="T16" fmla="*/ 37 w 225"/>
                <a:gd name="T1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71">
                  <a:moveTo>
                    <a:pt x="37" y="0"/>
                  </a:moveTo>
                  <a:cubicBezTo>
                    <a:pt x="200" y="3"/>
                    <a:pt x="200" y="3"/>
                    <a:pt x="200" y="3"/>
                  </a:cubicBezTo>
                  <a:cubicBezTo>
                    <a:pt x="213" y="3"/>
                    <a:pt x="224" y="14"/>
                    <a:pt x="225" y="27"/>
                  </a:cubicBezTo>
                  <a:cubicBezTo>
                    <a:pt x="225" y="27"/>
                    <a:pt x="225" y="27"/>
                    <a:pt x="225" y="27"/>
                  </a:cubicBezTo>
                  <a:cubicBezTo>
                    <a:pt x="225" y="40"/>
                    <a:pt x="215" y="51"/>
                    <a:pt x="203" y="52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20" y="71"/>
                    <a:pt x="0" y="48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9" y="11"/>
                    <a:pt x="22" y="0"/>
                    <a:pt x="37" y="0"/>
                  </a:cubicBezTo>
                  <a:close/>
                </a:path>
              </a:pathLst>
            </a:custGeom>
            <a:solidFill>
              <a:srgbClr val="FEDD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0">
              <a:extLst>
                <a:ext uri="{FF2B5EF4-FFF2-40B4-BE49-F238E27FC236}">
                  <a16:creationId xmlns:a16="http://schemas.microsoft.com/office/drawing/2014/main" id="{F1FFA076-E834-426D-933E-9633700F5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1" y="2814"/>
              <a:ext cx="209" cy="361"/>
            </a:xfrm>
            <a:custGeom>
              <a:avLst/>
              <a:gdLst>
                <a:gd name="T0" fmla="*/ 43 w 88"/>
                <a:gd name="T1" fmla="*/ 0 h 152"/>
                <a:gd name="T2" fmla="*/ 88 w 88"/>
                <a:gd name="T3" fmla="*/ 7 h 152"/>
                <a:gd name="T4" fmla="*/ 65 w 88"/>
                <a:gd name="T5" fmla="*/ 122 h 152"/>
                <a:gd name="T6" fmla="*/ 22 w 88"/>
                <a:gd name="T7" fmla="*/ 144 h 152"/>
                <a:gd name="T8" fmla="*/ 22 w 88"/>
                <a:gd name="T9" fmla="*/ 144 h 152"/>
                <a:gd name="T10" fmla="*/ 5 w 88"/>
                <a:gd name="T11" fmla="*/ 105 h 152"/>
                <a:gd name="T12" fmla="*/ 43 w 88"/>
                <a:gd name="T13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152">
                  <a:moveTo>
                    <a:pt x="43" y="0"/>
                  </a:moveTo>
                  <a:cubicBezTo>
                    <a:pt x="88" y="7"/>
                    <a:pt x="88" y="7"/>
                    <a:pt x="88" y="7"/>
                  </a:cubicBezTo>
                  <a:cubicBezTo>
                    <a:pt x="65" y="122"/>
                    <a:pt x="65" y="122"/>
                    <a:pt x="65" y="122"/>
                  </a:cubicBezTo>
                  <a:cubicBezTo>
                    <a:pt x="61" y="141"/>
                    <a:pt x="40" y="152"/>
                    <a:pt x="22" y="144"/>
                  </a:cubicBezTo>
                  <a:cubicBezTo>
                    <a:pt x="22" y="144"/>
                    <a:pt x="22" y="144"/>
                    <a:pt x="22" y="144"/>
                  </a:cubicBezTo>
                  <a:cubicBezTo>
                    <a:pt x="7" y="137"/>
                    <a:pt x="0" y="120"/>
                    <a:pt x="5" y="105"/>
                  </a:cubicBezTo>
                  <a:lnTo>
                    <a:pt x="43" y="0"/>
                  </a:lnTo>
                  <a:close/>
                </a:path>
              </a:pathLst>
            </a:custGeom>
            <a:solidFill>
              <a:srgbClr val="FEDD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13441D4E-CE1C-4D23-B613-4584AE02B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3" y="3140"/>
              <a:ext cx="342" cy="494"/>
            </a:xfrm>
            <a:custGeom>
              <a:avLst/>
              <a:gdLst>
                <a:gd name="T0" fmla="*/ 73 w 144"/>
                <a:gd name="T1" fmla="*/ 21 h 208"/>
                <a:gd name="T2" fmla="*/ 6 w 144"/>
                <a:gd name="T3" fmla="*/ 170 h 208"/>
                <a:gd name="T4" fmla="*/ 18 w 144"/>
                <a:gd name="T5" fmla="*/ 202 h 208"/>
                <a:gd name="T6" fmla="*/ 18 w 144"/>
                <a:gd name="T7" fmla="*/ 202 h 208"/>
                <a:gd name="T8" fmla="*/ 49 w 144"/>
                <a:gd name="T9" fmla="*/ 193 h 208"/>
                <a:gd name="T10" fmla="*/ 132 w 144"/>
                <a:gd name="T11" fmla="*/ 55 h 208"/>
                <a:gd name="T12" fmla="*/ 110 w 144"/>
                <a:gd name="T13" fmla="*/ 3 h 208"/>
                <a:gd name="T14" fmla="*/ 110 w 144"/>
                <a:gd name="T15" fmla="*/ 3 h 208"/>
                <a:gd name="T16" fmla="*/ 73 w 144"/>
                <a:gd name="T17" fmla="*/ 21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208">
                  <a:moveTo>
                    <a:pt x="73" y="21"/>
                  </a:moveTo>
                  <a:cubicBezTo>
                    <a:pt x="6" y="170"/>
                    <a:pt x="6" y="170"/>
                    <a:pt x="6" y="170"/>
                  </a:cubicBezTo>
                  <a:cubicBezTo>
                    <a:pt x="0" y="182"/>
                    <a:pt x="6" y="196"/>
                    <a:pt x="18" y="202"/>
                  </a:cubicBezTo>
                  <a:cubicBezTo>
                    <a:pt x="18" y="202"/>
                    <a:pt x="18" y="202"/>
                    <a:pt x="18" y="202"/>
                  </a:cubicBezTo>
                  <a:cubicBezTo>
                    <a:pt x="29" y="208"/>
                    <a:pt x="43" y="204"/>
                    <a:pt x="49" y="193"/>
                  </a:cubicBezTo>
                  <a:cubicBezTo>
                    <a:pt x="132" y="55"/>
                    <a:pt x="132" y="55"/>
                    <a:pt x="132" y="55"/>
                  </a:cubicBezTo>
                  <a:cubicBezTo>
                    <a:pt x="144" y="36"/>
                    <a:pt x="132" y="8"/>
                    <a:pt x="110" y="3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95" y="0"/>
                    <a:pt x="79" y="7"/>
                    <a:pt x="73" y="21"/>
                  </a:cubicBezTo>
                  <a:close/>
                </a:path>
              </a:pathLst>
            </a:custGeom>
            <a:solidFill>
              <a:srgbClr val="FEDD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32">
              <a:extLst>
                <a:ext uri="{FF2B5EF4-FFF2-40B4-BE49-F238E27FC236}">
                  <a16:creationId xmlns:a16="http://schemas.microsoft.com/office/drawing/2014/main" id="{E3C9A828-1A0C-4C98-8750-7BAF4D083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2" y="3814"/>
              <a:ext cx="192" cy="162"/>
            </a:xfrm>
            <a:custGeom>
              <a:avLst/>
              <a:gdLst>
                <a:gd name="T0" fmla="*/ 25 w 81"/>
                <a:gd name="T1" fmla="*/ 0 h 68"/>
                <a:gd name="T2" fmla="*/ 77 w 81"/>
                <a:gd name="T3" fmla="*/ 13 h 68"/>
                <a:gd name="T4" fmla="*/ 81 w 81"/>
                <a:gd name="T5" fmla="*/ 19 h 68"/>
                <a:gd name="T6" fmla="*/ 81 w 81"/>
                <a:gd name="T7" fmla="*/ 19 h 68"/>
                <a:gd name="T8" fmla="*/ 76 w 81"/>
                <a:gd name="T9" fmla="*/ 25 h 68"/>
                <a:gd name="T10" fmla="*/ 61 w 81"/>
                <a:gd name="T11" fmla="*/ 25 h 68"/>
                <a:gd name="T12" fmla="*/ 79 w 81"/>
                <a:gd name="T13" fmla="*/ 52 h 68"/>
                <a:gd name="T14" fmla="*/ 75 w 81"/>
                <a:gd name="T15" fmla="*/ 62 h 68"/>
                <a:gd name="T16" fmla="*/ 52 w 81"/>
                <a:gd name="T17" fmla="*/ 68 h 68"/>
                <a:gd name="T18" fmla="*/ 46 w 81"/>
                <a:gd name="T19" fmla="*/ 66 h 68"/>
                <a:gd name="T20" fmla="*/ 0 w 81"/>
                <a:gd name="T21" fmla="*/ 14 h 68"/>
                <a:gd name="T22" fmla="*/ 25 w 81"/>
                <a:gd name="T2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" h="68">
                  <a:moveTo>
                    <a:pt x="25" y="0"/>
                  </a:moveTo>
                  <a:cubicBezTo>
                    <a:pt x="77" y="13"/>
                    <a:pt x="77" y="13"/>
                    <a:pt x="77" y="13"/>
                  </a:cubicBezTo>
                  <a:cubicBezTo>
                    <a:pt x="80" y="14"/>
                    <a:pt x="81" y="17"/>
                    <a:pt x="81" y="19"/>
                  </a:cubicBezTo>
                  <a:cubicBezTo>
                    <a:pt x="81" y="19"/>
                    <a:pt x="81" y="19"/>
                    <a:pt x="81" y="19"/>
                  </a:cubicBezTo>
                  <a:cubicBezTo>
                    <a:pt x="81" y="22"/>
                    <a:pt x="79" y="25"/>
                    <a:pt x="76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81" y="56"/>
                    <a:pt x="79" y="61"/>
                    <a:pt x="75" y="62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0" y="68"/>
                    <a:pt x="48" y="68"/>
                    <a:pt x="46" y="66"/>
                  </a:cubicBezTo>
                  <a:cubicBezTo>
                    <a:pt x="36" y="57"/>
                    <a:pt x="4" y="37"/>
                    <a:pt x="0" y="14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D985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D5BFA93F-0A5D-4C5B-816B-1A0C74FE3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4" y="3686"/>
              <a:ext cx="147" cy="161"/>
            </a:xfrm>
            <a:custGeom>
              <a:avLst/>
              <a:gdLst>
                <a:gd name="T0" fmla="*/ 147 w 147"/>
                <a:gd name="T1" fmla="*/ 128 h 161"/>
                <a:gd name="T2" fmla="*/ 33 w 147"/>
                <a:gd name="T3" fmla="*/ 0 h 161"/>
                <a:gd name="T4" fmla="*/ 0 w 147"/>
                <a:gd name="T5" fmla="*/ 47 h 161"/>
                <a:gd name="T6" fmla="*/ 88 w 147"/>
                <a:gd name="T7" fmla="*/ 161 h 161"/>
                <a:gd name="T8" fmla="*/ 147 w 147"/>
                <a:gd name="T9" fmla="*/ 128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61">
                  <a:moveTo>
                    <a:pt x="147" y="128"/>
                  </a:moveTo>
                  <a:lnTo>
                    <a:pt x="33" y="0"/>
                  </a:lnTo>
                  <a:lnTo>
                    <a:pt x="0" y="47"/>
                  </a:lnTo>
                  <a:lnTo>
                    <a:pt x="88" y="161"/>
                  </a:lnTo>
                  <a:lnTo>
                    <a:pt x="147" y="128"/>
                  </a:lnTo>
                  <a:close/>
                </a:path>
              </a:pathLst>
            </a:custGeom>
            <a:solidFill>
              <a:srgbClr val="D985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851AE9F7-106F-4D9F-9000-BFC181799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3" y="3489"/>
              <a:ext cx="308" cy="373"/>
            </a:xfrm>
            <a:custGeom>
              <a:avLst/>
              <a:gdLst>
                <a:gd name="T0" fmla="*/ 130 w 130"/>
                <a:gd name="T1" fmla="*/ 123 h 157"/>
                <a:gd name="T2" fmla="*/ 95 w 130"/>
                <a:gd name="T3" fmla="*/ 157 h 157"/>
                <a:gd name="T4" fmla="*/ 13 w 130"/>
                <a:gd name="T5" fmla="*/ 56 h 157"/>
                <a:gd name="T6" fmla="*/ 21 w 130"/>
                <a:gd name="T7" fmla="*/ 8 h 157"/>
                <a:gd name="T8" fmla="*/ 21 w 130"/>
                <a:gd name="T9" fmla="*/ 8 h 157"/>
                <a:gd name="T10" fmla="*/ 62 w 130"/>
                <a:gd name="T11" fmla="*/ 18 h 157"/>
                <a:gd name="T12" fmla="*/ 130 w 130"/>
                <a:gd name="T13" fmla="*/ 123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157">
                  <a:moveTo>
                    <a:pt x="130" y="123"/>
                  </a:moveTo>
                  <a:cubicBezTo>
                    <a:pt x="95" y="157"/>
                    <a:pt x="95" y="157"/>
                    <a:pt x="95" y="15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0" y="41"/>
                    <a:pt x="4" y="1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36" y="0"/>
                    <a:pt x="54" y="5"/>
                    <a:pt x="62" y="18"/>
                  </a:cubicBezTo>
                  <a:lnTo>
                    <a:pt x="130" y="123"/>
                  </a:lnTo>
                  <a:close/>
                </a:path>
              </a:pathLst>
            </a:custGeom>
            <a:solidFill>
              <a:srgbClr val="FEDD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8705B137-B68B-479E-B61A-558F2AE44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2" y="2688"/>
              <a:ext cx="429" cy="383"/>
            </a:xfrm>
            <a:custGeom>
              <a:avLst/>
              <a:gdLst>
                <a:gd name="T0" fmla="*/ 95 w 181"/>
                <a:gd name="T1" fmla="*/ 1 h 161"/>
                <a:gd name="T2" fmla="*/ 45 w 181"/>
                <a:gd name="T3" fmla="*/ 13 h 161"/>
                <a:gd name="T4" fmla="*/ 3 w 181"/>
                <a:gd name="T5" fmla="*/ 59 h 161"/>
                <a:gd name="T6" fmla="*/ 3 w 181"/>
                <a:gd name="T7" fmla="*/ 151 h 161"/>
                <a:gd name="T8" fmla="*/ 13 w 181"/>
                <a:gd name="T9" fmla="*/ 159 h 161"/>
                <a:gd name="T10" fmla="*/ 174 w 181"/>
                <a:gd name="T11" fmla="*/ 106 h 161"/>
                <a:gd name="T12" fmla="*/ 178 w 181"/>
                <a:gd name="T13" fmla="*/ 94 h 161"/>
                <a:gd name="T14" fmla="*/ 140 w 181"/>
                <a:gd name="T15" fmla="*/ 38 h 161"/>
                <a:gd name="T16" fmla="*/ 95 w 181"/>
                <a:gd name="T17" fmla="*/ 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161">
                  <a:moveTo>
                    <a:pt x="95" y="1"/>
                  </a:moveTo>
                  <a:cubicBezTo>
                    <a:pt x="95" y="1"/>
                    <a:pt x="76" y="0"/>
                    <a:pt x="45" y="13"/>
                  </a:cubicBezTo>
                  <a:cubicBezTo>
                    <a:pt x="20" y="24"/>
                    <a:pt x="6" y="42"/>
                    <a:pt x="3" y="59"/>
                  </a:cubicBezTo>
                  <a:cubicBezTo>
                    <a:pt x="0" y="73"/>
                    <a:pt x="3" y="125"/>
                    <a:pt x="3" y="151"/>
                  </a:cubicBezTo>
                  <a:cubicBezTo>
                    <a:pt x="3" y="157"/>
                    <a:pt x="8" y="161"/>
                    <a:pt x="13" y="159"/>
                  </a:cubicBezTo>
                  <a:cubicBezTo>
                    <a:pt x="174" y="106"/>
                    <a:pt x="174" y="106"/>
                    <a:pt x="174" y="106"/>
                  </a:cubicBezTo>
                  <a:cubicBezTo>
                    <a:pt x="179" y="105"/>
                    <a:pt x="181" y="98"/>
                    <a:pt x="178" y="94"/>
                  </a:cubicBezTo>
                  <a:cubicBezTo>
                    <a:pt x="169" y="83"/>
                    <a:pt x="158" y="62"/>
                    <a:pt x="140" y="38"/>
                  </a:cubicBezTo>
                  <a:cubicBezTo>
                    <a:pt x="140" y="38"/>
                    <a:pt x="132" y="3"/>
                    <a:pt x="95" y="1"/>
                  </a:cubicBez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694C0977-5B08-4F4C-BBF7-973FF2F3F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2" y="2947"/>
              <a:ext cx="150" cy="193"/>
            </a:xfrm>
            <a:custGeom>
              <a:avLst/>
              <a:gdLst>
                <a:gd name="T0" fmla="*/ 12 w 63"/>
                <a:gd name="T1" fmla="*/ 67 h 81"/>
                <a:gd name="T2" fmla="*/ 0 w 63"/>
                <a:gd name="T3" fmla="*/ 9 h 81"/>
                <a:gd name="T4" fmla="*/ 49 w 63"/>
                <a:gd name="T5" fmla="*/ 0 h 81"/>
                <a:gd name="T6" fmla="*/ 61 w 63"/>
                <a:gd name="T7" fmla="*/ 55 h 81"/>
                <a:gd name="T8" fmla="*/ 39 w 63"/>
                <a:gd name="T9" fmla="*/ 76 h 81"/>
                <a:gd name="T10" fmla="*/ 39 w 63"/>
                <a:gd name="T11" fmla="*/ 76 h 81"/>
                <a:gd name="T12" fmla="*/ 12 w 63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81">
                  <a:moveTo>
                    <a:pt x="12" y="67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63" y="68"/>
                    <a:pt x="53" y="73"/>
                    <a:pt x="39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26" y="79"/>
                    <a:pt x="15" y="81"/>
                    <a:pt x="12" y="67"/>
                  </a:cubicBezTo>
                  <a:close/>
                </a:path>
              </a:pathLst>
            </a:custGeom>
            <a:solidFill>
              <a:srgbClr val="D985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50477073-5707-4C6D-B9BB-15A74C0C5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0" y="2978"/>
              <a:ext cx="102" cy="88"/>
            </a:xfrm>
            <a:custGeom>
              <a:avLst/>
              <a:gdLst>
                <a:gd name="T0" fmla="*/ 0 w 102"/>
                <a:gd name="T1" fmla="*/ 24 h 88"/>
                <a:gd name="T2" fmla="*/ 102 w 102"/>
                <a:gd name="T3" fmla="*/ 88 h 88"/>
                <a:gd name="T4" fmla="*/ 86 w 102"/>
                <a:gd name="T5" fmla="*/ 0 h 88"/>
                <a:gd name="T6" fmla="*/ 0 w 102"/>
                <a:gd name="T7" fmla="*/ 2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88">
                  <a:moveTo>
                    <a:pt x="0" y="24"/>
                  </a:moveTo>
                  <a:lnTo>
                    <a:pt x="102" y="88"/>
                  </a:lnTo>
                  <a:lnTo>
                    <a:pt x="86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C66A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531F19CD-4359-4C6B-A8F1-D09E04C49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3064"/>
              <a:ext cx="268" cy="121"/>
            </a:xfrm>
            <a:custGeom>
              <a:avLst/>
              <a:gdLst>
                <a:gd name="T0" fmla="*/ 0 w 113"/>
                <a:gd name="T1" fmla="*/ 24 h 51"/>
                <a:gd name="T2" fmla="*/ 50 w 113"/>
                <a:gd name="T3" fmla="*/ 9 h 51"/>
                <a:gd name="T4" fmla="*/ 87 w 113"/>
                <a:gd name="T5" fmla="*/ 0 h 51"/>
                <a:gd name="T6" fmla="*/ 69 w 113"/>
                <a:gd name="T7" fmla="*/ 38 h 51"/>
                <a:gd name="T8" fmla="*/ 0 w 113"/>
                <a:gd name="T9" fmla="*/ 2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51">
                  <a:moveTo>
                    <a:pt x="0" y="24"/>
                  </a:moveTo>
                  <a:cubicBezTo>
                    <a:pt x="50" y="9"/>
                    <a:pt x="50" y="9"/>
                    <a:pt x="50" y="9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113" y="26"/>
                    <a:pt x="69" y="38"/>
                  </a:cubicBezTo>
                  <a:cubicBezTo>
                    <a:pt x="26" y="51"/>
                    <a:pt x="0" y="24"/>
                    <a:pt x="0" y="24"/>
                  </a:cubicBezTo>
                  <a:close/>
                </a:path>
              </a:pathLst>
            </a:custGeom>
            <a:solidFill>
              <a:srgbClr val="D985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D89E23E2-F8AD-4030-8CD0-01317AB73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2814"/>
              <a:ext cx="85" cy="86"/>
            </a:xfrm>
            <a:custGeom>
              <a:avLst/>
              <a:gdLst>
                <a:gd name="T0" fmla="*/ 33 w 36"/>
                <a:gd name="T1" fmla="*/ 12 h 36"/>
                <a:gd name="T2" fmla="*/ 23 w 36"/>
                <a:gd name="T3" fmla="*/ 33 h 36"/>
                <a:gd name="T4" fmla="*/ 3 w 36"/>
                <a:gd name="T5" fmla="*/ 23 h 36"/>
                <a:gd name="T6" fmla="*/ 12 w 36"/>
                <a:gd name="T7" fmla="*/ 3 h 36"/>
                <a:gd name="T8" fmla="*/ 33 w 36"/>
                <a:gd name="T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3" y="12"/>
                  </a:moveTo>
                  <a:cubicBezTo>
                    <a:pt x="36" y="20"/>
                    <a:pt x="32" y="29"/>
                    <a:pt x="23" y="33"/>
                  </a:cubicBezTo>
                  <a:cubicBezTo>
                    <a:pt x="15" y="36"/>
                    <a:pt x="6" y="31"/>
                    <a:pt x="3" y="23"/>
                  </a:cubicBezTo>
                  <a:cubicBezTo>
                    <a:pt x="0" y="15"/>
                    <a:pt x="4" y="6"/>
                    <a:pt x="12" y="3"/>
                  </a:cubicBezTo>
                  <a:cubicBezTo>
                    <a:pt x="20" y="0"/>
                    <a:pt x="29" y="4"/>
                    <a:pt x="33" y="12"/>
                  </a:cubicBezTo>
                  <a:close/>
                </a:path>
              </a:pathLst>
            </a:custGeom>
            <a:solidFill>
              <a:srgbClr val="C66A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40">
              <a:extLst>
                <a:ext uri="{FF2B5EF4-FFF2-40B4-BE49-F238E27FC236}">
                  <a16:creationId xmlns:a16="http://schemas.microsoft.com/office/drawing/2014/main" id="{714748E4-7DB3-4239-BCEE-DF9A4961C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" y="2734"/>
              <a:ext cx="280" cy="304"/>
            </a:xfrm>
            <a:custGeom>
              <a:avLst/>
              <a:gdLst>
                <a:gd name="T0" fmla="*/ 82 w 118"/>
                <a:gd name="T1" fmla="*/ 119 h 128"/>
                <a:gd name="T2" fmla="*/ 80 w 118"/>
                <a:gd name="T3" fmla="*/ 119 h 128"/>
                <a:gd name="T4" fmla="*/ 17 w 118"/>
                <a:gd name="T5" fmla="*/ 87 h 128"/>
                <a:gd name="T6" fmla="*/ 3 w 118"/>
                <a:gd name="T7" fmla="*/ 47 h 128"/>
                <a:gd name="T8" fmla="*/ 7 w 118"/>
                <a:gd name="T9" fmla="*/ 32 h 128"/>
                <a:gd name="T10" fmla="*/ 66 w 118"/>
                <a:gd name="T11" fmla="*/ 4 h 128"/>
                <a:gd name="T12" fmla="*/ 94 w 118"/>
                <a:gd name="T13" fmla="*/ 17 h 128"/>
                <a:gd name="T14" fmla="*/ 109 w 118"/>
                <a:gd name="T15" fmla="*/ 58 h 128"/>
                <a:gd name="T16" fmla="*/ 82 w 118"/>
                <a:gd name="T17" fmla="*/ 11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128">
                  <a:moveTo>
                    <a:pt x="82" y="119"/>
                  </a:moveTo>
                  <a:cubicBezTo>
                    <a:pt x="80" y="119"/>
                    <a:pt x="80" y="119"/>
                    <a:pt x="80" y="119"/>
                  </a:cubicBezTo>
                  <a:cubicBezTo>
                    <a:pt x="56" y="128"/>
                    <a:pt x="27" y="112"/>
                    <a:pt x="17" y="8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0" y="41"/>
                    <a:pt x="1" y="34"/>
                    <a:pt x="7" y="3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77" y="0"/>
                    <a:pt x="89" y="5"/>
                    <a:pt x="94" y="17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18" y="82"/>
                    <a:pt x="106" y="109"/>
                    <a:pt x="82" y="119"/>
                  </a:cubicBezTo>
                  <a:close/>
                </a:path>
              </a:pathLst>
            </a:custGeom>
            <a:solidFill>
              <a:srgbClr val="D985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47">
              <a:extLst>
                <a:ext uri="{FF2B5EF4-FFF2-40B4-BE49-F238E27FC236}">
                  <a16:creationId xmlns:a16="http://schemas.microsoft.com/office/drawing/2014/main" id="{92AC73E0-21A8-4839-BCA4-82035E9E1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" y="2793"/>
              <a:ext cx="95" cy="116"/>
            </a:xfrm>
            <a:custGeom>
              <a:avLst/>
              <a:gdLst>
                <a:gd name="T0" fmla="*/ 26 w 40"/>
                <a:gd name="T1" fmla="*/ 49 h 49"/>
                <a:gd name="T2" fmla="*/ 29 w 40"/>
                <a:gd name="T3" fmla="*/ 22 h 49"/>
                <a:gd name="T4" fmla="*/ 0 w 40"/>
                <a:gd name="T5" fmla="*/ 9 h 49"/>
                <a:gd name="T6" fmla="*/ 12 w 40"/>
                <a:gd name="T7" fmla="*/ 48 h 49"/>
                <a:gd name="T8" fmla="*/ 26 w 40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9">
                  <a:moveTo>
                    <a:pt x="26" y="49"/>
                  </a:moveTo>
                  <a:cubicBezTo>
                    <a:pt x="26" y="49"/>
                    <a:pt x="40" y="43"/>
                    <a:pt x="29" y="22"/>
                  </a:cubicBezTo>
                  <a:cubicBezTo>
                    <a:pt x="19" y="0"/>
                    <a:pt x="0" y="9"/>
                    <a:pt x="0" y="9"/>
                  </a:cubicBezTo>
                  <a:cubicBezTo>
                    <a:pt x="12" y="48"/>
                    <a:pt x="12" y="48"/>
                    <a:pt x="12" y="48"/>
                  </a:cubicBezTo>
                  <a:lnTo>
                    <a:pt x="26" y="49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48">
              <a:extLst>
                <a:ext uri="{FF2B5EF4-FFF2-40B4-BE49-F238E27FC236}">
                  <a16:creationId xmlns:a16="http://schemas.microsoft.com/office/drawing/2014/main" id="{ABC3DB41-F68D-4729-9806-EE4299748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1" y="2738"/>
              <a:ext cx="157" cy="117"/>
            </a:xfrm>
            <a:custGeom>
              <a:avLst/>
              <a:gdLst>
                <a:gd name="T0" fmla="*/ 66 w 66"/>
                <a:gd name="T1" fmla="*/ 5 h 49"/>
                <a:gd name="T2" fmla="*/ 20 w 66"/>
                <a:gd name="T3" fmla="*/ 49 h 49"/>
                <a:gd name="T4" fmla="*/ 4 w 66"/>
                <a:gd name="T5" fmla="*/ 32 h 49"/>
                <a:gd name="T6" fmla="*/ 4 w 66"/>
                <a:gd name="T7" fmla="*/ 32 h 49"/>
                <a:gd name="T8" fmla="*/ 12 w 66"/>
                <a:gd name="T9" fmla="*/ 14 h 49"/>
                <a:gd name="T10" fmla="*/ 61 w 66"/>
                <a:gd name="T11" fmla="*/ 0 h 49"/>
                <a:gd name="T12" fmla="*/ 66 w 66"/>
                <a:gd name="T13" fmla="*/ 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49">
                  <a:moveTo>
                    <a:pt x="66" y="5"/>
                  </a:moveTo>
                  <a:cubicBezTo>
                    <a:pt x="66" y="5"/>
                    <a:pt x="60" y="39"/>
                    <a:pt x="20" y="49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0" y="25"/>
                    <a:pt x="5" y="16"/>
                    <a:pt x="12" y="14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66" y="5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49">
              <a:extLst>
                <a:ext uri="{FF2B5EF4-FFF2-40B4-BE49-F238E27FC236}">
                  <a16:creationId xmlns:a16="http://schemas.microsoft.com/office/drawing/2014/main" id="{EE1698BD-BC70-41C6-84AF-1C2BDA5FA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6" y="2719"/>
              <a:ext cx="97" cy="72"/>
            </a:xfrm>
            <a:custGeom>
              <a:avLst/>
              <a:gdLst>
                <a:gd name="T0" fmla="*/ 1 w 41"/>
                <a:gd name="T1" fmla="*/ 14 h 30"/>
                <a:gd name="T2" fmla="*/ 1 w 41"/>
                <a:gd name="T3" fmla="*/ 14 h 30"/>
                <a:gd name="T4" fmla="*/ 41 w 41"/>
                <a:gd name="T5" fmla="*/ 27 h 30"/>
                <a:gd name="T6" fmla="*/ 38 w 41"/>
                <a:gd name="T7" fmla="*/ 16 h 30"/>
                <a:gd name="T8" fmla="*/ 13 w 41"/>
                <a:gd name="T9" fmla="*/ 4 h 30"/>
                <a:gd name="T10" fmla="*/ 0 w 41"/>
                <a:gd name="T11" fmla="*/ 8 h 30"/>
                <a:gd name="T12" fmla="*/ 1 w 41"/>
                <a:gd name="T13" fmla="*/ 1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30">
                  <a:moveTo>
                    <a:pt x="1" y="14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4" y="30"/>
                    <a:pt x="41" y="27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4" y="5"/>
                    <a:pt x="23" y="0"/>
                    <a:pt x="13" y="4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1" y="14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50">
              <a:extLst>
                <a:ext uri="{FF2B5EF4-FFF2-40B4-BE49-F238E27FC236}">
                  <a16:creationId xmlns:a16="http://schemas.microsoft.com/office/drawing/2014/main" id="{937ECF02-7AB2-4D94-BEE6-D96777B9D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6" y="2886"/>
              <a:ext cx="86" cy="85"/>
            </a:xfrm>
            <a:custGeom>
              <a:avLst/>
              <a:gdLst>
                <a:gd name="T0" fmla="*/ 33 w 36"/>
                <a:gd name="T1" fmla="*/ 12 h 36"/>
                <a:gd name="T2" fmla="*/ 24 w 36"/>
                <a:gd name="T3" fmla="*/ 33 h 36"/>
                <a:gd name="T4" fmla="*/ 3 w 36"/>
                <a:gd name="T5" fmla="*/ 23 h 36"/>
                <a:gd name="T6" fmla="*/ 12 w 36"/>
                <a:gd name="T7" fmla="*/ 3 h 36"/>
                <a:gd name="T8" fmla="*/ 33 w 36"/>
                <a:gd name="T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3" y="12"/>
                  </a:moveTo>
                  <a:cubicBezTo>
                    <a:pt x="36" y="20"/>
                    <a:pt x="32" y="29"/>
                    <a:pt x="24" y="33"/>
                  </a:cubicBezTo>
                  <a:cubicBezTo>
                    <a:pt x="15" y="36"/>
                    <a:pt x="6" y="32"/>
                    <a:pt x="3" y="23"/>
                  </a:cubicBezTo>
                  <a:cubicBezTo>
                    <a:pt x="0" y="15"/>
                    <a:pt x="4" y="6"/>
                    <a:pt x="12" y="3"/>
                  </a:cubicBezTo>
                  <a:cubicBezTo>
                    <a:pt x="21" y="0"/>
                    <a:pt x="30" y="4"/>
                    <a:pt x="33" y="12"/>
                  </a:cubicBezTo>
                  <a:close/>
                </a:path>
              </a:pathLst>
            </a:custGeom>
            <a:solidFill>
              <a:srgbClr val="D985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51">
              <a:extLst>
                <a:ext uri="{FF2B5EF4-FFF2-40B4-BE49-F238E27FC236}">
                  <a16:creationId xmlns:a16="http://schemas.microsoft.com/office/drawing/2014/main" id="{DB1DC4E9-A606-422C-BFE8-F25569294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" y="3755"/>
              <a:ext cx="190" cy="171"/>
            </a:xfrm>
            <a:custGeom>
              <a:avLst/>
              <a:gdLst>
                <a:gd name="T0" fmla="*/ 0 w 190"/>
                <a:gd name="T1" fmla="*/ 28 h 171"/>
                <a:gd name="T2" fmla="*/ 133 w 190"/>
                <a:gd name="T3" fmla="*/ 171 h 171"/>
                <a:gd name="T4" fmla="*/ 190 w 190"/>
                <a:gd name="T5" fmla="*/ 85 h 171"/>
                <a:gd name="T6" fmla="*/ 121 w 190"/>
                <a:gd name="T7" fmla="*/ 0 h 171"/>
                <a:gd name="T8" fmla="*/ 0 w 190"/>
                <a:gd name="T9" fmla="*/ 2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71">
                  <a:moveTo>
                    <a:pt x="0" y="28"/>
                  </a:moveTo>
                  <a:lnTo>
                    <a:pt x="133" y="171"/>
                  </a:lnTo>
                  <a:lnTo>
                    <a:pt x="190" y="85"/>
                  </a:lnTo>
                  <a:lnTo>
                    <a:pt x="121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52">
              <a:extLst>
                <a:ext uri="{FF2B5EF4-FFF2-40B4-BE49-F238E27FC236}">
                  <a16:creationId xmlns:a16="http://schemas.microsoft.com/office/drawing/2014/main" id="{9DB9CA84-006A-47D3-B993-FC68DCC25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2" y="3771"/>
              <a:ext cx="303" cy="247"/>
            </a:xfrm>
            <a:custGeom>
              <a:avLst/>
              <a:gdLst>
                <a:gd name="T0" fmla="*/ 35 w 128"/>
                <a:gd name="T1" fmla="*/ 27 h 104"/>
                <a:gd name="T2" fmla="*/ 74 w 128"/>
                <a:gd name="T3" fmla="*/ 18 h 104"/>
                <a:gd name="T4" fmla="*/ 95 w 128"/>
                <a:gd name="T5" fmla="*/ 6 h 104"/>
                <a:gd name="T6" fmla="*/ 125 w 128"/>
                <a:gd name="T7" fmla="*/ 9 h 104"/>
                <a:gd name="T8" fmla="*/ 128 w 128"/>
                <a:gd name="T9" fmla="*/ 12 h 104"/>
                <a:gd name="T10" fmla="*/ 26 w 128"/>
                <a:gd name="T11" fmla="*/ 104 h 104"/>
                <a:gd name="T12" fmla="*/ 0 w 128"/>
                <a:gd name="T13" fmla="*/ 59 h 104"/>
                <a:gd name="T14" fmla="*/ 35 w 128"/>
                <a:gd name="T15" fmla="*/ 2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4">
                  <a:moveTo>
                    <a:pt x="35" y="27"/>
                  </a:moveTo>
                  <a:cubicBezTo>
                    <a:pt x="74" y="18"/>
                    <a:pt x="74" y="18"/>
                    <a:pt x="74" y="18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104" y="0"/>
                    <a:pt x="117" y="2"/>
                    <a:pt x="125" y="9"/>
                  </a:cubicBezTo>
                  <a:cubicBezTo>
                    <a:pt x="128" y="12"/>
                    <a:pt x="128" y="12"/>
                    <a:pt x="128" y="12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0" y="59"/>
                    <a:pt x="0" y="59"/>
                    <a:pt x="0" y="59"/>
                  </a:cubicBezTo>
                  <a:lnTo>
                    <a:pt x="35" y="27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53">
              <a:extLst>
                <a:ext uri="{FF2B5EF4-FFF2-40B4-BE49-F238E27FC236}">
                  <a16:creationId xmlns:a16="http://schemas.microsoft.com/office/drawing/2014/main" id="{3A0F6A3E-7CF6-490C-98DE-8EB1AFF7E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7" y="3781"/>
              <a:ext cx="261" cy="240"/>
            </a:xfrm>
            <a:custGeom>
              <a:avLst/>
              <a:gdLst>
                <a:gd name="T0" fmla="*/ 16 w 261"/>
                <a:gd name="T1" fmla="*/ 240 h 240"/>
                <a:gd name="T2" fmla="*/ 261 w 261"/>
                <a:gd name="T3" fmla="*/ 21 h 240"/>
                <a:gd name="T4" fmla="*/ 244 w 261"/>
                <a:gd name="T5" fmla="*/ 0 h 240"/>
                <a:gd name="T6" fmla="*/ 0 w 261"/>
                <a:gd name="T7" fmla="*/ 218 h 240"/>
                <a:gd name="T8" fmla="*/ 16 w 261"/>
                <a:gd name="T9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240">
                  <a:moveTo>
                    <a:pt x="16" y="240"/>
                  </a:moveTo>
                  <a:lnTo>
                    <a:pt x="261" y="21"/>
                  </a:lnTo>
                  <a:lnTo>
                    <a:pt x="244" y="0"/>
                  </a:lnTo>
                  <a:lnTo>
                    <a:pt x="0" y="218"/>
                  </a:lnTo>
                  <a:lnTo>
                    <a:pt x="16" y="240"/>
                  </a:lnTo>
                  <a:close/>
                </a:path>
              </a:pathLst>
            </a:custGeom>
            <a:solidFill>
              <a:srgbClr val="101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54">
              <a:extLst>
                <a:ext uri="{FF2B5EF4-FFF2-40B4-BE49-F238E27FC236}">
                  <a16:creationId xmlns:a16="http://schemas.microsoft.com/office/drawing/2014/main" id="{1E8ABE22-0666-4CAA-94B0-910425968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7" y="3781"/>
              <a:ext cx="261" cy="240"/>
            </a:xfrm>
            <a:custGeom>
              <a:avLst/>
              <a:gdLst>
                <a:gd name="T0" fmla="*/ 16 w 261"/>
                <a:gd name="T1" fmla="*/ 240 h 240"/>
                <a:gd name="T2" fmla="*/ 261 w 261"/>
                <a:gd name="T3" fmla="*/ 21 h 240"/>
                <a:gd name="T4" fmla="*/ 244 w 261"/>
                <a:gd name="T5" fmla="*/ 0 h 240"/>
                <a:gd name="T6" fmla="*/ 0 w 261"/>
                <a:gd name="T7" fmla="*/ 218 h 240"/>
                <a:gd name="T8" fmla="*/ 16 w 261"/>
                <a:gd name="T9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1" h="240">
                  <a:moveTo>
                    <a:pt x="16" y="240"/>
                  </a:moveTo>
                  <a:lnTo>
                    <a:pt x="261" y="21"/>
                  </a:lnTo>
                  <a:lnTo>
                    <a:pt x="244" y="0"/>
                  </a:lnTo>
                  <a:lnTo>
                    <a:pt x="0" y="218"/>
                  </a:lnTo>
                  <a:lnTo>
                    <a:pt x="16" y="2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55">
              <a:extLst>
                <a:ext uri="{FF2B5EF4-FFF2-40B4-BE49-F238E27FC236}">
                  <a16:creationId xmlns:a16="http://schemas.microsoft.com/office/drawing/2014/main" id="{056D9EF1-92C2-4A76-88CC-6CB75A5B1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6" y="3375"/>
              <a:ext cx="1009" cy="520"/>
            </a:xfrm>
            <a:custGeom>
              <a:avLst/>
              <a:gdLst>
                <a:gd name="T0" fmla="*/ 0 w 425"/>
                <a:gd name="T1" fmla="*/ 139 h 219"/>
                <a:gd name="T2" fmla="*/ 92 w 425"/>
                <a:gd name="T3" fmla="*/ 177 h 219"/>
                <a:gd name="T4" fmla="*/ 251 w 425"/>
                <a:gd name="T5" fmla="*/ 110 h 219"/>
                <a:gd name="T6" fmla="*/ 363 w 425"/>
                <a:gd name="T7" fmla="*/ 219 h 219"/>
                <a:gd name="T8" fmla="*/ 425 w 425"/>
                <a:gd name="T9" fmla="*/ 165 h 219"/>
                <a:gd name="T10" fmla="*/ 305 w 425"/>
                <a:gd name="T11" fmla="*/ 27 h 219"/>
                <a:gd name="T12" fmla="*/ 235 w 425"/>
                <a:gd name="T13" fmla="*/ 7 h 219"/>
                <a:gd name="T14" fmla="*/ 58 w 425"/>
                <a:gd name="T15" fmla="*/ 54 h 219"/>
                <a:gd name="T16" fmla="*/ 0 w 425"/>
                <a:gd name="T17" fmla="*/ 13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5" h="219">
                  <a:moveTo>
                    <a:pt x="0" y="139"/>
                  </a:moveTo>
                  <a:cubicBezTo>
                    <a:pt x="0" y="139"/>
                    <a:pt x="24" y="199"/>
                    <a:pt x="92" y="177"/>
                  </a:cubicBezTo>
                  <a:cubicBezTo>
                    <a:pt x="160" y="155"/>
                    <a:pt x="251" y="110"/>
                    <a:pt x="251" y="110"/>
                  </a:cubicBezTo>
                  <a:cubicBezTo>
                    <a:pt x="363" y="219"/>
                    <a:pt x="363" y="219"/>
                    <a:pt x="363" y="219"/>
                  </a:cubicBezTo>
                  <a:cubicBezTo>
                    <a:pt x="425" y="165"/>
                    <a:pt x="425" y="165"/>
                    <a:pt x="425" y="165"/>
                  </a:cubicBezTo>
                  <a:cubicBezTo>
                    <a:pt x="305" y="27"/>
                    <a:pt x="305" y="27"/>
                    <a:pt x="305" y="27"/>
                  </a:cubicBezTo>
                  <a:cubicBezTo>
                    <a:pt x="288" y="7"/>
                    <a:pt x="260" y="0"/>
                    <a:pt x="235" y="7"/>
                  </a:cubicBezTo>
                  <a:cubicBezTo>
                    <a:pt x="58" y="54"/>
                    <a:pt x="58" y="54"/>
                    <a:pt x="58" y="54"/>
                  </a:cubicBezTo>
                  <a:lnTo>
                    <a:pt x="0" y="139"/>
                  </a:lnTo>
                  <a:close/>
                </a:path>
              </a:pathLst>
            </a:custGeom>
            <a:solidFill>
              <a:srgbClr val="32B2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56">
              <a:extLst>
                <a:ext uri="{FF2B5EF4-FFF2-40B4-BE49-F238E27FC236}">
                  <a16:creationId xmlns:a16="http://schemas.microsoft.com/office/drawing/2014/main" id="{CCCFE96F-4BA1-4C21-8E3A-CF53F2B4C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3" y="3223"/>
              <a:ext cx="195" cy="126"/>
            </a:xfrm>
            <a:custGeom>
              <a:avLst/>
              <a:gdLst>
                <a:gd name="T0" fmla="*/ 0 w 195"/>
                <a:gd name="T1" fmla="*/ 97 h 126"/>
                <a:gd name="T2" fmla="*/ 195 w 195"/>
                <a:gd name="T3" fmla="*/ 126 h 126"/>
                <a:gd name="T4" fmla="*/ 183 w 195"/>
                <a:gd name="T5" fmla="*/ 21 h 126"/>
                <a:gd name="T6" fmla="*/ 76 w 195"/>
                <a:gd name="T7" fmla="*/ 0 h 126"/>
                <a:gd name="T8" fmla="*/ 0 w 195"/>
                <a:gd name="T9" fmla="*/ 9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26">
                  <a:moveTo>
                    <a:pt x="0" y="97"/>
                  </a:moveTo>
                  <a:lnTo>
                    <a:pt x="195" y="126"/>
                  </a:lnTo>
                  <a:lnTo>
                    <a:pt x="183" y="21"/>
                  </a:lnTo>
                  <a:lnTo>
                    <a:pt x="76" y="0"/>
                  </a:lnTo>
                  <a:lnTo>
                    <a:pt x="0" y="97"/>
                  </a:ln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57">
              <a:extLst>
                <a:ext uri="{FF2B5EF4-FFF2-40B4-BE49-F238E27FC236}">
                  <a16:creationId xmlns:a16="http://schemas.microsoft.com/office/drawing/2014/main" id="{C5EF2AC8-6B1B-4C57-AB28-250440316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7" y="3076"/>
              <a:ext cx="169" cy="323"/>
            </a:xfrm>
            <a:custGeom>
              <a:avLst/>
              <a:gdLst>
                <a:gd name="T0" fmla="*/ 7 w 71"/>
                <a:gd name="T1" fmla="*/ 71 h 136"/>
                <a:gd name="T2" fmla="*/ 32 w 71"/>
                <a:gd name="T3" fmla="*/ 39 h 136"/>
                <a:gd name="T4" fmla="*/ 41 w 71"/>
                <a:gd name="T5" fmla="*/ 16 h 136"/>
                <a:gd name="T6" fmla="*/ 66 w 71"/>
                <a:gd name="T7" fmla="*/ 0 h 136"/>
                <a:gd name="T8" fmla="*/ 71 w 71"/>
                <a:gd name="T9" fmla="*/ 1 h 136"/>
                <a:gd name="T10" fmla="*/ 48 w 71"/>
                <a:gd name="T11" fmla="*/ 136 h 136"/>
                <a:gd name="T12" fmla="*/ 0 w 71"/>
                <a:gd name="T13" fmla="*/ 118 h 136"/>
                <a:gd name="T14" fmla="*/ 7 w 71"/>
                <a:gd name="T15" fmla="*/ 7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136">
                  <a:moveTo>
                    <a:pt x="7" y="71"/>
                  </a:moveTo>
                  <a:cubicBezTo>
                    <a:pt x="32" y="39"/>
                    <a:pt x="32" y="39"/>
                    <a:pt x="32" y="39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5" y="6"/>
                    <a:pt x="55" y="0"/>
                    <a:pt x="66" y="0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48" y="136"/>
                    <a:pt x="48" y="136"/>
                    <a:pt x="48" y="136"/>
                  </a:cubicBezTo>
                  <a:cubicBezTo>
                    <a:pt x="0" y="118"/>
                    <a:pt x="0" y="118"/>
                    <a:pt x="0" y="118"/>
                  </a:cubicBezTo>
                  <a:lnTo>
                    <a:pt x="7" y="71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58">
              <a:extLst>
                <a:ext uri="{FF2B5EF4-FFF2-40B4-BE49-F238E27FC236}">
                  <a16:creationId xmlns:a16="http://schemas.microsoft.com/office/drawing/2014/main" id="{8ED30AA4-43CE-4EFA-AD6B-C198BAE58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7" y="3071"/>
              <a:ext cx="81" cy="328"/>
            </a:xfrm>
            <a:custGeom>
              <a:avLst/>
              <a:gdLst>
                <a:gd name="T0" fmla="*/ 26 w 81"/>
                <a:gd name="T1" fmla="*/ 328 h 328"/>
                <a:gd name="T2" fmla="*/ 81 w 81"/>
                <a:gd name="T3" fmla="*/ 5 h 328"/>
                <a:gd name="T4" fmla="*/ 55 w 81"/>
                <a:gd name="T5" fmla="*/ 0 h 328"/>
                <a:gd name="T6" fmla="*/ 0 w 81"/>
                <a:gd name="T7" fmla="*/ 325 h 328"/>
                <a:gd name="T8" fmla="*/ 26 w 81"/>
                <a:gd name="T9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328">
                  <a:moveTo>
                    <a:pt x="26" y="328"/>
                  </a:moveTo>
                  <a:lnTo>
                    <a:pt x="81" y="5"/>
                  </a:lnTo>
                  <a:lnTo>
                    <a:pt x="55" y="0"/>
                  </a:lnTo>
                  <a:lnTo>
                    <a:pt x="0" y="325"/>
                  </a:lnTo>
                  <a:lnTo>
                    <a:pt x="26" y="328"/>
                  </a:lnTo>
                  <a:close/>
                </a:path>
              </a:pathLst>
            </a:custGeom>
            <a:solidFill>
              <a:srgbClr val="101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59">
              <a:extLst>
                <a:ext uri="{FF2B5EF4-FFF2-40B4-BE49-F238E27FC236}">
                  <a16:creationId xmlns:a16="http://schemas.microsoft.com/office/drawing/2014/main" id="{EBD5B04E-8BB7-4161-B27E-BB1893557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7" y="3071"/>
              <a:ext cx="81" cy="328"/>
            </a:xfrm>
            <a:custGeom>
              <a:avLst/>
              <a:gdLst>
                <a:gd name="T0" fmla="*/ 26 w 81"/>
                <a:gd name="T1" fmla="*/ 328 h 328"/>
                <a:gd name="T2" fmla="*/ 81 w 81"/>
                <a:gd name="T3" fmla="*/ 5 h 328"/>
                <a:gd name="T4" fmla="*/ 55 w 81"/>
                <a:gd name="T5" fmla="*/ 0 h 328"/>
                <a:gd name="T6" fmla="*/ 0 w 81"/>
                <a:gd name="T7" fmla="*/ 325 h 328"/>
                <a:gd name="T8" fmla="*/ 26 w 81"/>
                <a:gd name="T9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328">
                  <a:moveTo>
                    <a:pt x="26" y="328"/>
                  </a:moveTo>
                  <a:lnTo>
                    <a:pt x="81" y="5"/>
                  </a:lnTo>
                  <a:lnTo>
                    <a:pt x="55" y="0"/>
                  </a:lnTo>
                  <a:lnTo>
                    <a:pt x="0" y="325"/>
                  </a:lnTo>
                  <a:lnTo>
                    <a:pt x="26" y="3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60">
              <a:extLst>
                <a:ext uri="{FF2B5EF4-FFF2-40B4-BE49-F238E27FC236}">
                  <a16:creationId xmlns:a16="http://schemas.microsoft.com/office/drawing/2014/main" id="{ECD64C1B-1F77-4DE6-82E5-0C4B9ED64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" y="3099"/>
              <a:ext cx="948" cy="748"/>
            </a:xfrm>
            <a:custGeom>
              <a:avLst/>
              <a:gdLst>
                <a:gd name="T0" fmla="*/ 399 w 399"/>
                <a:gd name="T1" fmla="*/ 38 h 315"/>
                <a:gd name="T2" fmla="*/ 220 w 399"/>
                <a:gd name="T3" fmla="*/ 5 h 315"/>
                <a:gd name="T4" fmla="*/ 153 w 399"/>
                <a:gd name="T5" fmla="*/ 33 h 315"/>
                <a:gd name="T6" fmla="*/ 44 w 399"/>
                <a:gd name="T7" fmla="*/ 180 h 315"/>
                <a:gd name="T8" fmla="*/ 0 w 399"/>
                <a:gd name="T9" fmla="*/ 231 h 315"/>
                <a:gd name="T10" fmla="*/ 52 w 399"/>
                <a:gd name="T11" fmla="*/ 283 h 315"/>
                <a:gd name="T12" fmla="*/ 147 w 399"/>
                <a:gd name="T13" fmla="*/ 255 h 315"/>
                <a:gd name="T14" fmla="*/ 229 w 399"/>
                <a:gd name="T15" fmla="*/ 104 h 315"/>
                <a:gd name="T16" fmla="*/ 385 w 399"/>
                <a:gd name="T17" fmla="*/ 119 h 315"/>
                <a:gd name="T18" fmla="*/ 399 w 399"/>
                <a:gd name="T19" fmla="*/ 38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9" h="315">
                  <a:moveTo>
                    <a:pt x="399" y="38"/>
                  </a:moveTo>
                  <a:cubicBezTo>
                    <a:pt x="220" y="5"/>
                    <a:pt x="220" y="5"/>
                    <a:pt x="220" y="5"/>
                  </a:cubicBezTo>
                  <a:cubicBezTo>
                    <a:pt x="194" y="0"/>
                    <a:pt x="168" y="12"/>
                    <a:pt x="153" y="33"/>
                  </a:cubicBezTo>
                  <a:cubicBezTo>
                    <a:pt x="44" y="180"/>
                    <a:pt x="44" y="180"/>
                    <a:pt x="44" y="180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28" y="271"/>
                    <a:pt x="52" y="283"/>
                    <a:pt x="52" y="283"/>
                  </a:cubicBezTo>
                  <a:cubicBezTo>
                    <a:pt x="52" y="283"/>
                    <a:pt x="108" y="315"/>
                    <a:pt x="147" y="255"/>
                  </a:cubicBezTo>
                  <a:cubicBezTo>
                    <a:pt x="187" y="195"/>
                    <a:pt x="229" y="104"/>
                    <a:pt x="229" y="104"/>
                  </a:cubicBezTo>
                  <a:cubicBezTo>
                    <a:pt x="385" y="119"/>
                    <a:pt x="385" y="119"/>
                    <a:pt x="385" y="119"/>
                  </a:cubicBezTo>
                  <a:lnTo>
                    <a:pt x="399" y="38"/>
                  </a:lnTo>
                  <a:close/>
                </a:path>
              </a:pathLst>
            </a:custGeom>
            <a:solidFill>
              <a:srgbClr val="43CA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61">
              <a:extLst>
                <a:ext uri="{FF2B5EF4-FFF2-40B4-BE49-F238E27FC236}">
                  <a16:creationId xmlns:a16="http://schemas.microsoft.com/office/drawing/2014/main" id="{4370BB2E-2137-4224-969F-A07234A1A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6" y="1651"/>
              <a:ext cx="159" cy="104"/>
            </a:xfrm>
            <a:custGeom>
              <a:avLst/>
              <a:gdLst>
                <a:gd name="T0" fmla="*/ 10 w 159"/>
                <a:gd name="T1" fmla="*/ 0 h 104"/>
                <a:gd name="T2" fmla="*/ 159 w 159"/>
                <a:gd name="T3" fmla="*/ 4 h 104"/>
                <a:gd name="T4" fmla="*/ 147 w 159"/>
                <a:gd name="T5" fmla="*/ 104 h 104"/>
                <a:gd name="T6" fmla="*/ 0 w 159"/>
                <a:gd name="T7" fmla="*/ 90 h 104"/>
                <a:gd name="T8" fmla="*/ 10 w 159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104">
                  <a:moveTo>
                    <a:pt x="10" y="0"/>
                  </a:moveTo>
                  <a:lnTo>
                    <a:pt x="159" y="4"/>
                  </a:lnTo>
                  <a:lnTo>
                    <a:pt x="147" y="104"/>
                  </a:lnTo>
                  <a:lnTo>
                    <a:pt x="0" y="9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FF6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62">
              <a:extLst>
                <a:ext uri="{FF2B5EF4-FFF2-40B4-BE49-F238E27FC236}">
                  <a16:creationId xmlns:a16="http://schemas.microsoft.com/office/drawing/2014/main" id="{70443D1D-602A-40B6-9D56-7632E69F6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9" y="1627"/>
              <a:ext cx="138" cy="344"/>
            </a:xfrm>
            <a:custGeom>
              <a:avLst/>
              <a:gdLst>
                <a:gd name="T0" fmla="*/ 0 w 58"/>
                <a:gd name="T1" fmla="*/ 58 h 145"/>
                <a:gd name="T2" fmla="*/ 19 w 58"/>
                <a:gd name="T3" fmla="*/ 97 h 145"/>
                <a:gd name="T4" fmla="*/ 23 w 58"/>
                <a:gd name="T5" fmla="*/ 122 h 145"/>
                <a:gd name="T6" fmla="*/ 45 w 58"/>
                <a:gd name="T7" fmla="*/ 144 h 145"/>
                <a:gd name="T8" fmla="*/ 50 w 58"/>
                <a:gd name="T9" fmla="*/ 145 h 145"/>
                <a:gd name="T10" fmla="*/ 58 w 58"/>
                <a:gd name="T11" fmla="*/ 0 h 145"/>
                <a:gd name="T12" fmla="*/ 4 w 58"/>
                <a:gd name="T13" fmla="*/ 8 h 145"/>
                <a:gd name="T14" fmla="*/ 0 w 58"/>
                <a:gd name="T15" fmla="*/ 58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145">
                  <a:moveTo>
                    <a:pt x="0" y="58"/>
                  </a:moveTo>
                  <a:cubicBezTo>
                    <a:pt x="19" y="97"/>
                    <a:pt x="19" y="97"/>
                    <a:pt x="19" y="97"/>
                  </a:cubicBezTo>
                  <a:cubicBezTo>
                    <a:pt x="23" y="122"/>
                    <a:pt x="23" y="122"/>
                    <a:pt x="23" y="122"/>
                  </a:cubicBezTo>
                  <a:cubicBezTo>
                    <a:pt x="24" y="133"/>
                    <a:pt x="33" y="142"/>
                    <a:pt x="45" y="144"/>
                  </a:cubicBezTo>
                  <a:cubicBezTo>
                    <a:pt x="50" y="145"/>
                    <a:pt x="50" y="145"/>
                    <a:pt x="50" y="145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" y="8"/>
                    <a:pt x="4" y="8"/>
                    <a:pt x="4" y="8"/>
                  </a:cubicBezTo>
                  <a:lnTo>
                    <a:pt x="0" y="58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63">
              <a:extLst>
                <a:ext uri="{FF2B5EF4-FFF2-40B4-BE49-F238E27FC236}">
                  <a16:creationId xmlns:a16="http://schemas.microsoft.com/office/drawing/2014/main" id="{406E4959-42CA-4010-8959-C6E5AEAA2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2" y="1624"/>
              <a:ext cx="47" cy="347"/>
            </a:xfrm>
            <a:custGeom>
              <a:avLst/>
              <a:gdLst>
                <a:gd name="T0" fmla="*/ 47 w 47"/>
                <a:gd name="T1" fmla="*/ 3 h 347"/>
                <a:gd name="T2" fmla="*/ 28 w 47"/>
                <a:gd name="T3" fmla="*/ 347 h 347"/>
                <a:gd name="T4" fmla="*/ 0 w 47"/>
                <a:gd name="T5" fmla="*/ 347 h 347"/>
                <a:gd name="T6" fmla="*/ 19 w 47"/>
                <a:gd name="T7" fmla="*/ 0 h 347"/>
                <a:gd name="T8" fmla="*/ 47 w 47"/>
                <a:gd name="T9" fmla="*/ 3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47">
                  <a:moveTo>
                    <a:pt x="47" y="3"/>
                  </a:moveTo>
                  <a:lnTo>
                    <a:pt x="28" y="347"/>
                  </a:lnTo>
                  <a:lnTo>
                    <a:pt x="0" y="347"/>
                  </a:lnTo>
                  <a:lnTo>
                    <a:pt x="19" y="0"/>
                  </a:lnTo>
                  <a:lnTo>
                    <a:pt x="47" y="3"/>
                  </a:lnTo>
                  <a:close/>
                </a:path>
              </a:pathLst>
            </a:custGeom>
            <a:solidFill>
              <a:srgbClr val="101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64">
              <a:extLst>
                <a:ext uri="{FF2B5EF4-FFF2-40B4-BE49-F238E27FC236}">
                  <a16:creationId xmlns:a16="http://schemas.microsoft.com/office/drawing/2014/main" id="{DD828104-3C47-40DB-9D16-8EA10D145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2" y="1624"/>
              <a:ext cx="47" cy="347"/>
            </a:xfrm>
            <a:custGeom>
              <a:avLst/>
              <a:gdLst>
                <a:gd name="T0" fmla="*/ 47 w 47"/>
                <a:gd name="T1" fmla="*/ 3 h 347"/>
                <a:gd name="T2" fmla="*/ 28 w 47"/>
                <a:gd name="T3" fmla="*/ 347 h 347"/>
                <a:gd name="T4" fmla="*/ 0 w 47"/>
                <a:gd name="T5" fmla="*/ 347 h 347"/>
                <a:gd name="T6" fmla="*/ 19 w 47"/>
                <a:gd name="T7" fmla="*/ 0 h 347"/>
                <a:gd name="T8" fmla="*/ 47 w 47"/>
                <a:gd name="T9" fmla="*/ 3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47">
                  <a:moveTo>
                    <a:pt x="47" y="3"/>
                  </a:moveTo>
                  <a:lnTo>
                    <a:pt x="28" y="347"/>
                  </a:lnTo>
                  <a:lnTo>
                    <a:pt x="0" y="347"/>
                  </a:lnTo>
                  <a:lnTo>
                    <a:pt x="19" y="0"/>
                  </a:lnTo>
                  <a:lnTo>
                    <a:pt x="47" y="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65">
              <a:extLst>
                <a:ext uri="{FF2B5EF4-FFF2-40B4-BE49-F238E27FC236}">
                  <a16:creationId xmlns:a16="http://schemas.microsoft.com/office/drawing/2014/main" id="{E8DE44AC-BFC6-410C-9A34-7EB6415E5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1" y="1577"/>
              <a:ext cx="409" cy="185"/>
            </a:xfrm>
            <a:custGeom>
              <a:avLst/>
              <a:gdLst>
                <a:gd name="T0" fmla="*/ 172 w 172"/>
                <a:gd name="T1" fmla="*/ 23 h 78"/>
                <a:gd name="T2" fmla="*/ 77 w 172"/>
                <a:gd name="T3" fmla="*/ 13 h 78"/>
                <a:gd name="T4" fmla="*/ 76 w 172"/>
                <a:gd name="T5" fmla="*/ 0 h 78"/>
                <a:gd name="T6" fmla="*/ 0 w 172"/>
                <a:gd name="T7" fmla="*/ 68 h 78"/>
                <a:gd name="T8" fmla="*/ 170 w 172"/>
                <a:gd name="T9" fmla="*/ 78 h 78"/>
                <a:gd name="T10" fmla="*/ 172 w 172"/>
                <a:gd name="T11" fmla="*/ 2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2" h="78">
                  <a:moveTo>
                    <a:pt x="172" y="23"/>
                  </a:moveTo>
                  <a:cubicBezTo>
                    <a:pt x="77" y="13"/>
                    <a:pt x="77" y="13"/>
                    <a:pt x="77" y="13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52" y="24"/>
                    <a:pt x="26" y="46"/>
                    <a:pt x="0" y="68"/>
                  </a:cubicBezTo>
                  <a:cubicBezTo>
                    <a:pt x="99" y="78"/>
                    <a:pt x="170" y="78"/>
                    <a:pt x="170" y="78"/>
                  </a:cubicBezTo>
                  <a:lnTo>
                    <a:pt x="172" y="23"/>
                  </a:lnTo>
                  <a:close/>
                </a:path>
              </a:pathLst>
            </a:custGeom>
            <a:solidFill>
              <a:srgbClr val="1515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66">
              <a:extLst>
                <a:ext uri="{FF2B5EF4-FFF2-40B4-BE49-F238E27FC236}">
                  <a16:creationId xmlns:a16="http://schemas.microsoft.com/office/drawing/2014/main" id="{BB6A5AAD-232A-4EBA-98C9-5E55C7153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" y="1285"/>
              <a:ext cx="523" cy="453"/>
            </a:xfrm>
            <a:custGeom>
              <a:avLst/>
              <a:gdLst>
                <a:gd name="T0" fmla="*/ 212 w 220"/>
                <a:gd name="T1" fmla="*/ 38 h 191"/>
                <a:gd name="T2" fmla="*/ 162 w 220"/>
                <a:gd name="T3" fmla="*/ 0 h 191"/>
                <a:gd name="T4" fmla="*/ 130 w 220"/>
                <a:gd name="T5" fmla="*/ 189 h 191"/>
                <a:gd name="T6" fmla="*/ 144 w 220"/>
                <a:gd name="T7" fmla="*/ 191 h 191"/>
                <a:gd name="T8" fmla="*/ 220 w 220"/>
                <a:gd name="T9" fmla="*/ 123 h 191"/>
                <a:gd name="T10" fmla="*/ 212 w 220"/>
                <a:gd name="T11" fmla="*/ 38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0" h="191">
                  <a:moveTo>
                    <a:pt x="212" y="38"/>
                  </a:moveTo>
                  <a:cubicBezTo>
                    <a:pt x="162" y="0"/>
                    <a:pt x="162" y="0"/>
                    <a:pt x="162" y="0"/>
                  </a:cubicBezTo>
                  <a:cubicBezTo>
                    <a:pt x="162" y="0"/>
                    <a:pt x="0" y="166"/>
                    <a:pt x="130" y="189"/>
                  </a:cubicBezTo>
                  <a:cubicBezTo>
                    <a:pt x="135" y="190"/>
                    <a:pt x="139" y="190"/>
                    <a:pt x="144" y="191"/>
                  </a:cubicBezTo>
                  <a:cubicBezTo>
                    <a:pt x="170" y="169"/>
                    <a:pt x="196" y="147"/>
                    <a:pt x="220" y="123"/>
                  </a:cubicBezTo>
                  <a:lnTo>
                    <a:pt x="212" y="38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67">
              <a:extLst>
                <a:ext uri="{FF2B5EF4-FFF2-40B4-BE49-F238E27FC236}">
                  <a16:creationId xmlns:a16="http://schemas.microsoft.com/office/drawing/2014/main" id="{1A7F182C-EA32-40FD-B1B9-231517430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" y="1161"/>
              <a:ext cx="503" cy="402"/>
            </a:xfrm>
            <a:custGeom>
              <a:avLst/>
              <a:gdLst>
                <a:gd name="T0" fmla="*/ 58 w 212"/>
                <a:gd name="T1" fmla="*/ 16 h 169"/>
                <a:gd name="T2" fmla="*/ 0 w 212"/>
                <a:gd name="T3" fmla="*/ 90 h 169"/>
                <a:gd name="T4" fmla="*/ 146 w 212"/>
                <a:gd name="T5" fmla="*/ 169 h 169"/>
                <a:gd name="T6" fmla="*/ 205 w 212"/>
                <a:gd name="T7" fmla="*/ 92 h 169"/>
                <a:gd name="T8" fmla="*/ 83 w 212"/>
                <a:gd name="T9" fmla="*/ 0 h 169"/>
                <a:gd name="T10" fmla="*/ 58 w 212"/>
                <a:gd name="T11" fmla="*/ 1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69">
                  <a:moveTo>
                    <a:pt x="58" y="16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146" y="169"/>
                    <a:pt x="146" y="169"/>
                    <a:pt x="146" y="169"/>
                  </a:cubicBezTo>
                  <a:cubicBezTo>
                    <a:pt x="146" y="169"/>
                    <a:pt x="200" y="123"/>
                    <a:pt x="205" y="92"/>
                  </a:cubicBezTo>
                  <a:cubicBezTo>
                    <a:pt x="212" y="55"/>
                    <a:pt x="83" y="0"/>
                    <a:pt x="83" y="0"/>
                  </a:cubicBezTo>
                  <a:lnTo>
                    <a:pt x="58" y="16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68">
              <a:extLst>
                <a:ext uri="{FF2B5EF4-FFF2-40B4-BE49-F238E27FC236}">
                  <a16:creationId xmlns:a16="http://schemas.microsoft.com/office/drawing/2014/main" id="{D4B303D9-83A1-4DD5-8F63-CB9D6840F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" y="2249"/>
              <a:ext cx="136" cy="171"/>
            </a:xfrm>
            <a:custGeom>
              <a:avLst/>
              <a:gdLst>
                <a:gd name="T0" fmla="*/ 136 w 136"/>
                <a:gd name="T1" fmla="*/ 0 h 171"/>
                <a:gd name="T2" fmla="*/ 102 w 136"/>
                <a:gd name="T3" fmla="*/ 164 h 171"/>
                <a:gd name="T4" fmla="*/ 0 w 136"/>
                <a:gd name="T5" fmla="*/ 171 h 171"/>
                <a:gd name="T6" fmla="*/ 33 w 136"/>
                <a:gd name="T7" fmla="*/ 12 h 171"/>
                <a:gd name="T8" fmla="*/ 136 w 136"/>
                <a:gd name="T9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71">
                  <a:moveTo>
                    <a:pt x="136" y="0"/>
                  </a:moveTo>
                  <a:lnTo>
                    <a:pt x="102" y="164"/>
                  </a:lnTo>
                  <a:lnTo>
                    <a:pt x="0" y="171"/>
                  </a:lnTo>
                  <a:lnTo>
                    <a:pt x="33" y="12"/>
                  </a:lnTo>
                  <a:lnTo>
                    <a:pt x="136" y="0"/>
                  </a:lnTo>
                  <a:close/>
                </a:path>
              </a:pathLst>
            </a:custGeom>
            <a:solidFill>
              <a:srgbClr val="FF6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69">
              <a:extLst>
                <a:ext uri="{FF2B5EF4-FFF2-40B4-BE49-F238E27FC236}">
                  <a16:creationId xmlns:a16="http://schemas.microsoft.com/office/drawing/2014/main" id="{BB129F0C-55C8-4A22-BB38-EDFC6877E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9" y="2389"/>
              <a:ext cx="342" cy="181"/>
            </a:xfrm>
            <a:custGeom>
              <a:avLst/>
              <a:gdLst>
                <a:gd name="T0" fmla="*/ 75 w 144"/>
                <a:gd name="T1" fmla="*/ 8 h 76"/>
                <a:gd name="T2" fmla="*/ 42 w 144"/>
                <a:gd name="T3" fmla="*/ 35 h 76"/>
                <a:gd name="T4" fmla="*/ 18 w 144"/>
                <a:gd name="T5" fmla="*/ 44 h 76"/>
                <a:gd name="T6" fmla="*/ 1 w 144"/>
                <a:gd name="T7" fmla="*/ 70 h 76"/>
                <a:gd name="T8" fmla="*/ 2 w 144"/>
                <a:gd name="T9" fmla="*/ 76 h 76"/>
                <a:gd name="T10" fmla="*/ 144 w 144"/>
                <a:gd name="T11" fmla="*/ 51 h 76"/>
                <a:gd name="T12" fmla="*/ 125 w 144"/>
                <a:gd name="T13" fmla="*/ 0 h 76"/>
                <a:gd name="T14" fmla="*/ 75 w 144"/>
                <a:gd name="T15" fmla="*/ 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76">
                  <a:moveTo>
                    <a:pt x="75" y="8"/>
                  </a:moveTo>
                  <a:cubicBezTo>
                    <a:pt x="42" y="35"/>
                    <a:pt x="42" y="35"/>
                    <a:pt x="42" y="35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7" y="48"/>
                    <a:pt x="0" y="58"/>
                    <a:pt x="1" y="70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144" y="51"/>
                    <a:pt x="144" y="51"/>
                    <a:pt x="144" y="51"/>
                  </a:cubicBezTo>
                  <a:cubicBezTo>
                    <a:pt x="125" y="0"/>
                    <a:pt x="125" y="0"/>
                    <a:pt x="125" y="0"/>
                  </a:cubicBezTo>
                  <a:lnTo>
                    <a:pt x="75" y="8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70">
              <a:extLst>
                <a:ext uri="{FF2B5EF4-FFF2-40B4-BE49-F238E27FC236}">
                  <a16:creationId xmlns:a16="http://schemas.microsoft.com/office/drawing/2014/main" id="{6A533754-7EC1-4C3F-BB34-F1FE6CB99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6" y="2484"/>
              <a:ext cx="347" cy="86"/>
            </a:xfrm>
            <a:custGeom>
              <a:avLst/>
              <a:gdLst>
                <a:gd name="T0" fmla="*/ 347 w 347"/>
                <a:gd name="T1" fmla="*/ 29 h 86"/>
                <a:gd name="T2" fmla="*/ 5 w 347"/>
                <a:gd name="T3" fmla="*/ 86 h 86"/>
                <a:gd name="T4" fmla="*/ 0 w 347"/>
                <a:gd name="T5" fmla="*/ 60 h 86"/>
                <a:gd name="T6" fmla="*/ 342 w 347"/>
                <a:gd name="T7" fmla="*/ 0 h 86"/>
                <a:gd name="T8" fmla="*/ 347 w 347"/>
                <a:gd name="T9" fmla="*/ 2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7" h="86">
                  <a:moveTo>
                    <a:pt x="347" y="29"/>
                  </a:moveTo>
                  <a:lnTo>
                    <a:pt x="5" y="86"/>
                  </a:lnTo>
                  <a:lnTo>
                    <a:pt x="0" y="60"/>
                  </a:lnTo>
                  <a:lnTo>
                    <a:pt x="342" y="0"/>
                  </a:lnTo>
                  <a:lnTo>
                    <a:pt x="347" y="29"/>
                  </a:lnTo>
                  <a:close/>
                </a:path>
              </a:pathLst>
            </a:custGeom>
            <a:solidFill>
              <a:srgbClr val="1010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71">
              <a:extLst>
                <a:ext uri="{FF2B5EF4-FFF2-40B4-BE49-F238E27FC236}">
                  <a16:creationId xmlns:a16="http://schemas.microsoft.com/office/drawing/2014/main" id="{2D1BFB85-0D19-47BD-83B7-4A3358D1B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6" y="2484"/>
              <a:ext cx="347" cy="86"/>
            </a:xfrm>
            <a:custGeom>
              <a:avLst/>
              <a:gdLst>
                <a:gd name="T0" fmla="*/ 347 w 347"/>
                <a:gd name="T1" fmla="*/ 29 h 86"/>
                <a:gd name="T2" fmla="*/ 5 w 347"/>
                <a:gd name="T3" fmla="*/ 86 h 86"/>
                <a:gd name="T4" fmla="*/ 0 w 347"/>
                <a:gd name="T5" fmla="*/ 60 h 86"/>
                <a:gd name="T6" fmla="*/ 342 w 347"/>
                <a:gd name="T7" fmla="*/ 0 h 86"/>
                <a:gd name="T8" fmla="*/ 347 w 347"/>
                <a:gd name="T9" fmla="*/ 2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7" h="86">
                  <a:moveTo>
                    <a:pt x="347" y="29"/>
                  </a:moveTo>
                  <a:lnTo>
                    <a:pt x="5" y="86"/>
                  </a:lnTo>
                  <a:lnTo>
                    <a:pt x="0" y="60"/>
                  </a:lnTo>
                  <a:lnTo>
                    <a:pt x="342" y="0"/>
                  </a:lnTo>
                  <a:lnTo>
                    <a:pt x="347" y="2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72">
              <a:extLst>
                <a:ext uri="{FF2B5EF4-FFF2-40B4-BE49-F238E27FC236}">
                  <a16:creationId xmlns:a16="http://schemas.microsoft.com/office/drawing/2014/main" id="{A80C6978-FC5E-4521-8D61-CD640251A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4" y="1375"/>
              <a:ext cx="548" cy="945"/>
            </a:xfrm>
            <a:custGeom>
              <a:avLst/>
              <a:gdLst>
                <a:gd name="T0" fmla="*/ 231 w 231"/>
                <a:gd name="T1" fmla="*/ 79 h 398"/>
                <a:gd name="T2" fmla="*/ 103 w 231"/>
                <a:gd name="T3" fmla="*/ 205 h 398"/>
                <a:gd name="T4" fmla="*/ 53 w 231"/>
                <a:gd name="T5" fmla="*/ 396 h 398"/>
                <a:gd name="T6" fmla="*/ 0 w 231"/>
                <a:gd name="T7" fmla="*/ 398 h 398"/>
                <a:gd name="T8" fmla="*/ 28 w 231"/>
                <a:gd name="T9" fmla="*/ 206 h 398"/>
                <a:gd name="T10" fmla="*/ 49 w 231"/>
                <a:gd name="T11" fmla="*/ 154 h 398"/>
                <a:gd name="T12" fmla="*/ 168 w 231"/>
                <a:gd name="T13" fmla="*/ 0 h 398"/>
                <a:gd name="T14" fmla="*/ 231 w 231"/>
                <a:gd name="T15" fmla="*/ 79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1" h="398">
                  <a:moveTo>
                    <a:pt x="231" y="79"/>
                  </a:moveTo>
                  <a:cubicBezTo>
                    <a:pt x="103" y="205"/>
                    <a:pt x="103" y="205"/>
                    <a:pt x="103" y="205"/>
                  </a:cubicBezTo>
                  <a:cubicBezTo>
                    <a:pt x="53" y="396"/>
                    <a:pt x="53" y="396"/>
                    <a:pt x="53" y="396"/>
                  </a:cubicBezTo>
                  <a:cubicBezTo>
                    <a:pt x="0" y="398"/>
                    <a:pt x="0" y="398"/>
                    <a:pt x="0" y="398"/>
                  </a:cubicBezTo>
                  <a:cubicBezTo>
                    <a:pt x="28" y="206"/>
                    <a:pt x="28" y="206"/>
                    <a:pt x="28" y="206"/>
                  </a:cubicBezTo>
                  <a:cubicBezTo>
                    <a:pt x="30" y="187"/>
                    <a:pt x="38" y="169"/>
                    <a:pt x="49" y="154"/>
                  </a:cubicBezTo>
                  <a:cubicBezTo>
                    <a:pt x="168" y="0"/>
                    <a:pt x="168" y="0"/>
                    <a:pt x="168" y="0"/>
                  </a:cubicBezTo>
                  <a:lnTo>
                    <a:pt x="231" y="79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73">
              <a:extLst>
                <a:ext uri="{FF2B5EF4-FFF2-40B4-BE49-F238E27FC236}">
                  <a16:creationId xmlns:a16="http://schemas.microsoft.com/office/drawing/2014/main" id="{74B14455-B495-4E32-AB6C-17F96BA1C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4" y="1320"/>
              <a:ext cx="240" cy="392"/>
            </a:xfrm>
            <a:custGeom>
              <a:avLst/>
              <a:gdLst>
                <a:gd name="T0" fmla="*/ 0 w 101"/>
                <a:gd name="T1" fmla="*/ 165 h 165"/>
                <a:gd name="T2" fmla="*/ 101 w 101"/>
                <a:gd name="T3" fmla="*/ 33 h 165"/>
                <a:gd name="T4" fmla="*/ 86 w 101"/>
                <a:gd name="T5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1" h="165">
                  <a:moveTo>
                    <a:pt x="0" y="165"/>
                  </a:moveTo>
                  <a:cubicBezTo>
                    <a:pt x="2" y="162"/>
                    <a:pt x="101" y="33"/>
                    <a:pt x="101" y="33"/>
                  </a:cubicBezTo>
                  <a:cubicBezTo>
                    <a:pt x="86" y="0"/>
                    <a:pt x="86" y="0"/>
                    <a:pt x="86" y="0"/>
                  </a:cubicBezTo>
                </a:path>
              </a:pathLst>
            </a:custGeom>
            <a:noFill/>
            <a:ln w="15875" cap="flat">
              <a:solidFill>
                <a:srgbClr val="15153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74">
              <a:extLst>
                <a:ext uri="{FF2B5EF4-FFF2-40B4-BE49-F238E27FC236}">
                  <a16:creationId xmlns:a16="http://schemas.microsoft.com/office/drawing/2014/main" id="{A0078335-625D-4272-B486-F63533717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7" y="779"/>
              <a:ext cx="789" cy="660"/>
            </a:xfrm>
            <a:custGeom>
              <a:avLst/>
              <a:gdLst>
                <a:gd name="T0" fmla="*/ 319 w 332"/>
                <a:gd name="T1" fmla="*/ 44 h 278"/>
                <a:gd name="T2" fmla="*/ 158 w 332"/>
                <a:gd name="T3" fmla="*/ 2 h 278"/>
                <a:gd name="T4" fmla="*/ 142 w 332"/>
                <a:gd name="T5" fmla="*/ 15 h 278"/>
                <a:gd name="T6" fmla="*/ 0 w 332"/>
                <a:gd name="T7" fmla="*/ 174 h 278"/>
                <a:gd name="T8" fmla="*/ 158 w 332"/>
                <a:gd name="T9" fmla="*/ 278 h 278"/>
                <a:gd name="T10" fmla="*/ 327 w 332"/>
                <a:gd name="T11" fmla="*/ 63 h 278"/>
                <a:gd name="T12" fmla="*/ 319 w 332"/>
                <a:gd name="T13" fmla="*/ 4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2" h="278">
                  <a:moveTo>
                    <a:pt x="319" y="44"/>
                  </a:moveTo>
                  <a:cubicBezTo>
                    <a:pt x="158" y="2"/>
                    <a:pt x="158" y="2"/>
                    <a:pt x="158" y="2"/>
                  </a:cubicBezTo>
                  <a:cubicBezTo>
                    <a:pt x="150" y="0"/>
                    <a:pt x="142" y="6"/>
                    <a:pt x="142" y="15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107" y="199"/>
                    <a:pt x="158" y="278"/>
                    <a:pt x="158" y="278"/>
                  </a:cubicBezTo>
                  <a:cubicBezTo>
                    <a:pt x="327" y="63"/>
                    <a:pt x="327" y="63"/>
                    <a:pt x="327" y="63"/>
                  </a:cubicBezTo>
                  <a:cubicBezTo>
                    <a:pt x="332" y="56"/>
                    <a:pt x="328" y="46"/>
                    <a:pt x="319" y="44"/>
                  </a:cubicBezTo>
                  <a:close/>
                </a:path>
              </a:pathLst>
            </a:custGeom>
            <a:solidFill>
              <a:srgbClr val="FF6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75">
              <a:extLst>
                <a:ext uri="{FF2B5EF4-FFF2-40B4-BE49-F238E27FC236}">
                  <a16:creationId xmlns:a16="http://schemas.microsoft.com/office/drawing/2014/main" id="{1DE1362F-0FFB-4CEE-95A0-D2A5C220A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0" y="563"/>
              <a:ext cx="88" cy="92"/>
            </a:xfrm>
            <a:custGeom>
              <a:avLst/>
              <a:gdLst>
                <a:gd name="T0" fmla="*/ 37 w 37"/>
                <a:gd name="T1" fmla="*/ 21 h 39"/>
                <a:gd name="T2" fmla="*/ 32 w 37"/>
                <a:gd name="T3" fmla="*/ 0 h 39"/>
                <a:gd name="T4" fmla="*/ 0 w 37"/>
                <a:gd name="T5" fmla="*/ 1 h 39"/>
                <a:gd name="T6" fmla="*/ 12 w 37"/>
                <a:gd name="T7" fmla="*/ 39 h 39"/>
                <a:gd name="T8" fmla="*/ 37 w 37"/>
                <a:gd name="T9" fmla="*/ 2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9">
                  <a:moveTo>
                    <a:pt x="37" y="21"/>
                  </a:moveTo>
                  <a:cubicBezTo>
                    <a:pt x="37" y="20"/>
                    <a:pt x="32" y="0"/>
                    <a:pt x="32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2" y="39"/>
                    <a:pt x="12" y="39"/>
                    <a:pt x="12" y="39"/>
                  </a:cubicBezTo>
                  <a:lnTo>
                    <a:pt x="37" y="21"/>
                  </a:ln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76">
              <a:extLst>
                <a:ext uri="{FF2B5EF4-FFF2-40B4-BE49-F238E27FC236}">
                  <a16:creationId xmlns:a16="http://schemas.microsoft.com/office/drawing/2014/main" id="{CE6D1C95-A331-4699-AD86-95DC314D8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5" y="784"/>
              <a:ext cx="494" cy="154"/>
            </a:xfrm>
            <a:custGeom>
              <a:avLst/>
              <a:gdLst>
                <a:gd name="T0" fmla="*/ 172 w 208"/>
                <a:gd name="T1" fmla="*/ 0 h 65"/>
                <a:gd name="T2" fmla="*/ 22 w 208"/>
                <a:gd name="T3" fmla="*/ 5 h 65"/>
                <a:gd name="T4" fmla="*/ 0 w 208"/>
                <a:gd name="T5" fmla="*/ 28 h 65"/>
                <a:gd name="T6" fmla="*/ 0 w 208"/>
                <a:gd name="T7" fmla="*/ 28 h 65"/>
                <a:gd name="T8" fmla="*/ 21 w 208"/>
                <a:gd name="T9" fmla="*/ 51 h 65"/>
                <a:gd name="T10" fmla="*/ 169 w 208"/>
                <a:gd name="T11" fmla="*/ 63 h 65"/>
                <a:gd name="T12" fmla="*/ 203 w 208"/>
                <a:gd name="T13" fmla="*/ 23 h 65"/>
                <a:gd name="T14" fmla="*/ 203 w 208"/>
                <a:gd name="T15" fmla="*/ 23 h 65"/>
                <a:gd name="T16" fmla="*/ 172 w 208"/>
                <a:gd name="T1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8" h="65">
                  <a:moveTo>
                    <a:pt x="172" y="0"/>
                  </a:moveTo>
                  <a:cubicBezTo>
                    <a:pt x="22" y="5"/>
                    <a:pt x="22" y="5"/>
                    <a:pt x="22" y="5"/>
                  </a:cubicBezTo>
                  <a:cubicBezTo>
                    <a:pt x="10" y="6"/>
                    <a:pt x="0" y="16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40"/>
                    <a:pt x="9" y="50"/>
                    <a:pt x="21" y="51"/>
                  </a:cubicBezTo>
                  <a:cubicBezTo>
                    <a:pt x="169" y="63"/>
                    <a:pt x="169" y="63"/>
                    <a:pt x="169" y="63"/>
                  </a:cubicBezTo>
                  <a:cubicBezTo>
                    <a:pt x="189" y="65"/>
                    <a:pt x="208" y="43"/>
                    <a:pt x="203" y="23"/>
                  </a:cubicBezTo>
                  <a:cubicBezTo>
                    <a:pt x="203" y="23"/>
                    <a:pt x="203" y="23"/>
                    <a:pt x="203" y="23"/>
                  </a:cubicBezTo>
                  <a:cubicBezTo>
                    <a:pt x="199" y="9"/>
                    <a:pt x="187" y="0"/>
                    <a:pt x="172" y="0"/>
                  </a:cubicBezTo>
                  <a:close/>
                </a:path>
              </a:pathLst>
            </a:custGeom>
            <a:solidFill>
              <a:srgbClr val="FF6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77">
              <a:extLst>
                <a:ext uri="{FF2B5EF4-FFF2-40B4-BE49-F238E27FC236}">
                  <a16:creationId xmlns:a16="http://schemas.microsoft.com/office/drawing/2014/main" id="{DAFE9B60-794F-46C4-8128-A457168024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" y="587"/>
              <a:ext cx="199" cy="332"/>
            </a:xfrm>
            <a:custGeom>
              <a:avLst/>
              <a:gdLst>
                <a:gd name="T0" fmla="*/ 41 w 84"/>
                <a:gd name="T1" fmla="*/ 0 h 140"/>
                <a:gd name="T2" fmla="*/ 0 w 84"/>
                <a:gd name="T3" fmla="*/ 7 h 140"/>
                <a:gd name="T4" fmla="*/ 24 w 84"/>
                <a:gd name="T5" fmla="*/ 112 h 140"/>
                <a:gd name="T6" fmla="*/ 63 w 84"/>
                <a:gd name="T7" fmla="*/ 132 h 140"/>
                <a:gd name="T8" fmla="*/ 63 w 84"/>
                <a:gd name="T9" fmla="*/ 132 h 140"/>
                <a:gd name="T10" fmla="*/ 78 w 84"/>
                <a:gd name="T11" fmla="*/ 96 h 140"/>
                <a:gd name="T12" fmla="*/ 41 w 84"/>
                <a:gd name="T1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40">
                  <a:moveTo>
                    <a:pt x="41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8" y="130"/>
                    <a:pt x="47" y="140"/>
                    <a:pt x="63" y="132"/>
                  </a:cubicBezTo>
                  <a:cubicBezTo>
                    <a:pt x="63" y="132"/>
                    <a:pt x="63" y="132"/>
                    <a:pt x="63" y="132"/>
                  </a:cubicBezTo>
                  <a:cubicBezTo>
                    <a:pt x="77" y="126"/>
                    <a:pt x="84" y="110"/>
                    <a:pt x="78" y="96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FF6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78">
              <a:extLst>
                <a:ext uri="{FF2B5EF4-FFF2-40B4-BE49-F238E27FC236}">
                  <a16:creationId xmlns:a16="http://schemas.microsoft.com/office/drawing/2014/main" id="{0C213358-9EA0-410D-9B3E-415601B11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0" y="444"/>
              <a:ext cx="159" cy="121"/>
            </a:xfrm>
            <a:custGeom>
              <a:avLst/>
              <a:gdLst>
                <a:gd name="T0" fmla="*/ 49 w 67"/>
                <a:gd name="T1" fmla="*/ 50 h 51"/>
                <a:gd name="T2" fmla="*/ 56 w 67"/>
                <a:gd name="T3" fmla="*/ 9 h 51"/>
                <a:gd name="T4" fmla="*/ 11 w 67"/>
                <a:gd name="T5" fmla="*/ 0 h 51"/>
                <a:gd name="T6" fmla="*/ 17 w 67"/>
                <a:gd name="T7" fmla="*/ 51 h 51"/>
                <a:gd name="T8" fmla="*/ 49 w 67"/>
                <a:gd name="T9" fmla="*/ 5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51">
                  <a:moveTo>
                    <a:pt x="49" y="50"/>
                  </a:moveTo>
                  <a:cubicBezTo>
                    <a:pt x="49" y="50"/>
                    <a:pt x="67" y="33"/>
                    <a:pt x="56" y="9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23"/>
                    <a:pt x="17" y="51"/>
                  </a:cubicBezTo>
                  <a:lnTo>
                    <a:pt x="49" y="50"/>
                  </a:ln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79">
              <a:extLst>
                <a:ext uri="{FF2B5EF4-FFF2-40B4-BE49-F238E27FC236}">
                  <a16:creationId xmlns:a16="http://schemas.microsoft.com/office/drawing/2014/main" id="{DC02A1E0-8848-4CA8-896C-8258FBF4A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" y="287"/>
              <a:ext cx="178" cy="250"/>
            </a:xfrm>
            <a:custGeom>
              <a:avLst/>
              <a:gdLst>
                <a:gd name="T0" fmla="*/ 74 w 75"/>
                <a:gd name="T1" fmla="*/ 20 h 105"/>
                <a:gd name="T2" fmla="*/ 54 w 75"/>
                <a:gd name="T3" fmla="*/ 99 h 105"/>
                <a:gd name="T4" fmla="*/ 46 w 75"/>
                <a:gd name="T5" fmla="*/ 104 h 105"/>
                <a:gd name="T6" fmla="*/ 5 w 75"/>
                <a:gd name="T7" fmla="*/ 94 h 105"/>
                <a:gd name="T8" fmla="*/ 1 w 75"/>
                <a:gd name="T9" fmla="*/ 86 h 105"/>
                <a:gd name="T10" fmla="*/ 20 w 75"/>
                <a:gd name="T11" fmla="*/ 6 h 105"/>
                <a:gd name="T12" fmla="*/ 28 w 75"/>
                <a:gd name="T13" fmla="*/ 1 h 105"/>
                <a:gd name="T14" fmla="*/ 70 w 75"/>
                <a:gd name="T15" fmla="*/ 12 h 105"/>
                <a:gd name="T16" fmla="*/ 74 w 75"/>
                <a:gd name="T17" fmla="*/ 2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105">
                  <a:moveTo>
                    <a:pt x="74" y="20"/>
                  </a:moveTo>
                  <a:cubicBezTo>
                    <a:pt x="54" y="99"/>
                    <a:pt x="54" y="99"/>
                    <a:pt x="54" y="99"/>
                  </a:cubicBezTo>
                  <a:cubicBezTo>
                    <a:pt x="54" y="103"/>
                    <a:pt x="50" y="105"/>
                    <a:pt x="46" y="10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2" y="93"/>
                    <a:pt x="0" y="90"/>
                    <a:pt x="1" y="8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1" y="3"/>
                    <a:pt x="25" y="0"/>
                    <a:pt x="28" y="1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3" y="13"/>
                    <a:pt x="75" y="17"/>
                    <a:pt x="74" y="2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80">
              <a:extLst>
                <a:ext uri="{FF2B5EF4-FFF2-40B4-BE49-F238E27FC236}">
                  <a16:creationId xmlns:a16="http://schemas.microsoft.com/office/drawing/2014/main" id="{05174315-5259-4BC6-B027-31B2A739A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" y="309"/>
              <a:ext cx="136" cy="192"/>
            </a:xfrm>
            <a:custGeom>
              <a:avLst/>
              <a:gdLst>
                <a:gd name="T0" fmla="*/ 56 w 57"/>
                <a:gd name="T1" fmla="*/ 15 h 81"/>
                <a:gd name="T2" fmla="*/ 41 w 57"/>
                <a:gd name="T3" fmla="*/ 77 h 81"/>
                <a:gd name="T4" fmla="*/ 35 w 57"/>
                <a:gd name="T5" fmla="*/ 81 h 81"/>
                <a:gd name="T6" fmla="*/ 4 w 57"/>
                <a:gd name="T7" fmla="*/ 73 h 81"/>
                <a:gd name="T8" fmla="*/ 1 w 57"/>
                <a:gd name="T9" fmla="*/ 67 h 81"/>
                <a:gd name="T10" fmla="*/ 16 w 57"/>
                <a:gd name="T11" fmla="*/ 5 h 81"/>
                <a:gd name="T12" fmla="*/ 22 w 57"/>
                <a:gd name="T13" fmla="*/ 1 h 81"/>
                <a:gd name="T14" fmla="*/ 53 w 57"/>
                <a:gd name="T15" fmla="*/ 9 h 81"/>
                <a:gd name="T16" fmla="*/ 56 w 57"/>
                <a:gd name="T17" fmla="*/ 1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81">
                  <a:moveTo>
                    <a:pt x="56" y="15"/>
                  </a:moveTo>
                  <a:cubicBezTo>
                    <a:pt x="41" y="77"/>
                    <a:pt x="41" y="77"/>
                    <a:pt x="41" y="77"/>
                  </a:cubicBezTo>
                  <a:cubicBezTo>
                    <a:pt x="40" y="80"/>
                    <a:pt x="38" y="81"/>
                    <a:pt x="35" y="81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2" y="72"/>
                    <a:pt x="0" y="70"/>
                    <a:pt x="1" y="6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2"/>
                    <a:pt x="19" y="0"/>
                    <a:pt x="22" y="1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5" y="10"/>
                    <a:pt x="57" y="12"/>
                    <a:pt x="56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81">
              <a:extLst>
                <a:ext uri="{FF2B5EF4-FFF2-40B4-BE49-F238E27FC236}">
                  <a16:creationId xmlns:a16="http://schemas.microsoft.com/office/drawing/2014/main" id="{D57C776F-EF0F-4256-9EDF-D9ECE4A06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2" y="354"/>
              <a:ext cx="107" cy="159"/>
            </a:xfrm>
            <a:custGeom>
              <a:avLst/>
              <a:gdLst>
                <a:gd name="T0" fmla="*/ 45 w 45"/>
                <a:gd name="T1" fmla="*/ 45 h 67"/>
                <a:gd name="T2" fmla="*/ 34 w 45"/>
                <a:gd name="T3" fmla="*/ 30 h 67"/>
                <a:gd name="T4" fmla="*/ 14 w 45"/>
                <a:gd name="T5" fmla="*/ 0 h 67"/>
                <a:gd name="T6" fmla="*/ 0 w 45"/>
                <a:gd name="T7" fmla="*/ 54 h 67"/>
                <a:gd name="T8" fmla="*/ 4 w 45"/>
                <a:gd name="T9" fmla="*/ 59 h 67"/>
                <a:gd name="T10" fmla="*/ 35 w 45"/>
                <a:gd name="T11" fmla="*/ 67 h 67"/>
                <a:gd name="T12" fmla="*/ 41 w 45"/>
                <a:gd name="T13" fmla="*/ 63 h 67"/>
                <a:gd name="T14" fmla="*/ 45 w 45"/>
                <a:gd name="T15" fmla="*/ 4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67">
                  <a:moveTo>
                    <a:pt x="45" y="45"/>
                  </a:moveTo>
                  <a:cubicBezTo>
                    <a:pt x="45" y="45"/>
                    <a:pt x="36" y="49"/>
                    <a:pt x="34" y="30"/>
                  </a:cubicBezTo>
                  <a:cubicBezTo>
                    <a:pt x="32" y="11"/>
                    <a:pt x="14" y="0"/>
                    <a:pt x="14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6"/>
                    <a:pt x="1" y="59"/>
                    <a:pt x="4" y="59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8" y="67"/>
                    <a:pt x="40" y="66"/>
                    <a:pt x="41" y="63"/>
                  </a:cubicBezTo>
                  <a:lnTo>
                    <a:pt x="45" y="45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82">
              <a:extLst>
                <a:ext uri="{FF2B5EF4-FFF2-40B4-BE49-F238E27FC236}">
                  <a16:creationId xmlns:a16="http://schemas.microsoft.com/office/drawing/2014/main" id="{E004E9B8-DBDC-459F-A011-A089B8408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" y="432"/>
              <a:ext cx="81" cy="112"/>
            </a:xfrm>
            <a:custGeom>
              <a:avLst/>
              <a:gdLst>
                <a:gd name="T0" fmla="*/ 34 w 34"/>
                <a:gd name="T1" fmla="*/ 24 h 47"/>
                <a:gd name="T2" fmla="*/ 26 w 34"/>
                <a:gd name="T3" fmla="*/ 3 h 47"/>
                <a:gd name="T4" fmla="*/ 19 w 34"/>
                <a:gd name="T5" fmla="*/ 1 h 47"/>
                <a:gd name="T6" fmla="*/ 19 w 34"/>
                <a:gd name="T7" fmla="*/ 1 h 47"/>
                <a:gd name="T8" fmla="*/ 16 w 34"/>
                <a:gd name="T9" fmla="*/ 7 h 47"/>
                <a:gd name="T10" fmla="*/ 18 w 34"/>
                <a:gd name="T11" fmla="*/ 21 h 47"/>
                <a:gd name="T12" fmla="*/ 4 w 34"/>
                <a:gd name="T13" fmla="*/ 47 h 47"/>
                <a:gd name="T14" fmla="*/ 33 w 34"/>
                <a:gd name="T15" fmla="*/ 42 h 47"/>
                <a:gd name="T16" fmla="*/ 34 w 34"/>
                <a:gd name="T17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7">
                  <a:moveTo>
                    <a:pt x="34" y="24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5" y="1"/>
                    <a:pt x="22" y="0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2"/>
                    <a:pt x="16" y="4"/>
                    <a:pt x="16" y="7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0" y="36"/>
                    <a:pt x="4" y="47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4" y="24"/>
                    <a:pt x="34" y="24"/>
                    <a:pt x="34" y="24"/>
                  </a:cubicBez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83">
              <a:extLst>
                <a:ext uri="{FF2B5EF4-FFF2-40B4-BE49-F238E27FC236}">
                  <a16:creationId xmlns:a16="http://schemas.microsoft.com/office/drawing/2014/main" id="{476B900A-DABA-44BB-B580-D4512F15F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6" y="872"/>
              <a:ext cx="323" cy="453"/>
            </a:xfrm>
            <a:custGeom>
              <a:avLst/>
              <a:gdLst>
                <a:gd name="T0" fmla="*/ 66 w 136"/>
                <a:gd name="T1" fmla="*/ 20 h 191"/>
                <a:gd name="T2" fmla="*/ 130 w 136"/>
                <a:gd name="T3" fmla="*/ 156 h 191"/>
                <a:gd name="T4" fmla="*/ 120 w 136"/>
                <a:gd name="T5" fmla="*/ 186 h 191"/>
                <a:gd name="T6" fmla="*/ 120 w 136"/>
                <a:gd name="T7" fmla="*/ 186 h 191"/>
                <a:gd name="T8" fmla="*/ 91 w 136"/>
                <a:gd name="T9" fmla="*/ 178 h 191"/>
                <a:gd name="T10" fmla="*/ 12 w 136"/>
                <a:gd name="T11" fmla="*/ 52 h 191"/>
                <a:gd name="T12" fmla="*/ 32 w 136"/>
                <a:gd name="T13" fmla="*/ 3 h 191"/>
                <a:gd name="T14" fmla="*/ 32 w 136"/>
                <a:gd name="T15" fmla="*/ 3 h 191"/>
                <a:gd name="T16" fmla="*/ 66 w 136"/>
                <a:gd name="T17" fmla="*/ 2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6" h="191">
                  <a:moveTo>
                    <a:pt x="66" y="20"/>
                  </a:moveTo>
                  <a:cubicBezTo>
                    <a:pt x="130" y="156"/>
                    <a:pt x="130" y="156"/>
                    <a:pt x="130" y="156"/>
                  </a:cubicBezTo>
                  <a:cubicBezTo>
                    <a:pt x="136" y="167"/>
                    <a:pt x="131" y="180"/>
                    <a:pt x="120" y="186"/>
                  </a:cubicBezTo>
                  <a:cubicBezTo>
                    <a:pt x="120" y="186"/>
                    <a:pt x="120" y="186"/>
                    <a:pt x="120" y="186"/>
                  </a:cubicBezTo>
                  <a:cubicBezTo>
                    <a:pt x="110" y="191"/>
                    <a:pt x="97" y="188"/>
                    <a:pt x="91" y="178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0" y="34"/>
                    <a:pt x="11" y="8"/>
                    <a:pt x="32" y="3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46" y="0"/>
                    <a:pt x="60" y="7"/>
                    <a:pt x="66" y="20"/>
                  </a:cubicBezTo>
                  <a:close/>
                </a:path>
              </a:pathLst>
            </a:custGeom>
            <a:solidFill>
              <a:srgbClr val="FF6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84">
              <a:extLst>
                <a:ext uri="{FF2B5EF4-FFF2-40B4-BE49-F238E27FC236}">
                  <a16:creationId xmlns:a16="http://schemas.microsoft.com/office/drawing/2014/main" id="{50996807-954C-4E49-82BA-2614BDAAA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" y="1121"/>
              <a:ext cx="161" cy="152"/>
            </a:xfrm>
            <a:custGeom>
              <a:avLst/>
              <a:gdLst>
                <a:gd name="T0" fmla="*/ 1 w 68"/>
                <a:gd name="T1" fmla="*/ 33 h 64"/>
                <a:gd name="T2" fmla="*/ 33 w 68"/>
                <a:gd name="T3" fmla="*/ 2 h 64"/>
                <a:gd name="T4" fmla="*/ 39 w 68"/>
                <a:gd name="T5" fmla="*/ 1 h 64"/>
                <a:gd name="T6" fmla="*/ 39 w 68"/>
                <a:gd name="T7" fmla="*/ 1 h 64"/>
                <a:gd name="T8" fmla="*/ 41 w 68"/>
                <a:gd name="T9" fmla="*/ 7 h 64"/>
                <a:gd name="T10" fmla="*/ 35 w 68"/>
                <a:gd name="T11" fmla="*/ 18 h 64"/>
                <a:gd name="T12" fmla="*/ 62 w 68"/>
                <a:gd name="T13" fmla="*/ 17 h 64"/>
                <a:gd name="T14" fmla="*/ 67 w 68"/>
                <a:gd name="T15" fmla="*/ 24 h 64"/>
                <a:gd name="T16" fmla="*/ 61 w 68"/>
                <a:gd name="T17" fmla="*/ 43 h 64"/>
                <a:gd name="T18" fmla="*/ 58 w 68"/>
                <a:gd name="T19" fmla="*/ 47 h 64"/>
                <a:gd name="T20" fmla="*/ 0 w 68"/>
                <a:gd name="T21" fmla="*/ 57 h 64"/>
                <a:gd name="T22" fmla="*/ 1 w 68"/>
                <a:gd name="T23" fmla="*/ 3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" h="64">
                  <a:moveTo>
                    <a:pt x="1" y="33"/>
                  </a:moveTo>
                  <a:cubicBezTo>
                    <a:pt x="33" y="2"/>
                    <a:pt x="33" y="2"/>
                    <a:pt x="33" y="2"/>
                  </a:cubicBezTo>
                  <a:cubicBezTo>
                    <a:pt x="35" y="0"/>
                    <a:pt x="38" y="0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42" y="2"/>
                    <a:pt x="42" y="5"/>
                    <a:pt x="41" y="7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6" y="17"/>
                    <a:pt x="68" y="20"/>
                    <a:pt x="67" y="24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5"/>
                    <a:pt x="60" y="46"/>
                    <a:pt x="58" y="47"/>
                  </a:cubicBezTo>
                  <a:cubicBezTo>
                    <a:pt x="47" y="50"/>
                    <a:pt x="18" y="64"/>
                    <a:pt x="0" y="57"/>
                  </a:cubicBezTo>
                  <a:lnTo>
                    <a:pt x="1" y="33"/>
                  </a:ln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85">
              <a:extLst>
                <a:ext uri="{FF2B5EF4-FFF2-40B4-BE49-F238E27FC236}">
                  <a16:creationId xmlns:a16="http://schemas.microsoft.com/office/drawing/2014/main" id="{1C56246B-3C60-4B5C-8C14-228FFC980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1199"/>
              <a:ext cx="143" cy="72"/>
            </a:xfrm>
            <a:custGeom>
              <a:avLst/>
              <a:gdLst>
                <a:gd name="T0" fmla="*/ 143 w 143"/>
                <a:gd name="T1" fmla="*/ 0 h 72"/>
                <a:gd name="T2" fmla="*/ 0 w 143"/>
                <a:gd name="T3" fmla="*/ 29 h 72"/>
                <a:gd name="T4" fmla="*/ 22 w 143"/>
                <a:gd name="T5" fmla="*/ 72 h 72"/>
                <a:gd name="T6" fmla="*/ 141 w 143"/>
                <a:gd name="T7" fmla="*/ 57 h 72"/>
                <a:gd name="T8" fmla="*/ 143 w 143"/>
                <a:gd name="T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72">
                  <a:moveTo>
                    <a:pt x="143" y="0"/>
                  </a:moveTo>
                  <a:lnTo>
                    <a:pt x="0" y="29"/>
                  </a:lnTo>
                  <a:lnTo>
                    <a:pt x="22" y="72"/>
                  </a:lnTo>
                  <a:lnTo>
                    <a:pt x="141" y="57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FDB2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86">
              <a:extLst>
                <a:ext uri="{FF2B5EF4-FFF2-40B4-BE49-F238E27FC236}">
                  <a16:creationId xmlns:a16="http://schemas.microsoft.com/office/drawing/2014/main" id="{66B4D0B6-B2DA-46F2-86C4-5C16B19AD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" y="1183"/>
              <a:ext cx="349" cy="145"/>
            </a:xfrm>
            <a:custGeom>
              <a:avLst/>
              <a:gdLst>
                <a:gd name="T0" fmla="*/ 137 w 147"/>
                <a:gd name="T1" fmla="*/ 0 h 61"/>
                <a:gd name="T2" fmla="*/ 147 w 147"/>
                <a:gd name="T3" fmla="*/ 42 h 61"/>
                <a:gd name="T4" fmla="*/ 33 w 147"/>
                <a:gd name="T5" fmla="*/ 58 h 61"/>
                <a:gd name="T6" fmla="*/ 1 w 147"/>
                <a:gd name="T7" fmla="*/ 30 h 61"/>
                <a:gd name="T8" fmla="*/ 1 w 147"/>
                <a:gd name="T9" fmla="*/ 30 h 61"/>
                <a:gd name="T10" fmla="*/ 27 w 147"/>
                <a:gd name="T11" fmla="*/ 3 h 61"/>
                <a:gd name="T12" fmla="*/ 137 w 147"/>
                <a:gd name="T1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61">
                  <a:moveTo>
                    <a:pt x="137" y="0"/>
                  </a:moveTo>
                  <a:cubicBezTo>
                    <a:pt x="147" y="42"/>
                    <a:pt x="147" y="42"/>
                    <a:pt x="147" y="42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16" y="61"/>
                    <a:pt x="0" y="47"/>
                    <a:pt x="1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15"/>
                    <a:pt x="13" y="4"/>
                    <a:pt x="27" y="3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FF6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87">
              <a:extLst>
                <a:ext uri="{FF2B5EF4-FFF2-40B4-BE49-F238E27FC236}">
                  <a16:creationId xmlns:a16="http://schemas.microsoft.com/office/drawing/2014/main" id="{E5FE1AA1-E43B-4AA9-A49A-074EE0767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2" y="399"/>
              <a:ext cx="226" cy="166"/>
            </a:xfrm>
            <a:custGeom>
              <a:avLst/>
              <a:gdLst>
                <a:gd name="T0" fmla="*/ 6 w 95"/>
                <a:gd name="T1" fmla="*/ 46 h 70"/>
                <a:gd name="T2" fmla="*/ 25 w 95"/>
                <a:gd name="T3" fmla="*/ 14 h 70"/>
                <a:gd name="T4" fmla="*/ 75 w 95"/>
                <a:gd name="T5" fmla="*/ 35 h 70"/>
                <a:gd name="T6" fmla="*/ 6 w 95"/>
                <a:gd name="T7" fmla="*/ 4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5" h="70">
                  <a:moveTo>
                    <a:pt x="6" y="46"/>
                  </a:moveTo>
                  <a:cubicBezTo>
                    <a:pt x="6" y="46"/>
                    <a:pt x="0" y="19"/>
                    <a:pt x="25" y="14"/>
                  </a:cubicBezTo>
                  <a:cubicBezTo>
                    <a:pt x="25" y="14"/>
                    <a:pt x="56" y="0"/>
                    <a:pt x="75" y="35"/>
                  </a:cubicBezTo>
                  <a:cubicBezTo>
                    <a:pt x="95" y="70"/>
                    <a:pt x="6" y="46"/>
                    <a:pt x="6" y="46"/>
                  </a:cubicBez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88">
              <a:extLst>
                <a:ext uri="{FF2B5EF4-FFF2-40B4-BE49-F238E27FC236}">
                  <a16:creationId xmlns:a16="http://schemas.microsoft.com/office/drawing/2014/main" id="{8169F10C-B1A8-46B9-B6CF-8110BA572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0" y="800"/>
              <a:ext cx="289" cy="140"/>
            </a:xfrm>
            <a:custGeom>
              <a:avLst/>
              <a:gdLst>
                <a:gd name="T0" fmla="*/ 122 w 122"/>
                <a:gd name="T1" fmla="*/ 26 h 59"/>
                <a:gd name="T2" fmla="*/ 69 w 122"/>
                <a:gd name="T3" fmla="*/ 11 h 59"/>
                <a:gd name="T4" fmla="*/ 23 w 122"/>
                <a:gd name="T5" fmla="*/ 0 h 59"/>
                <a:gd name="T6" fmla="*/ 39 w 122"/>
                <a:gd name="T7" fmla="*/ 41 h 59"/>
                <a:gd name="T8" fmla="*/ 122 w 122"/>
                <a:gd name="T9" fmla="*/ 2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59">
                  <a:moveTo>
                    <a:pt x="122" y="26"/>
                  </a:moveTo>
                  <a:cubicBezTo>
                    <a:pt x="69" y="11"/>
                    <a:pt x="69" y="11"/>
                    <a:pt x="69" y="11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0" y="27"/>
                    <a:pt x="39" y="41"/>
                  </a:cubicBezTo>
                  <a:cubicBezTo>
                    <a:pt x="91" y="59"/>
                    <a:pt x="122" y="26"/>
                    <a:pt x="122" y="26"/>
                  </a:cubicBez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89">
              <a:extLst>
                <a:ext uri="{FF2B5EF4-FFF2-40B4-BE49-F238E27FC236}">
                  <a16:creationId xmlns:a16="http://schemas.microsoft.com/office/drawing/2014/main" id="{F9FD9E67-C872-4511-827E-BF16D77C6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2" y="689"/>
              <a:ext cx="202" cy="213"/>
            </a:xfrm>
            <a:custGeom>
              <a:avLst/>
              <a:gdLst>
                <a:gd name="T0" fmla="*/ 57 w 85"/>
                <a:gd name="T1" fmla="*/ 76 h 90"/>
                <a:gd name="T2" fmla="*/ 85 w 85"/>
                <a:gd name="T3" fmla="*/ 15 h 90"/>
                <a:gd name="T4" fmla="*/ 34 w 85"/>
                <a:gd name="T5" fmla="*/ 0 h 90"/>
                <a:gd name="T6" fmla="*/ 6 w 85"/>
                <a:gd name="T7" fmla="*/ 56 h 90"/>
                <a:gd name="T8" fmla="*/ 24 w 85"/>
                <a:gd name="T9" fmla="*/ 84 h 90"/>
                <a:gd name="T10" fmla="*/ 24 w 85"/>
                <a:gd name="T11" fmla="*/ 84 h 90"/>
                <a:gd name="T12" fmla="*/ 57 w 85"/>
                <a:gd name="T13" fmla="*/ 7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90">
                  <a:moveTo>
                    <a:pt x="57" y="76"/>
                  </a:moveTo>
                  <a:cubicBezTo>
                    <a:pt x="85" y="15"/>
                    <a:pt x="85" y="15"/>
                    <a:pt x="85" y="15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0" y="70"/>
                    <a:pt x="10" y="77"/>
                    <a:pt x="24" y="84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37" y="90"/>
                    <a:pt x="51" y="89"/>
                    <a:pt x="57" y="76"/>
                  </a:cubicBez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90">
              <a:extLst>
                <a:ext uri="{FF2B5EF4-FFF2-40B4-BE49-F238E27FC236}">
                  <a16:creationId xmlns:a16="http://schemas.microsoft.com/office/drawing/2014/main" id="{7E6C6241-7F56-4DFE-AC50-456504555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6" y="722"/>
              <a:ext cx="133" cy="83"/>
            </a:xfrm>
            <a:custGeom>
              <a:avLst/>
              <a:gdLst>
                <a:gd name="T0" fmla="*/ 133 w 133"/>
                <a:gd name="T1" fmla="*/ 52 h 83"/>
                <a:gd name="T2" fmla="*/ 0 w 133"/>
                <a:gd name="T3" fmla="*/ 83 h 83"/>
                <a:gd name="T4" fmla="*/ 43 w 133"/>
                <a:gd name="T5" fmla="*/ 0 h 83"/>
                <a:gd name="T6" fmla="*/ 133 w 133"/>
                <a:gd name="T7" fmla="*/ 5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3" h="83">
                  <a:moveTo>
                    <a:pt x="133" y="52"/>
                  </a:moveTo>
                  <a:lnTo>
                    <a:pt x="0" y="83"/>
                  </a:lnTo>
                  <a:lnTo>
                    <a:pt x="43" y="0"/>
                  </a:lnTo>
                  <a:lnTo>
                    <a:pt x="133" y="52"/>
                  </a:lnTo>
                  <a:close/>
                </a:path>
              </a:pathLst>
            </a:custGeom>
            <a:solidFill>
              <a:srgbClr val="F2AA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91">
              <a:extLst>
                <a:ext uri="{FF2B5EF4-FFF2-40B4-BE49-F238E27FC236}">
                  <a16:creationId xmlns:a16="http://schemas.microsoft.com/office/drawing/2014/main" id="{318D7032-605B-457E-8EDD-11F0BDD71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0" y="527"/>
              <a:ext cx="95" cy="95"/>
            </a:xfrm>
            <a:custGeom>
              <a:avLst/>
              <a:gdLst>
                <a:gd name="T0" fmla="*/ 6 w 40"/>
                <a:gd name="T1" fmla="*/ 10 h 40"/>
                <a:gd name="T2" fmla="*/ 10 w 40"/>
                <a:gd name="T3" fmla="*/ 34 h 40"/>
                <a:gd name="T4" fmla="*/ 34 w 40"/>
                <a:gd name="T5" fmla="*/ 30 h 40"/>
                <a:gd name="T6" fmla="*/ 30 w 40"/>
                <a:gd name="T7" fmla="*/ 5 h 40"/>
                <a:gd name="T8" fmla="*/ 6 w 40"/>
                <a:gd name="T9" fmla="*/ 1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0">
                  <a:moveTo>
                    <a:pt x="6" y="10"/>
                  </a:moveTo>
                  <a:cubicBezTo>
                    <a:pt x="0" y="17"/>
                    <a:pt x="2" y="28"/>
                    <a:pt x="10" y="34"/>
                  </a:cubicBezTo>
                  <a:cubicBezTo>
                    <a:pt x="18" y="40"/>
                    <a:pt x="29" y="38"/>
                    <a:pt x="34" y="30"/>
                  </a:cubicBezTo>
                  <a:cubicBezTo>
                    <a:pt x="40" y="22"/>
                    <a:pt x="38" y="11"/>
                    <a:pt x="30" y="5"/>
                  </a:cubicBezTo>
                  <a:cubicBezTo>
                    <a:pt x="22" y="0"/>
                    <a:pt x="11" y="2"/>
                    <a:pt x="6" y="10"/>
                  </a:cubicBezTo>
                  <a:close/>
                </a:path>
              </a:pathLst>
            </a:custGeom>
            <a:solidFill>
              <a:srgbClr val="F2AA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92">
              <a:extLst>
                <a:ext uri="{FF2B5EF4-FFF2-40B4-BE49-F238E27FC236}">
                  <a16:creationId xmlns:a16="http://schemas.microsoft.com/office/drawing/2014/main" id="{5976F553-9D67-4BED-A6E2-428B443BC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4" y="458"/>
              <a:ext cx="342" cy="340"/>
            </a:xfrm>
            <a:custGeom>
              <a:avLst/>
              <a:gdLst>
                <a:gd name="T0" fmla="*/ 28 w 144"/>
                <a:gd name="T1" fmla="*/ 125 h 143"/>
                <a:gd name="T2" fmla="*/ 30 w 144"/>
                <a:gd name="T3" fmla="*/ 126 h 143"/>
                <a:gd name="T4" fmla="*/ 102 w 144"/>
                <a:gd name="T5" fmla="*/ 114 h 143"/>
                <a:gd name="T6" fmla="*/ 138 w 144"/>
                <a:gd name="T7" fmla="*/ 68 h 143"/>
                <a:gd name="T8" fmla="*/ 138 w 144"/>
                <a:gd name="T9" fmla="*/ 50 h 143"/>
                <a:gd name="T10" fmla="*/ 77 w 144"/>
                <a:gd name="T11" fmla="*/ 8 h 143"/>
                <a:gd name="T12" fmla="*/ 44 w 144"/>
                <a:gd name="T13" fmla="*/ 14 h 143"/>
                <a:gd name="T14" fmla="*/ 16 w 144"/>
                <a:gd name="T15" fmla="*/ 53 h 143"/>
                <a:gd name="T16" fmla="*/ 28 w 144"/>
                <a:gd name="T17" fmla="*/ 1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43">
                  <a:moveTo>
                    <a:pt x="28" y="125"/>
                  </a:moveTo>
                  <a:cubicBezTo>
                    <a:pt x="30" y="126"/>
                    <a:pt x="30" y="126"/>
                    <a:pt x="30" y="126"/>
                  </a:cubicBezTo>
                  <a:cubicBezTo>
                    <a:pt x="53" y="143"/>
                    <a:pt x="86" y="137"/>
                    <a:pt x="102" y="11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43" y="61"/>
                    <a:pt x="144" y="55"/>
                    <a:pt x="138" y="50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66" y="0"/>
                    <a:pt x="52" y="3"/>
                    <a:pt x="44" y="14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0" y="76"/>
                    <a:pt x="5" y="108"/>
                    <a:pt x="28" y="125"/>
                  </a:cubicBez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99">
              <a:extLst>
                <a:ext uri="{FF2B5EF4-FFF2-40B4-BE49-F238E27FC236}">
                  <a16:creationId xmlns:a16="http://schemas.microsoft.com/office/drawing/2014/main" id="{B538E4D8-C92E-4CD0-A0CC-502D85F06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363"/>
              <a:ext cx="302" cy="366"/>
            </a:xfrm>
            <a:custGeom>
              <a:avLst/>
              <a:gdLst>
                <a:gd name="T0" fmla="*/ 118 w 127"/>
                <a:gd name="T1" fmla="*/ 76 h 154"/>
                <a:gd name="T2" fmla="*/ 100 w 127"/>
                <a:gd name="T3" fmla="*/ 60 h 154"/>
                <a:gd name="T4" fmla="*/ 82 w 127"/>
                <a:gd name="T5" fmla="*/ 44 h 154"/>
                <a:gd name="T6" fmla="*/ 62 w 127"/>
                <a:gd name="T7" fmla="*/ 31 h 154"/>
                <a:gd name="T8" fmla="*/ 62 w 127"/>
                <a:gd name="T9" fmla="*/ 31 h 154"/>
                <a:gd name="T10" fmla="*/ 29 w 127"/>
                <a:gd name="T11" fmla="*/ 1 h 154"/>
                <a:gd name="T12" fmla="*/ 8 w 127"/>
                <a:gd name="T13" fmla="*/ 35 h 154"/>
                <a:gd name="T14" fmla="*/ 49 w 127"/>
                <a:gd name="T15" fmla="*/ 43 h 154"/>
                <a:gd name="T16" fmla="*/ 27 w 127"/>
                <a:gd name="T17" fmla="*/ 44 h 154"/>
                <a:gd name="T18" fmla="*/ 66 w 127"/>
                <a:gd name="T19" fmla="*/ 71 h 154"/>
                <a:gd name="T20" fmla="*/ 65 w 127"/>
                <a:gd name="T21" fmla="*/ 116 h 154"/>
                <a:gd name="T22" fmla="*/ 64 w 127"/>
                <a:gd name="T23" fmla="*/ 134 h 154"/>
                <a:gd name="T24" fmla="*/ 75 w 127"/>
                <a:gd name="T25" fmla="*/ 141 h 154"/>
                <a:gd name="T26" fmla="*/ 75 w 127"/>
                <a:gd name="T27" fmla="*/ 138 h 154"/>
                <a:gd name="T28" fmla="*/ 75 w 127"/>
                <a:gd name="T29" fmla="*/ 141 h 154"/>
                <a:gd name="T30" fmla="*/ 88 w 127"/>
                <a:gd name="T31" fmla="*/ 130 h 154"/>
                <a:gd name="T32" fmla="*/ 118 w 127"/>
                <a:gd name="T33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7" h="154">
                  <a:moveTo>
                    <a:pt x="118" y="76"/>
                  </a:moveTo>
                  <a:cubicBezTo>
                    <a:pt x="109" y="65"/>
                    <a:pt x="104" y="70"/>
                    <a:pt x="100" y="60"/>
                  </a:cubicBezTo>
                  <a:cubicBezTo>
                    <a:pt x="97" y="49"/>
                    <a:pt x="96" y="39"/>
                    <a:pt x="82" y="44"/>
                  </a:cubicBezTo>
                  <a:cubicBezTo>
                    <a:pt x="69" y="48"/>
                    <a:pt x="62" y="31"/>
                    <a:pt x="62" y="31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57" y="18"/>
                    <a:pt x="46" y="2"/>
                    <a:pt x="29" y="1"/>
                  </a:cubicBezTo>
                  <a:cubicBezTo>
                    <a:pt x="0" y="0"/>
                    <a:pt x="8" y="35"/>
                    <a:pt x="8" y="35"/>
                  </a:cubicBezTo>
                  <a:cubicBezTo>
                    <a:pt x="14" y="33"/>
                    <a:pt x="37" y="39"/>
                    <a:pt x="49" y="43"/>
                  </a:cubicBezTo>
                  <a:cubicBezTo>
                    <a:pt x="48" y="43"/>
                    <a:pt x="24" y="44"/>
                    <a:pt x="27" y="44"/>
                  </a:cubicBezTo>
                  <a:cubicBezTo>
                    <a:pt x="30" y="44"/>
                    <a:pt x="52" y="58"/>
                    <a:pt x="66" y="71"/>
                  </a:cubicBezTo>
                  <a:cubicBezTo>
                    <a:pt x="79" y="84"/>
                    <a:pt x="76" y="103"/>
                    <a:pt x="65" y="116"/>
                  </a:cubicBezTo>
                  <a:cubicBezTo>
                    <a:pt x="54" y="129"/>
                    <a:pt x="64" y="134"/>
                    <a:pt x="64" y="134"/>
                  </a:cubicBezTo>
                  <a:cubicBezTo>
                    <a:pt x="75" y="141"/>
                    <a:pt x="75" y="141"/>
                    <a:pt x="75" y="141"/>
                  </a:cubicBezTo>
                  <a:cubicBezTo>
                    <a:pt x="75" y="141"/>
                    <a:pt x="75" y="140"/>
                    <a:pt x="75" y="138"/>
                  </a:cubicBezTo>
                  <a:cubicBezTo>
                    <a:pt x="75" y="141"/>
                    <a:pt x="75" y="141"/>
                    <a:pt x="75" y="141"/>
                  </a:cubicBezTo>
                  <a:cubicBezTo>
                    <a:pt x="75" y="141"/>
                    <a:pt x="63" y="154"/>
                    <a:pt x="88" y="130"/>
                  </a:cubicBezTo>
                  <a:cubicBezTo>
                    <a:pt x="113" y="106"/>
                    <a:pt x="127" y="87"/>
                    <a:pt x="118" y="76"/>
                  </a:cubicBez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100">
              <a:extLst>
                <a:ext uri="{FF2B5EF4-FFF2-40B4-BE49-F238E27FC236}">
                  <a16:creationId xmlns:a16="http://schemas.microsoft.com/office/drawing/2014/main" id="{832E2B08-C1E1-4886-8288-B1918ECB1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4" y="658"/>
              <a:ext cx="95" cy="95"/>
            </a:xfrm>
            <a:custGeom>
              <a:avLst/>
              <a:gdLst>
                <a:gd name="T0" fmla="*/ 6 w 40"/>
                <a:gd name="T1" fmla="*/ 10 h 40"/>
                <a:gd name="T2" fmla="*/ 10 w 40"/>
                <a:gd name="T3" fmla="*/ 34 h 40"/>
                <a:gd name="T4" fmla="*/ 34 w 40"/>
                <a:gd name="T5" fmla="*/ 30 h 40"/>
                <a:gd name="T6" fmla="*/ 30 w 40"/>
                <a:gd name="T7" fmla="*/ 6 h 40"/>
                <a:gd name="T8" fmla="*/ 6 w 40"/>
                <a:gd name="T9" fmla="*/ 1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0">
                  <a:moveTo>
                    <a:pt x="6" y="10"/>
                  </a:moveTo>
                  <a:cubicBezTo>
                    <a:pt x="0" y="18"/>
                    <a:pt x="2" y="29"/>
                    <a:pt x="10" y="34"/>
                  </a:cubicBezTo>
                  <a:cubicBezTo>
                    <a:pt x="18" y="40"/>
                    <a:pt x="28" y="38"/>
                    <a:pt x="34" y="30"/>
                  </a:cubicBezTo>
                  <a:cubicBezTo>
                    <a:pt x="40" y="22"/>
                    <a:pt x="38" y="11"/>
                    <a:pt x="30" y="6"/>
                  </a:cubicBezTo>
                  <a:cubicBezTo>
                    <a:pt x="22" y="0"/>
                    <a:pt x="11" y="2"/>
                    <a:pt x="6" y="10"/>
                  </a:cubicBez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101">
              <a:extLst>
                <a:ext uri="{FF2B5EF4-FFF2-40B4-BE49-F238E27FC236}">
                  <a16:creationId xmlns:a16="http://schemas.microsoft.com/office/drawing/2014/main" id="{7D184FB5-D944-4466-9EB5-A5C0B40B7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6" y="1399"/>
              <a:ext cx="166" cy="154"/>
            </a:xfrm>
            <a:custGeom>
              <a:avLst/>
              <a:gdLst>
                <a:gd name="T0" fmla="*/ 0 w 166"/>
                <a:gd name="T1" fmla="*/ 135 h 154"/>
                <a:gd name="T2" fmla="*/ 74 w 166"/>
                <a:gd name="T3" fmla="*/ 0 h 154"/>
                <a:gd name="T4" fmla="*/ 166 w 166"/>
                <a:gd name="T5" fmla="*/ 26 h 154"/>
                <a:gd name="T6" fmla="*/ 93 w 166"/>
                <a:gd name="T7" fmla="*/ 154 h 154"/>
                <a:gd name="T8" fmla="*/ 0 w 166"/>
                <a:gd name="T9" fmla="*/ 13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54">
                  <a:moveTo>
                    <a:pt x="0" y="135"/>
                  </a:moveTo>
                  <a:lnTo>
                    <a:pt x="74" y="0"/>
                  </a:lnTo>
                  <a:lnTo>
                    <a:pt x="166" y="26"/>
                  </a:lnTo>
                  <a:lnTo>
                    <a:pt x="93" y="154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102">
              <a:extLst>
                <a:ext uri="{FF2B5EF4-FFF2-40B4-BE49-F238E27FC236}">
                  <a16:creationId xmlns:a16="http://schemas.microsoft.com/office/drawing/2014/main" id="{1A853AE4-A2AA-4E14-90CB-6859191D8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6" y="1299"/>
              <a:ext cx="311" cy="135"/>
            </a:xfrm>
            <a:custGeom>
              <a:avLst/>
              <a:gdLst>
                <a:gd name="T0" fmla="*/ 48 w 131"/>
                <a:gd name="T1" fmla="*/ 57 h 57"/>
                <a:gd name="T2" fmla="*/ 85 w 131"/>
                <a:gd name="T3" fmla="*/ 43 h 57"/>
                <a:gd name="T4" fmla="*/ 108 w 131"/>
                <a:gd name="T5" fmla="*/ 42 h 57"/>
                <a:gd name="T6" fmla="*/ 130 w 131"/>
                <a:gd name="T7" fmla="*/ 23 h 57"/>
                <a:gd name="T8" fmla="*/ 131 w 131"/>
                <a:gd name="T9" fmla="*/ 18 h 57"/>
                <a:gd name="T10" fmla="*/ 0 w 131"/>
                <a:gd name="T11" fmla="*/ 0 h 57"/>
                <a:gd name="T12" fmla="*/ 2 w 131"/>
                <a:gd name="T13" fmla="*/ 50 h 57"/>
                <a:gd name="T14" fmla="*/ 48 w 131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57">
                  <a:moveTo>
                    <a:pt x="48" y="57"/>
                  </a:moveTo>
                  <a:cubicBezTo>
                    <a:pt x="85" y="43"/>
                    <a:pt x="85" y="43"/>
                    <a:pt x="85" y="43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19" y="41"/>
                    <a:pt x="128" y="34"/>
                    <a:pt x="130" y="23"/>
                  </a:cubicBezTo>
                  <a:cubicBezTo>
                    <a:pt x="131" y="18"/>
                    <a:pt x="131" y="18"/>
                    <a:pt x="131" y="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50"/>
                    <a:pt x="2" y="50"/>
                    <a:pt x="2" y="50"/>
                  </a:cubicBezTo>
                  <a:lnTo>
                    <a:pt x="48" y="57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103">
              <a:extLst>
                <a:ext uri="{FF2B5EF4-FFF2-40B4-BE49-F238E27FC236}">
                  <a16:creationId xmlns:a16="http://schemas.microsoft.com/office/drawing/2014/main" id="{ED73CAA9-9D1B-4D2A-B531-A8A778169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1" y="1297"/>
              <a:ext cx="318" cy="69"/>
            </a:xfrm>
            <a:custGeom>
              <a:avLst/>
              <a:gdLst>
                <a:gd name="T0" fmla="*/ 3 w 318"/>
                <a:gd name="T1" fmla="*/ 0 h 69"/>
                <a:gd name="T2" fmla="*/ 318 w 318"/>
                <a:gd name="T3" fmla="*/ 45 h 69"/>
                <a:gd name="T4" fmla="*/ 314 w 318"/>
                <a:gd name="T5" fmla="*/ 69 h 69"/>
                <a:gd name="T6" fmla="*/ 0 w 318"/>
                <a:gd name="T7" fmla="*/ 26 h 69"/>
                <a:gd name="T8" fmla="*/ 3 w 318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69">
                  <a:moveTo>
                    <a:pt x="3" y="0"/>
                  </a:moveTo>
                  <a:lnTo>
                    <a:pt x="318" y="45"/>
                  </a:lnTo>
                  <a:lnTo>
                    <a:pt x="314" y="69"/>
                  </a:lnTo>
                  <a:lnTo>
                    <a:pt x="0" y="26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3F0F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104">
              <a:extLst>
                <a:ext uri="{FF2B5EF4-FFF2-40B4-BE49-F238E27FC236}">
                  <a16:creationId xmlns:a16="http://schemas.microsoft.com/office/drawing/2014/main" id="{01C93D8B-F61F-4275-8558-E4E071057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1" y="1297"/>
              <a:ext cx="318" cy="69"/>
            </a:xfrm>
            <a:custGeom>
              <a:avLst/>
              <a:gdLst>
                <a:gd name="T0" fmla="*/ 3 w 318"/>
                <a:gd name="T1" fmla="*/ 0 h 69"/>
                <a:gd name="T2" fmla="*/ 318 w 318"/>
                <a:gd name="T3" fmla="*/ 45 h 69"/>
                <a:gd name="T4" fmla="*/ 314 w 318"/>
                <a:gd name="T5" fmla="*/ 69 h 69"/>
                <a:gd name="T6" fmla="*/ 0 w 318"/>
                <a:gd name="T7" fmla="*/ 26 h 69"/>
                <a:gd name="T8" fmla="*/ 3 w 318"/>
                <a:gd name="T9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69">
                  <a:moveTo>
                    <a:pt x="3" y="0"/>
                  </a:moveTo>
                  <a:lnTo>
                    <a:pt x="318" y="45"/>
                  </a:lnTo>
                  <a:lnTo>
                    <a:pt x="314" y="69"/>
                  </a:lnTo>
                  <a:lnTo>
                    <a:pt x="0" y="26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105">
              <a:extLst>
                <a:ext uri="{FF2B5EF4-FFF2-40B4-BE49-F238E27FC236}">
                  <a16:creationId xmlns:a16="http://schemas.microsoft.com/office/drawing/2014/main" id="{701A040C-0E3B-455D-973E-377FB06B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8" y="1480"/>
              <a:ext cx="717" cy="752"/>
            </a:xfrm>
            <a:custGeom>
              <a:avLst/>
              <a:gdLst>
                <a:gd name="T0" fmla="*/ 0 w 302"/>
                <a:gd name="T1" fmla="*/ 227 h 317"/>
                <a:gd name="T2" fmla="*/ 147 w 302"/>
                <a:gd name="T3" fmla="*/ 140 h 317"/>
                <a:gd name="T4" fmla="*/ 232 w 302"/>
                <a:gd name="T5" fmla="*/ 0 h 317"/>
                <a:gd name="T6" fmla="*/ 302 w 302"/>
                <a:gd name="T7" fmla="*/ 23 h 317"/>
                <a:gd name="T8" fmla="*/ 222 w 302"/>
                <a:gd name="T9" fmla="*/ 192 h 317"/>
                <a:gd name="T10" fmla="*/ 180 w 302"/>
                <a:gd name="T11" fmla="*/ 212 h 317"/>
                <a:gd name="T12" fmla="*/ 33 w 302"/>
                <a:gd name="T13" fmla="*/ 314 h 317"/>
                <a:gd name="T14" fmla="*/ 0 w 302"/>
                <a:gd name="T15" fmla="*/ 22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2" h="317">
                  <a:moveTo>
                    <a:pt x="0" y="227"/>
                  </a:moveTo>
                  <a:cubicBezTo>
                    <a:pt x="147" y="140"/>
                    <a:pt x="147" y="140"/>
                    <a:pt x="147" y="140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302" y="23"/>
                    <a:pt x="302" y="23"/>
                    <a:pt x="302" y="23"/>
                  </a:cubicBezTo>
                  <a:cubicBezTo>
                    <a:pt x="222" y="192"/>
                    <a:pt x="222" y="192"/>
                    <a:pt x="222" y="192"/>
                  </a:cubicBezTo>
                  <a:cubicBezTo>
                    <a:pt x="214" y="208"/>
                    <a:pt x="194" y="202"/>
                    <a:pt x="180" y="212"/>
                  </a:cubicBezTo>
                  <a:cubicBezTo>
                    <a:pt x="180" y="212"/>
                    <a:pt x="102" y="305"/>
                    <a:pt x="33" y="314"/>
                  </a:cubicBezTo>
                  <a:cubicBezTo>
                    <a:pt x="10" y="317"/>
                    <a:pt x="0" y="227"/>
                    <a:pt x="0" y="227"/>
                  </a:cubicBezTo>
                  <a:close/>
                </a:path>
              </a:pathLst>
            </a:custGeom>
            <a:solidFill>
              <a:srgbClr val="156D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106">
              <a:extLst>
                <a:ext uri="{FF2B5EF4-FFF2-40B4-BE49-F238E27FC236}">
                  <a16:creationId xmlns:a16="http://schemas.microsoft.com/office/drawing/2014/main" id="{8D1DACCB-A00B-4978-B209-31374E9D7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2" y="1641"/>
              <a:ext cx="204" cy="173"/>
            </a:xfrm>
            <a:custGeom>
              <a:avLst/>
              <a:gdLst>
                <a:gd name="T0" fmla="*/ 0 w 204"/>
                <a:gd name="T1" fmla="*/ 107 h 173"/>
                <a:gd name="T2" fmla="*/ 130 w 204"/>
                <a:gd name="T3" fmla="*/ 0 h 173"/>
                <a:gd name="T4" fmla="*/ 204 w 204"/>
                <a:gd name="T5" fmla="*/ 69 h 173"/>
                <a:gd name="T6" fmla="*/ 78 w 204"/>
                <a:gd name="T7" fmla="*/ 173 h 173"/>
                <a:gd name="T8" fmla="*/ 0 w 204"/>
                <a:gd name="T9" fmla="*/ 10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" h="173">
                  <a:moveTo>
                    <a:pt x="0" y="107"/>
                  </a:moveTo>
                  <a:lnTo>
                    <a:pt x="130" y="0"/>
                  </a:lnTo>
                  <a:lnTo>
                    <a:pt x="204" y="69"/>
                  </a:lnTo>
                  <a:lnTo>
                    <a:pt x="78" y="173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107">
              <a:extLst>
                <a:ext uri="{FF2B5EF4-FFF2-40B4-BE49-F238E27FC236}">
                  <a16:creationId xmlns:a16="http://schemas.microsoft.com/office/drawing/2014/main" id="{8C872FFF-4845-410C-868C-152C303E1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6" y="1532"/>
              <a:ext cx="328" cy="237"/>
            </a:xfrm>
            <a:custGeom>
              <a:avLst/>
              <a:gdLst>
                <a:gd name="T0" fmla="*/ 39 w 138"/>
                <a:gd name="T1" fmla="*/ 79 h 100"/>
                <a:gd name="T2" fmla="*/ 82 w 138"/>
                <a:gd name="T3" fmla="*/ 84 h 100"/>
                <a:gd name="T4" fmla="*/ 104 w 138"/>
                <a:gd name="T5" fmla="*/ 95 h 100"/>
                <a:gd name="T6" fmla="*/ 134 w 138"/>
                <a:gd name="T7" fmla="*/ 88 h 100"/>
                <a:gd name="T8" fmla="*/ 138 w 138"/>
                <a:gd name="T9" fmla="*/ 84 h 100"/>
                <a:gd name="T10" fmla="*/ 23 w 138"/>
                <a:gd name="T11" fmla="*/ 0 h 100"/>
                <a:gd name="T12" fmla="*/ 0 w 138"/>
                <a:gd name="T13" fmla="*/ 49 h 100"/>
                <a:gd name="T14" fmla="*/ 39 w 138"/>
                <a:gd name="T15" fmla="*/ 7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100">
                  <a:moveTo>
                    <a:pt x="39" y="79"/>
                  </a:moveTo>
                  <a:cubicBezTo>
                    <a:pt x="82" y="84"/>
                    <a:pt x="82" y="84"/>
                    <a:pt x="82" y="84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14" y="100"/>
                    <a:pt x="127" y="97"/>
                    <a:pt x="134" y="88"/>
                  </a:cubicBezTo>
                  <a:cubicBezTo>
                    <a:pt x="138" y="84"/>
                    <a:pt x="138" y="84"/>
                    <a:pt x="138" y="84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0" y="49"/>
                    <a:pt x="0" y="49"/>
                    <a:pt x="0" y="49"/>
                  </a:cubicBezTo>
                  <a:lnTo>
                    <a:pt x="39" y="79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108">
              <a:extLst>
                <a:ext uri="{FF2B5EF4-FFF2-40B4-BE49-F238E27FC236}">
                  <a16:creationId xmlns:a16="http://schemas.microsoft.com/office/drawing/2014/main" id="{BDD3206B-B19E-4BAA-B08A-AE3101A96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4" y="1529"/>
              <a:ext cx="292" cy="226"/>
            </a:xfrm>
            <a:custGeom>
              <a:avLst/>
              <a:gdLst>
                <a:gd name="T0" fmla="*/ 17 w 292"/>
                <a:gd name="T1" fmla="*/ 0 h 226"/>
                <a:gd name="T2" fmla="*/ 292 w 292"/>
                <a:gd name="T3" fmla="*/ 202 h 226"/>
                <a:gd name="T4" fmla="*/ 276 w 292"/>
                <a:gd name="T5" fmla="*/ 226 h 226"/>
                <a:gd name="T6" fmla="*/ 0 w 292"/>
                <a:gd name="T7" fmla="*/ 24 h 226"/>
                <a:gd name="T8" fmla="*/ 17 w 292"/>
                <a:gd name="T9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2" h="226">
                  <a:moveTo>
                    <a:pt x="17" y="0"/>
                  </a:moveTo>
                  <a:lnTo>
                    <a:pt x="292" y="202"/>
                  </a:lnTo>
                  <a:lnTo>
                    <a:pt x="276" y="226"/>
                  </a:lnTo>
                  <a:lnTo>
                    <a:pt x="0" y="24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3F0F1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109">
              <a:extLst>
                <a:ext uri="{FF2B5EF4-FFF2-40B4-BE49-F238E27FC236}">
                  <a16:creationId xmlns:a16="http://schemas.microsoft.com/office/drawing/2014/main" id="{0774265A-B7D2-477C-B990-B28B5B1B5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4" y="1529"/>
              <a:ext cx="292" cy="226"/>
            </a:xfrm>
            <a:custGeom>
              <a:avLst/>
              <a:gdLst>
                <a:gd name="T0" fmla="*/ 17 w 292"/>
                <a:gd name="T1" fmla="*/ 0 h 226"/>
                <a:gd name="T2" fmla="*/ 292 w 292"/>
                <a:gd name="T3" fmla="*/ 202 h 226"/>
                <a:gd name="T4" fmla="*/ 276 w 292"/>
                <a:gd name="T5" fmla="*/ 226 h 226"/>
                <a:gd name="T6" fmla="*/ 0 w 292"/>
                <a:gd name="T7" fmla="*/ 24 h 226"/>
                <a:gd name="T8" fmla="*/ 17 w 292"/>
                <a:gd name="T9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2" h="226">
                  <a:moveTo>
                    <a:pt x="17" y="0"/>
                  </a:moveTo>
                  <a:lnTo>
                    <a:pt x="292" y="202"/>
                  </a:lnTo>
                  <a:lnTo>
                    <a:pt x="276" y="226"/>
                  </a:lnTo>
                  <a:lnTo>
                    <a:pt x="0" y="24"/>
                  </a:lnTo>
                  <a:lnTo>
                    <a:pt x="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110">
              <a:extLst>
                <a:ext uri="{FF2B5EF4-FFF2-40B4-BE49-F238E27FC236}">
                  <a16:creationId xmlns:a16="http://schemas.microsoft.com/office/drawing/2014/main" id="{BCFD197A-17F3-438B-954B-5F20006AE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1" y="1674"/>
              <a:ext cx="1085" cy="599"/>
            </a:xfrm>
            <a:custGeom>
              <a:avLst/>
              <a:gdLst>
                <a:gd name="T0" fmla="*/ 94 w 457"/>
                <a:gd name="T1" fmla="*/ 119 h 252"/>
                <a:gd name="T2" fmla="*/ 256 w 457"/>
                <a:gd name="T3" fmla="*/ 98 h 252"/>
                <a:gd name="T4" fmla="*/ 402 w 457"/>
                <a:gd name="T5" fmla="*/ 0 h 252"/>
                <a:gd name="T6" fmla="*/ 457 w 457"/>
                <a:gd name="T7" fmla="*/ 50 h 252"/>
                <a:gd name="T8" fmla="*/ 324 w 457"/>
                <a:gd name="T9" fmla="*/ 175 h 252"/>
                <a:gd name="T10" fmla="*/ 275 w 457"/>
                <a:gd name="T11" fmla="*/ 201 h 252"/>
                <a:gd name="T12" fmla="*/ 24 w 457"/>
                <a:gd name="T13" fmla="*/ 234 h 252"/>
                <a:gd name="T14" fmla="*/ 94 w 457"/>
                <a:gd name="T15" fmla="*/ 119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7" h="252">
                  <a:moveTo>
                    <a:pt x="94" y="119"/>
                  </a:moveTo>
                  <a:cubicBezTo>
                    <a:pt x="256" y="98"/>
                    <a:pt x="256" y="98"/>
                    <a:pt x="256" y="98"/>
                  </a:cubicBezTo>
                  <a:cubicBezTo>
                    <a:pt x="402" y="0"/>
                    <a:pt x="402" y="0"/>
                    <a:pt x="402" y="0"/>
                  </a:cubicBezTo>
                  <a:cubicBezTo>
                    <a:pt x="457" y="50"/>
                    <a:pt x="457" y="50"/>
                    <a:pt x="457" y="50"/>
                  </a:cubicBezTo>
                  <a:cubicBezTo>
                    <a:pt x="324" y="175"/>
                    <a:pt x="324" y="175"/>
                    <a:pt x="324" y="175"/>
                  </a:cubicBezTo>
                  <a:cubicBezTo>
                    <a:pt x="310" y="187"/>
                    <a:pt x="294" y="196"/>
                    <a:pt x="275" y="201"/>
                  </a:cubicBezTo>
                  <a:cubicBezTo>
                    <a:pt x="275" y="201"/>
                    <a:pt x="97" y="252"/>
                    <a:pt x="24" y="234"/>
                  </a:cubicBezTo>
                  <a:cubicBezTo>
                    <a:pt x="0" y="228"/>
                    <a:pt x="94" y="119"/>
                    <a:pt x="94" y="119"/>
                  </a:cubicBezTo>
                  <a:close/>
                </a:path>
              </a:pathLst>
            </a:custGeom>
            <a:solidFill>
              <a:srgbClr val="2A9F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 111">
              <a:extLst>
                <a:ext uri="{FF2B5EF4-FFF2-40B4-BE49-F238E27FC236}">
                  <a16:creationId xmlns:a16="http://schemas.microsoft.com/office/drawing/2014/main" id="{573F31B9-3F2D-49D1-AA35-3DBD4C19D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" y="1888"/>
              <a:ext cx="102" cy="105"/>
            </a:xfrm>
            <a:custGeom>
              <a:avLst/>
              <a:gdLst>
                <a:gd name="T0" fmla="*/ 43 w 43"/>
                <a:gd name="T1" fmla="*/ 16 h 44"/>
                <a:gd name="T2" fmla="*/ 27 w 43"/>
                <a:gd name="T3" fmla="*/ 0 h 44"/>
                <a:gd name="T4" fmla="*/ 0 w 43"/>
                <a:gd name="T5" fmla="*/ 16 h 44"/>
                <a:gd name="T6" fmla="*/ 29 w 43"/>
                <a:gd name="T7" fmla="*/ 44 h 44"/>
                <a:gd name="T8" fmla="*/ 43 w 43"/>
                <a:gd name="T9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4">
                  <a:moveTo>
                    <a:pt x="43" y="16"/>
                  </a:moveTo>
                  <a:cubicBezTo>
                    <a:pt x="42" y="15"/>
                    <a:pt x="27" y="0"/>
                    <a:pt x="27" y="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9" y="44"/>
                    <a:pt x="29" y="44"/>
                    <a:pt x="29" y="44"/>
                  </a:cubicBezTo>
                  <a:lnTo>
                    <a:pt x="43" y="16"/>
                  </a:ln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112">
              <a:extLst>
                <a:ext uri="{FF2B5EF4-FFF2-40B4-BE49-F238E27FC236}">
                  <a16:creationId xmlns:a16="http://schemas.microsoft.com/office/drawing/2014/main" id="{C5E820C0-1D08-47B6-B616-8B022596C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2" y="1793"/>
              <a:ext cx="152" cy="133"/>
            </a:xfrm>
            <a:custGeom>
              <a:avLst/>
              <a:gdLst>
                <a:gd name="T0" fmla="*/ 56 w 64"/>
                <a:gd name="T1" fmla="*/ 40 h 56"/>
                <a:gd name="T2" fmla="*/ 44 w 64"/>
                <a:gd name="T3" fmla="*/ 0 h 56"/>
                <a:gd name="T4" fmla="*/ 0 w 64"/>
                <a:gd name="T5" fmla="*/ 14 h 56"/>
                <a:gd name="T6" fmla="*/ 29 w 64"/>
                <a:gd name="T7" fmla="*/ 56 h 56"/>
                <a:gd name="T8" fmla="*/ 56 w 64"/>
                <a:gd name="T9" fmla="*/ 4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56">
                  <a:moveTo>
                    <a:pt x="56" y="40"/>
                  </a:moveTo>
                  <a:cubicBezTo>
                    <a:pt x="56" y="40"/>
                    <a:pt x="64" y="16"/>
                    <a:pt x="44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1" y="39"/>
                    <a:pt x="29" y="56"/>
                  </a:cubicBezTo>
                  <a:lnTo>
                    <a:pt x="56" y="40"/>
                  </a:ln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113">
              <a:extLst>
                <a:ext uri="{FF2B5EF4-FFF2-40B4-BE49-F238E27FC236}">
                  <a16:creationId xmlns:a16="http://schemas.microsoft.com/office/drawing/2014/main" id="{FE30D6F1-F4C9-4AF7-A682-4029C3574D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3" y="1651"/>
              <a:ext cx="180" cy="247"/>
            </a:xfrm>
            <a:custGeom>
              <a:avLst/>
              <a:gdLst>
                <a:gd name="T0" fmla="*/ 55 w 76"/>
                <a:gd name="T1" fmla="*/ 5 h 104"/>
                <a:gd name="T2" fmla="*/ 75 w 76"/>
                <a:gd name="T3" fmla="*/ 84 h 104"/>
                <a:gd name="T4" fmla="*/ 71 w 76"/>
                <a:gd name="T5" fmla="*/ 92 h 104"/>
                <a:gd name="T6" fmla="*/ 30 w 76"/>
                <a:gd name="T7" fmla="*/ 103 h 104"/>
                <a:gd name="T8" fmla="*/ 22 w 76"/>
                <a:gd name="T9" fmla="*/ 98 h 104"/>
                <a:gd name="T10" fmla="*/ 1 w 76"/>
                <a:gd name="T11" fmla="*/ 19 h 104"/>
                <a:gd name="T12" fmla="*/ 6 w 76"/>
                <a:gd name="T13" fmla="*/ 11 h 104"/>
                <a:gd name="T14" fmla="*/ 47 w 76"/>
                <a:gd name="T15" fmla="*/ 0 h 104"/>
                <a:gd name="T16" fmla="*/ 55 w 76"/>
                <a:gd name="T17" fmla="*/ 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104">
                  <a:moveTo>
                    <a:pt x="55" y="5"/>
                  </a:moveTo>
                  <a:cubicBezTo>
                    <a:pt x="75" y="84"/>
                    <a:pt x="75" y="84"/>
                    <a:pt x="75" y="84"/>
                  </a:cubicBezTo>
                  <a:cubicBezTo>
                    <a:pt x="76" y="88"/>
                    <a:pt x="74" y="92"/>
                    <a:pt x="71" y="92"/>
                  </a:cubicBezTo>
                  <a:cubicBezTo>
                    <a:pt x="30" y="103"/>
                    <a:pt x="30" y="103"/>
                    <a:pt x="30" y="103"/>
                  </a:cubicBezTo>
                  <a:cubicBezTo>
                    <a:pt x="26" y="104"/>
                    <a:pt x="23" y="102"/>
                    <a:pt x="22" y="9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5"/>
                    <a:pt x="2" y="11"/>
                    <a:pt x="6" y="1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4" y="2"/>
                    <a:pt x="5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114">
              <a:extLst>
                <a:ext uri="{FF2B5EF4-FFF2-40B4-BE49-F238E27FC236}">
                  <a16:creationId xmlns:a16="http://schemas.microsoft.com/office/drawing/2014/main" id="{348E1758-7368-449A-882D-21F56260C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4" y="1670"/>
              <a:ext cx="136" cy="192"/>
            </a:xfrm>
            <a:custGeom>
              <a:avLst/>
              <a:gdLst>
                <a:gd name="T0" fmla="*/ 41 w 57"/>
                <a:gd name="T1" fmla="*/ 5 h 81"/>
                <a:gd name="T2" fmla="*/ 57 w 57"/>
                <a:gd name="T3" fmla="*/ 66 h 81"/>
                <a:gd name="T4" fmla="*/ 53 w 57"/>
                <a:gd name="T5" fmla="*/ 72 h 81"/>
                <a:gd name="T6" fmla="*/ 23 w 57"/>
                <a:gd name="T7" fmla="*/ 80 h 81"/>
                <a:gd name="T8" fmla="*/ 17 w 57"/>
                <a:gd name="T9" fmla="*/ 77 h 81"/>
                <a:gd name="T10" fmla="*/ 0 w 57"/>
                <a:gd name="T11" fmla="*/ 14 h 81"/>
                <a:gd name="T12" fmla="*/ 4 w 57"/>
                <a:gd name="T13" fmla="*/ 8 h 81"/>
                <a:gd name="T14" fmla="*/ 35 w 57"/>
                <a:gd name="T15" fmla="*/ 1 h 81"/>
                <a:gd name="T16" fmla="*/ 41 w 57"/>
                <a:gd name="T17" fmla="*/ 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81">
                  <a:moveTo>
                    <a:pt x="41" y="5"/>
                  </a:moveTo>
                  <a:cubicBezTo>
                    <a:pt x="57" y="66"/>
                    <a:pt x="57" y="66"/>
                    <a:pt x="57" y="66"/>
                  </a:cubicBezTo>
                  <a:cubicBezTo>
                    <a:pt x="57" y="69"/>
                    <a:pt x="56" y="72"/>
                    <a:pt x="53" y="72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0" y="81"/>
                    <a:pt x="18" y="79"/>
                    <a:pt x="17" y="7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2"/>
                    <a:pt x="1" y="9"/>
                    <a:pt x="4" y="8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7" y="0"/>
                    <a:pt x="40" y="2"/>
                    <a:pt x="41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115">
              <a:extLst>
                <a:ext uri="{FF2B5EF4-FFF2-40B4-BE49-F238E27FC236}">
                  <a16:creationId xmlns:a16="http://schemas.microsoft.com/office/drawing/2014/main" id="{282CBF28-B75A-444D-A3AE-15F4169E7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4" y="1736"/>
              <a:ext cx="130" cy="138"/>
            </a:xfrm>
            <a:custGeom>
              <a:avLst/>
              <a:gdLst>
                <a:gd name="T0" fmla="*/ 49 w 55"/>
                <a:gd name="T1" fmla="*/ 25 h 58"/>
                <a:gd name="T2" fmla="*/ 33 w 55"/>
                <a:gd name="T3" fmla="*/ 17 h 58"/>
                <a:gd name="T4" fmla="*/ 0 w 55"/>
                <a:gd name="T5" fmla="*/ 0 h 58"/>
                <a:gd name="T6" fmla="*/ 14 w 55"/>
                <a:gd name="T7" fmla="*/ 54 h 58"/>
                <a:gd name="T8" fmla="*/ 20 w 55"/>
                <a:gd name="T9" fmla="*/ 58 h 58"/>
                <a:gd name="T10" fmla="*/ 51 w 55"/>
                <a:gd name="T11" fmla="*/ 49 h 58"/>
                <a:gd name="T12" fmla="*/ 54 w 55"/>
                <a:gd name="T13" fmla="*/ 44 h 58"/>
                <a:gd name="T14" fmla="*/ 49 w 55"/>
                <a:gd name="T15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58">
                  <a:moveTo>
                    <a:pt x="49" y="25"/>
                  </a:moveTo>
                  <a:cubicBezTo>
                    <a:pt x="49" y="25"/>
                    <a:pt x="43" y="33"/>
                    <a:pt x="33" y="17"/>
                  </a:cubicBezTo>
                  <a:cubicBezTo>
                    <a:pt x="22" y="1"/>
                    <a:pt x="0" y="0"/>
                    <a:pt x="0" y="0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7"/>
                    <a:pt x="17" y="58"/>
                    <a:pt x="20" y="58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4" y="49"/>
                    <a:pt x="55" y="46"/>
                    <a:pt x="54" y="44"/>
                  </a:cubicBezTo>
                  <a:lnTo>
                    <a:pt x="49" y="25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16">
              <a:extLst>
                <a:ext uri="{FF2B5EF4-FFF2-40B4-BE49-F238E27FC236}">
                  <a16:creationId xmlns:a16="http://schemas.microsoft.com/office/drawing/2014/main" id="{28A13E74-E234-4DCA-97B7-EB85542E6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7" y="1776"/>
              <a:ext cx="78" cy="122"/>
            </a:xfrm>
            <a:custGeom>
              <a:avLst/>
              <a:gdLst>
                <a:gd name="T0" fmla="*/ 26 w 33"/>
                <a:gd name="T1" fmla="*/ 16 h 51"/>
                <a:gd name="T2" fmla="*/ 8 w 33"/>
                <a:gd name="T3" fmla="*/ 2 h 51"/>
                <a:gd name="T4" fmla="*/ 1 w 33"/>
                <a:gd name="T5" fmla="*/ 3 h 51"/>
                <a:gd name="T6" fmla="*/ 1 w 33"/>
                <a:gd name="T7" fmla="*/ 3 h 51"/>
                <a:gd name="T8" fmla="*/ 1 w 33"/>
                <a:gd name="T9" fmla="*/ 10 h 51"/>
                <a:gd name="T10" fmla="*/ 10 w 33"/>
                <a:gd name="T11" fmla="*/ 21 h 51"/>
                <a:gd name="T12" fmla="*/ 10 w 33"/>
                <a:gd name="T13" fmla="*/ 51 h 51"/>
                <a:gd name="T14" fmla="*/ 33 w 33"/>
                <a:gd name="T15" fmla="*/ 33 h 51"/>
                <a:gd name="T16" fmla="*/ 26 w 33"/>
                <a:gd name="T17" fmla="*/ 1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51">
                  <a:moveTo>
                    <a:pt x="26" y="16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6" y="0"/>
                    <a:pt x="3" y="1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1"/>
                    <a:pt x="1" y="43"/>
                    <a:pt x="10" y="51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6" y="16"/>
                    <a:pt x="26" y="16"/>
                    <a:pt x="26" y="16"/>
                  </a:cubicBez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117">
              <a:extLst>
                <a:ext uri="{FF2B5EF4-FFF2-40B4-BE49-F238E27FC236}">
                  <a16:creationId xmlns:a16="http://schemas.microsoft.com/office/drawing/2014/main" id="{42CA072D-4C80-4364-B7A5-FB69B7BDA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" y="1909"/>
              <a:ext cx="470" cy="276"/>
            </a:xfrm>
            <a:custGeom>
              <a:avLst/>
              <a:gdLst>
                <a:gd name="T0" fmla="*/ 149 w 198"/>
                <a:gd name="T1" fmla="*/ 6 h 116"/>
                <a:gd name="T2" fmla="*/ 16 w 198"/>
                <a:gd name="T3" fmla="*/ 71 h 116"/>
                <a:gd name="T4" fmla="*/ 5 w 198"/>
                <a:gd name="T5" fmla="*/ 101 h 116"/>
                <a:gd name="T6" fmla="*/ 5 w 198"/>
                <a:gd name="T7" fmla="*/ 101 h 116"/>
                <a:gd name="T8" fmla="*/ 33 w 198"/>
                <a:gd name="T9" fmla="*/ 113 h 116"/>
                <a:gd name="T10" fmla="*/ 171 w 198"/>
                <a:gd name="T11" fmla="*/ 64 h 116"/>
                <a:gd name="T12" fmla="*/ 185 w 198"/>
                <a:gd name="T13" fmla="*/ 14 h 116"/>
                <a:gd name="T14" fmla="*/ 185 w 198"/>
                <a:gd name="T15" fmla="*/ 14 h 116"/>
                <a:gd name="T16" fmla="*/ 149 w 198"/>
                <a:gd name="T17" fmla="*/ 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8" h="116">
                  <a:moveTo>
                    <a:pt x="149" y="6"/>
                  </a:moveTo>
                  <a:cubicBezTo>
                    <a:pt x="16" y="71"/>
                    <a:pt x="16" y="71"/>
                    <a:pt x="16" y="71"/>
                  </a:cubicBezTo>
                  <a:cubicBezTo>
                    <a:pt x="5" y="76"/>
                    <a:pt x="0" y="89"/>
                    <a:pt x="5" y="101"/>
                  </a:cubicBezTo>
                  <a:cubicBezTo>
                    <a:pt x="5" y="101"/>
                    <a:pt x="5" y="101"/>
                    <a:pt x="5" y="101"/>
                  </a:cubicBezTo>
                  <a:cubicBezTo>
                    <a:pt x="10" y="111"/>
                    <a:pt x="22" y="116"/>
                    <a:pt x="33" y="113"/>
                  </a:cubicBezTo>
                  <a:cubicBezTo>
                    <a:pt x="171" y="64"/>
                    <a:pt x="171" y="64"/>
                    <a:pt x="171" y="64"/>
                  </a:cubicBezTo>
                  <a:cubicBezTo>
                    <a:pt x="191" y="57"/>
                    <a:pt x="198" y="31"/>
                    <a:pt x="185" y="14"/>
                  </a:cubicBezTo>
                  <a:cubicBezTo>
                    <a:pt x="185" y="14"/>
                    <a:pt x="185" y="14"/>
                    <a:pt x="185" y="14"/>
                  </a:cubicBezTo>
                  <a:cubicBezTo>
                    <a:pt x="177" y="3"/>
                    <a:pt x="162" y="0"/>
                    <a:pt x="149" y="6"/>
                  </a:cubicBezTo>
                  <a:close/>
                </a:path>
              </a:pathLst>
            </a:custGeom>
            <a:solidFill>
              <a:srgbClr val="F9F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118">
              <a:extLst>
                <a:ext uri="{FF2B5EF4-FFF2-40B4-BE49-F238E27FC236}">
                  <a16:creationId xmlns:a16="http://schemas.microsoft.com/office/drawing/2014/main" id="{AC663998-35FB-440E-BD7F-7CBAEA122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5" y="1900"/>
              <a:ext cx="295" cy="287"/>
            </a:xfrm>
            <a:custGeom>
              <a:avLst/>
              <a:gdLst>
                <a:gd name="T0" fmla="*/ 33 w 124"/>
                <a:gd name="T1" fmla="*/ 0 h 121"/>
                <a:gd name="T2" fmla="*/ 0 w 124"/>
                <a:gd name="T3" fmla="*/ 26 h 121"/>
                <a:gd name="T4" fmla="*/ 71 w 124"/>
                <a:gd name="T5" fmla="*/ 107 h 121"/>
                <a:gd name="T6" fmla="*/ 115 w 124"/>
                <a:gd name="T7" fmla="*/ 106 h 121"/>
                <a:gd name="T8" fmla="*/ 115 w 124"/>
                <a:gd name="T9" fmla="*/ 106 h 121"/>
                <a:gd name="T10" fmla="*/ 111 w 124"/>
                <a:gd name="T11" fmla="*/ 67 h 121"/>
                <a:gd name="T12" fmla="*/ 33 w 124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121">
                  <a:moveTo>
                    <a:pt x="33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83" y="121"/>
                    <a:pt x="104" y="121"/>
                    <a:pt x="115" y="106"/>
                  </a:cubicBezTo>
                  <a:cubicBezTo>
                    <a:pt x="115" y="106"/>
                    <a:pt x="115" y="106"/>
                    <a:pt x="115" y="106"/>
                  </a:cubicBezTo>
                  <a:cubicBezTo>
                    <a:pt x="124" y="94"/>
                    <a:pt x="123" y="77"/>
                    <a:pt x="111" y="67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rgbClr val="F9F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Line 119">
              <a:extLst>
                <a:ext uri="{FF2B5EF4-FFF2-40B4-BE49-F238E27FC236}">
                  <a16:creationId xmlns:a16="http://schemas.microsoft.com/office/drawing/2014/main" id="{683512EA-9F5E-45C9-B739-4BAC367C79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830" y="2050"/>
              <a:ext cx="17" cy="45"/>
            </a:xfrm>
            <a:prstGeom prst="line">
              <a:avLst/>
            </a:prstGeom>
            <a:noFill/>
            <a:ln w="15875" cap="flat">
              <a:solidFill>
                <a:srgbClr val="A7E4D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120">
              <a:extLst>
                <a:ext uri="{FF2B5EF4-FFF2-40B4-BE49-F238E27FC236}">
                  <a16:creationId xmlns:a16="http://schemas.microsoft.com/office/drawing/2014/main" id="{5072C8EC-2154-4532-9A1F-771CCAC89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4" y="1259"/>
              <a:ext cx="124" cy="183"/>
            </a:xfrm>
            <a:custGeom>
              <a:avLst/>
              <a:gdLst>
                <a:gd name="T0" fmla="*/ 6 w 52"/>
                <a:gd name="T1" fmla="*/ 62 h 77"/>
                <a:gd name="T2" fmla="*/ 0 w 52"/>
                <a:gd name="T3" fmla="*/ 17 h 77"/>
                <a:gd name="T4" fmla="*/ 4 w 52"/>
                <a:gd name="T5" fmla="*/ 12 h 77"/>
                <a:gd name="T6" fmla="*/ 4 w 52"/>
                <a:gd name="T7" fmla="*/ 12 h 77"/>
                <a:gd name="T8" fmla="*/ 10 w 52"/>
                <a:gd name="T9" fmla="*/ 15 h 77"/>
                <a:gd name="T10" fmla="*/ 15 w 52"/>
                <a:gd name="T11" fmla="*/ 27 h 77"/>
                <a:gd name="T12" fmla="*/ 30 w 52"/>
                <a:gd name="T13" fmla="*/ 3 h 77"/>
                <a:gd name="T14" fmla="*/ 39 w 52"/>
                <a:gd name="T15" fmla="*/ 3 h 77"/>
                <a:gd name="T16" fmla="*/ 51 w 52"/>
                <a:gd name="T17" fmla="*/ 20 h 77"/>
                <a:gd name="T18" fmla="*/ 51 w 52"/>
                <a:gd name="T19" fmla="*/ 24 h 77"/>
                <a:gd name="T20" fmla="*/ 25 w 52"/>
                <a:gd name="T21" fmla="*/ 77 h 77"/>
                <a:gd name="T22" fmla="*/ 6 w 52"/>
                <a:gd name="T23" fmla="*/ 6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77">
                  <a:moveTo>
                    <a:pt x="6" y="62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5"/>
                    <a:pt x="1" y="13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6" y="11"/>
                    <a:pt x="9" y="13"/>
                    <a:pt x="10" y="15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2" y="0"/>
                    <a:pt x="36" y="0"/>
                    <a:pt x="39" y="3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2" y="21"/>
                    <a:pt x="52" y="23"/>
                    <a:pt x="51" y="24"/>
                  </a:cubicBezTo>
                  <a:cubicBezTo>
                    <a:pt x="48" y="35"/>
                    <a:pt x="42" y="67"/>
                    <a:pt x="25" y="77"/>
                  </a:cubicBezTo>
                  <a:lnTo>
                    <a:pt x="6" y="62"/>
                  </a:ln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21">
              <a:extLst>
                <a:ext uri="{FF2B5EF4-FFF2-40B4-BE49-F238E27FC236}">
                  <a16:creationId xmlns:a16="http://schemas.microsoft.com/office/drawing/2014/main" id="{86C3262B-38EC-4A0A-BADA-ACA566F98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9" y="1406"/>
              <a:ext cx="105" cy="140"/>
            </a:xfrm>
            <a:custGeom>
              <a:avLst/>
              <a:gdLst>
                <a:gd name="T0" fmla="*/ 60 w 105"/>
                <a:gd name="T1" fmla="*/ 0 h 140"/>
                <a:gd name="T2" fmla="*/ 0 w 105"/>
                <a:gd name="T3" fmla="*/ 131 h 140"/>
                <a:gd name="T4" fmla="*/ 45 w 105"/>
                <a:gd name="T5" fmla="*/ 140 h 140"/>
                <a:gd name="T6" fmla="*/ 105 w 105"/>
                <a:gd name="T7" fmla="*/ 36 h 140"/>
                <a:gd name="T8" fmla="*/ 60 w 105"/>
                <a:gd name="T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40">
                  <a:moveTo>
                    <a:pt x="60" y="0"/>
                  </a:moveTo>
                  <a:lnTo>
                    <a:pt x="0" y="131"/>
                  </a:lnTo>
                  <a:lnTo>
                    <a:pt x="45" y="140"/>
                  </a:lnTo>
                  <a:lnTo>
                    <a:pt x="105" y="36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122">
              <a:extLst>
                <a:ext uri="{FF2B5EF4-FFF2-40B4-BE49-F238E27FC236}">
                  <a16:creationId xmlns:a16="http://schemas.microsoft.com/office/drawing/2014/main" id="{E02DD94B-1112-4513-B9C6-4ADD3C35C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1615"/>
              <a:ext cx="446" cy="349"/>
            </a:xfrm>
            <a:custGeom>
              <a:avLst/>
              <a:gdLst>
                <a:gd name="T0" fmla="*/ 9 w 188"/>
                <a:gd name="T1" fmla="*/ 82 h 147"/>
                <a:gd name="T2" fmla="*/ 148 w 188"/>
                <a:gd name="T3" fmla="*/ 6 h 147"/>
                <a:gd name="T4" fmla="*/ 182 w 188"/>
                <a:gd name="T5" fmla="*/ 14 h 147"/>
                <a:gd name="T6" fmla="*/ 182 w 188"/>
                <a:gd name="T7" fmla="*/ 14 h 147"/>
                <a:gd name="T8" fmla="*/ 175 w 188"/>
                <a:gd name="T9" fmla="*/ 44 h 147"/>
                <a:gd name="T10" fmla="*/ 59 w 188"/>
                <a:gd name="T11" fmla="*/ 136 h 147"/>
                <a:gd name="T12" fmla="*/ 7 w 188"/>
                <a:gd name="T13" fmla="*/ 110 h 147"/>
                <a:gd name="T14" fmla="*/ 7 w 188"/>
                <a:gd name="T15" fmla="*/ 110 h 147"/>
                <a:gd name="T16" fmla="*/ 9 w 188"/>
                <a:gd name="T17" fmla="*/ 8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147">
                  <a:moveTo>
                    <a:pt x="9" y="82"/>
                  </a:moveTo>
                  <a:cubicBezTo>
                    <a:pt x="148" y="6"/>
                    <a:pt x="148" y="6"/>
                    <a:pt x="148" y="6"/>
                  </a:cubicBezTo>
                  <a:cubicBezTo>
                    <a:pt x="163" y="0"/>
                    <a:pt x="176" y="4"/>
                    <a:pt x="182" y="14"/>
                  </a:cubicBezTo>
                  <a:cubicBezTo>
                    <a:pt x="182" y="14"/>
                    <a:pt x="182" y="14"/>
                    <a:pt x="182" y="14"/>
                  </a:cubicBezTo>
                  <a:cubicBezTo>
                    <a:pt x="188" y="25"/>
                    <a:pt x="185" y="37"/>
                    <a:pt x="175" y="44"/>
                  </a:cubicBezTo>
                  <a:cubicBezTo>
                    <a:pt x="59" y="136"/>
                    <a:pt x="59" y="136"/>
                    <a:pt x="59" y="136"/>
                  </a:cubicBezTo>
                  <a:cubicBezTo>
                    <a:pt x="42" y="147"/>
                    <a:pt x="12" y="130"/>
                    <a:pt x="7" y="110"/>
                  </a:cubicBezTo>
                  <a:cubicBezTo>
                    <a:pt x="7" y="110"/>
                    <a:pt x="7" y="110"/>
                    <a:pt x="7" y="110"/>
                  </a:cubicBezTo>
                  <a:cubicBezTo>
                    <a:pt x="3" y="96"/>
                    <a:pt x="0" y="89"/>
                    <a:pt x="9" y="82"/>
                  </a:cubicBezTo>
                  <a:close/>
                </a:path>
              </a:pathLst>
            </a:custGeom>
            <a:solidFill>
              <a:srgbClr val="F9F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123">
              <a:extLst>
                <a:ext uri="{FF2B5EF4-FFF2-40B4-BE49-F238E27FC236}">
                  <a16:creationId xmlns:a16="http://schemas.microsoft.com/office/drawing/2014/main" id="{8B80F116-97B5-4C3E-85B2-2F3FF8918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" y="1415"/>
              <a:ext cx="251" cy="331"/>
            </a:xfrm>
            <a:custGeom>
              <a:avLst/>
              <a:gdLst>
                <a:gd name="T0" fmla="*/ 66 w 106"/>
                <a:gd name="T1" fmla="*/ 0 h 139"/>
                <a:gd name="T2" fmla="*/ 106 w 106"/>
                <a:gd name="T3" fmla="*/ 14 h 139"/>
                <a:gd name="T4" fmla="*/ 59 w 106"/>
                <a:gd name="T5" fmla="*/ 117 h 139"/>
                <a:gd name="T6" fmla="*/ 15 w 106"/>
                <a:gd name="T7" fmla="*/ 130 h 139"/>
                <a:gd name="T8" fmla="*/ 15 w 106"/>
                <a:gd name="T9" fmla="*/ 130 h 139"/>
                <a:gd name="T10" fmla="*/ 7 w 106"/>
                <a:gd name="T11" fmla="*/ 94 h 139"/>
                <a:gd name="T12" fmla="*/ 66 w 106"/>
                <a:gd name="T1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39">
                  <a:moveTo>
                    <a:pt x="66" y="0"/>
                  </a:moveTo>
                  <a:cubicBezTo>
                    <a:pt x="106" y="14"/>
                    <a:pt x="106" y="14"/>
                    <a:pt x="106" y="14"/>
                  </a:cubicBezTo>
                  <a:cubicBezTo>
                    <a:pt x="59" y="117"/>
                    <a:pt x="59" y="117"/>
                    <a:pt x="59" y="117"/>
                  </a:cubicBezTo>
                  <a:cubicBezTo>
                    <a:pt x="53" y="133"/>
                    <a:pt x="29" y="139"/>
                    <a:pt x="15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3" y="122"/>
                    <a:pt x="0" y="106"/>
                    <a:pt x="7" y="94"/>
                  </a:cubicBezTo>
                  <a:lnTo>
                    <a:pt x="66" y="0"/>
                  </a:lnTo>
                  <a:close/>
                </a:path>
              </a:pathLst>
            </a:custGeom>
            <a:solidFill>
              <a:srgbClr val="F9F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Line 124">
              <a:extLst>
                <a:ext uri="{FF2B5EF4-FFF2-40B4-BE49-F238E27FC236}">
                  <a16:creationId xmlns:a16="http://schemas.microsoft.com/office/drawing/2014/main" id="{0EDA4982-4051-4808-B153-ED4EC91D46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38" y="1651"/>
              <a:ext cx="45" cy="30"/>
            </a:xfrm>
            <a:prstGeom prst="line">
              <a:avLst/>
            </a:prstGeom>
            <a:noFill/>
            <a:ln w="15875" cap="flat">
              <a:solidFill>
                <a:srgbClr val="A7E4D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125">
              <a:extLst>
                <a:ext uri="{FF2B5EF4-FFF2-40B4-BE49-F238E27FC236}">
                  <a16:creationId xmlns:a16="http://schemas.microsoft.com/office/drawing/2014/main" id="{D3EBAD6C-67AF-4770-8244-9DF07CE09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9" y="1784"/>
              <a:ext cx="769" cy="501"/>
            </a:xfrm>
            <a:custGeom>
              <a:avLst/>
              <a:gdLst>
                <a:gd name="T0" fmla="*/ 10 w 324"/>
                <a:gd name="T1" fmla="*/ 57 h 211"/>
                <a:gd name="T2" fmla="*/ 126 w 324"/>
                <a:gd name="T3" fmla="*/ 5 h 211"/>
                <a:gd name="T4" fmla="*/ 158 w 324"/>
                <a:gd name="T5" fmla="*/ 11 h 211"/>
                <a:gd name="T6" fmla="*/ 301 w 324"/>
                <a:gd name="T7" fmla="*/ 39 h 211"/>
                <a:gd name="T8" fmla="*/ 312 w 324"/>
                <a:gd name="T9" fmla="*/ 142 h 211"/>
                <a:gd name="T10" fmla="*/ 191 w 324"/>
                <a:gd name="T11" fmla="*/ 200 h 211"/>
                <a:gd name="T12" fmla="*/ 23 w 324"/>
                <a:gd name="T13" fmla="*/ 115 h 211"/>
                <a:gd name="T14" fmla="*/ 5 w 324"/>
                <a:gd name="T15" fmla="*/ 84 h 211"/>
                <a:gd name="T16" fmla="*/ 10 w 324"/>
                <a:gd name="T17" fmla="*/ 57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4" h="211">
                  <a:moveTo>
                    <a:pt x="10" y="57"/>
                  </a:moveTo>
                  <a:cubicBezTo>
                    <a:pt x="126" y="5"/>
                    <a:pt x="126" y="5"/>
                    <a:pt x="126" y="5"/>
                  </a:cubicBezTo>
                  <a:cubicBezTo>
                    <a:pt x="136" y="0"/>
                    <a:pt x="148" y="4"/>
                    <a:pt x="158" y="11"/>
                  </a:cubicBezTo>
                  <a:cubicBezTo>
                    <a:pt x="195" y="39"/>
                    <a:pt x="225" y="42"/>
                    <a:pt x="301" y="39"/>
                  </a:cubicBezTo>
                  <a:cubicBezTo>
                    <a:pt x="301" y="39"/>
                    <a:pt x="324" y="93"/>
                    <a:pt x="312" y="142"/>
                  </a:cubicBezTo>
                  <a:cubicBezTo>
                    <a:pt x="300" y="192"/>
                    <a:pt x="241" y="211"/>
                    <a:pt x="191" y="200"/>
                  </a:cubicBezTo>
                  <a:cubicBezTo>
                    <a:pt x="136" y="188"/>
                    <a:pt x="95" y="191"/>
                    <a:pt x="23" y="115"/>
                  </a:cubicBezTo>
                  <a:cubicBezTo>
                    <a:pt x="11" y="103"/>
                    <a:pt x="9" y="91"/>
                    <a:pt x="5" y="84"/>
                  </a:cubicBezTo>
                  <a:cubicBezTo>
                    <a:pt x="1" y="74"/>
                    <a:pt x="0" y="62"/>
                    <a:pt x="10" y="57"/>
                  </a:cubicBezTo>
                  <a:close/>
                </a:path>
              </a:pathLst>
            </a:custGeom>
            <a:solidFill>
              <a:srgbClr val="F9F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Line 126">
              <a:extLst>
                <a:ext uri="{FF2B5EF4-FFF2-40B4-BE49-F238E27FC236}">
                  <a16:creationId xmlns:a16="http://schemas.microsoft.com/office/drawing/2014/main" id="{BEF37E92-CCB0-4810-B74F-1E5924B96C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502" y="1867"/>
              <a:ext cx="72" cy="50"/>
            </a:xfrm>
            <a:prstGeom prst="line">
              <a:avLst/>
            </a:prstGeom>
            <a:noFill/>
            <a:ln w="15875" cap="flat">
              <a:solidFill>
                <a:srgbClr val="A7E4D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127">
              <a:extLst>
                <a:ext uri="{FF2B5EF4-FFF2-40B4-BE49-F238E27FC236}">
                  <a16:creationId xmlns:a16="http://schemas.microsoft.com/office/drawing/2014/main" id="{875CC030-F86A-4423-8A88-893B80F27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3" y="1577"/>
              <a:ext cx="137" cy="185"/>
            </a:xfrm>
            <a:custGeom>
              <a:avLst/>
              <a:gdLst>
                <a:gd name="T0" fmla="*/ 10 w 58"/>
                <a:gd name="T1" fmla="*/ 6 h 78"/>
                <a:gd name="T2" fmla="*/ 27 w 58"/>
                <a:gd name="T3" fmla="*/ 34 h 78"/>
                <a:gd name="T4" fmla="*/ 22 w 58"/>
                <a:gd name="T5" fmla="*/ 78 h 78"/>
                <a:gd name="T6" fmla="*/ 22 w 58"/>
                <a:gd name="T7" fmla="*/ 78 h 78"/>
                <a:gd name="T8" fmla="*/ 0 w 58"/>
                <a:gd name="T9" fmla="*/ 54 h 78"/>
                <a:gd name="T10" fmla="*/ 3 w 58"/>
                <a:gd name="T11" fmla="*/ 14 h 78"/>
                <a:gd name="T12" fmla="*/ 10 w 58"/>
                <a:gd name="T13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8">
                  <a:moveTo>
                    <a:pt x="10" y="6"/>
                  </a:moveTo>
                  <a:cubicBezTo>
                    <a:pt x="10" y="6"/>
                    <a:pt x="39" y="0"/>
                    <a:pt x="27" y="34"/>
                  </a:cubicBezTo>
                  <a:cubicBezTo>
                    <a:pt x="21" y="50"/>
                    <a:pt x="58" y="62"/>
                    <a:pt x="22" y="78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" y="14"/>
                    <a:pt x="3" y="14"/>
                    <a:pt x="3" y="14"/>
                  </a:cubicBezTo>
                  <a:lnTo>
                    <a:pt x="10" y="6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28">
              <a:extLst>
                <a:ext uri="{FF2B5EF4-FFF2-40B4-BE49-F238E27FC236}">
                  <a16:creationId xmlns:a16="http://schemas.microsoft.com/office/drawing/2014/main" id="{EDA3EE8A-5CBD-4741-B701-7CA2E7262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9" y="1724"/>
              <a:ext cx="178" cy="207"/>
            </a:xfrm>
            <a:custGeom>
              <a:avLst/>
              <a:gdLst>
                <a:gd name="T0" fmla="*/ 69 w 75"/>
                <a:gd name="T1" fmla="*/ 45 h 87"/>
                <a:gd name="T2" fmla="*/ 47 w 75"/>
                <a:gd name="T3" fmla="*/ 0 h 87"/>
                <a:gd name="T4" fmla="*/ 0 w 75"/>
                <a:gd name="T5" fmla="*/ 23 h 87"/>
                <a:gd name="T6" fmla="*/ 22 w 75"/>
                <a:gd name="T7" fmla="*/ 68 h 87"/>
                <a:gd name="T8" fmla="*/ 57 w 75"/>
                <a:gd name="T9" fmla="*/ 80 h 87"/>
                <a:gd name="T10" fmla="*/ 57 w 75"/>
                <a:gd name="T11" fmla="*/ 80 h 87"/>
                <a:gd name="T12" fmla="*/ 69 w 75"/>
                <a:gd name="T13" fmla="*/ 4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87">
                  <a:moveTo>
                    <a:pt x="69" y="45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8" y="81"/>
                    <a:pt x="43" y="87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70" y="74"/>
                    <a:pt x="75" y="58"/>
                    <a:pt x="69" y="45"/>
                  </a:cubicBez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29">
              <a:extLst>
                <a:ext uri="{FF2B5EF4-FFF2-40B4-BE49-F238E27FC236}">
                  <a16:creationId xmlns:a16="http://schemas.microsoft.com/office/drawing/2014/main" id="{DCED3BA0-F0EB-4D66-8357-D1CE48193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3" y="1696"/>
              <a:ext cx="140" cy="180"/>
            </a:xfrm>
            <a:custGeom>
              <a:avLst/>
              <a:gdLst>
                <a:gd name="T0" fmla="*/ 37 w 59"/>
                <a:gd name="T1" fmla="*/ 0 h 76"/>
                <a:gd name="T2" fmla="*/ 14 w 59"/>
                <a:gd name="T3" fmla="*/ 76 h 76"/>
                <a:gd name="T4" fmla="*/ 0 w 59"/>
                <a:gd name="T5" fmla="*/ 48 h 76"/>
                <a:gd name="T6" fmla="*/ 37 w 59"/>
                <a:gd name="T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" h="76">
                  <a:moveTo>
                    <a:pt x="37" y="0"/>
                  </a:moveTo>
                  <a:cubicBezTo>
                    <a:pt x="37" y="0"/>
                    <a:pt x="59" y="59"/>
                    <a:pt x="14" y="76"/>
                  </a:cubicBezTo>
                  <a:cubicBezTo>
                    <a:pt x="0" y="48"/>
                    <a:pt x="0" y="48"/>
                    <a:pt x="0" y="48"/>
                  </a:cubicBezTo>
                  <a:lnTo>
                    <a:pt x="37" y="0"/>
                  </a:lnTo>
                  <a:close/>
                </a:path>
              </a:pathLst>
            </a:custGeom>
            <a:solidFill>
              <a:srgbClr val="F2AA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30">
              <a:extLst>
                <a:ext uri="{FF2B5EF4-FFF2-40B4-BE49-F238E27FC236}">
                  <a16:creationId xmlns:a16="http://schemas.microsoft.com/office/drawing/2014/main" id="{07EDAA14-76F8-4AE0-8183-D625FAAA2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8" y="1807"/>
              <a:ext cx="225" cy="186"/>
            </a:xfrm>
            <a:custGeom>
              <a:avLst/>
              <a:gdLst>
                <a:gd name="T0" fmla="*/ 82 w 95"/>
                <a:gd name="T1" fmla="*/ 0 h 78"/>
                <a:gd name="T2" fmla="*/ 31 w 95"/>
                <a:gd name="T3" fmla="*/ 22 h 78"/>
                <a:gd name="T4" fmla="*/ 0 w 95"/>
                <a:gd name="T5" fmla="*/ 37 h 78"/>
                <a:gd name="T6" fmla="*/ 41 w 95"/>
                <a:gd name="T7" fmla="*/ 63 h 78"/>
                <a:gd name="T8" fmla="*/ 82 w 95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78">
                  <a:moveTo>
                    <a:pt x="82" y="0"/>
                  </a:moveTo>
                  <a:cubicBezTo>
                    <a:pt x="31" y="22"/>
                    <a:pt x="31" y="22"/>
                    <a:pt x="31" y="22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3" y="78"/>
                    <a:pt x="41" y="63"/>
                  </a:cubicBezTo>
                  <a:cubicBezTo>
                    <a:pt x="95" y="41"/>
                    <a:pt x="82" y="0"/>
                    <a:pt x="82" y="0"/>
                  </a:cubicBez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31">
              <a:extLst>
                <a:ext uri="{FF2B5EF4-FFF2-40B4-BE49-F238E27FC236}">
                  <a16:creationId xmlns:a16="http://schemas.microsoft.com/office/drawing/2014/main" id="{573DA031-710C-4CA7-A752-E56990647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1529"/>
              <a:ext cx="216" cy="157"/>
            </a:xfrm>
            <a:custGeom>
              <a:avLst/>
              <a:gdLst>
                <a:gd name="T0" fmla="*/ 20 w 91"/>
                <a:gd name="T1" fmla="*/ 66 h 66"/>
                <a:gd name="T2" fmla="*/ 11 w 91"/>
                <a:gd name="T3" fmla="*/ 38 h 66"/>
                <a:gd name="T4" fmla="*/ 53 w 91"/>
                <a:gd name="T5" fmla="*/ 7 h 66"/>
                <a:gd name="T6" fmla="*/ 20 w 91"/>
                <a:gd name="T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1" h="66">
                  <a:moveTo>
                    <a:pt x="20" y="66"/>
                  </a:moveTo>
                  <a:cubicBezTo>
                    <a:pt x="20" y="66"/>
                    <a:pt x="0" y="59"/>
                    <a:pt x="11" y="38"/>
                  </a:cubicBezTo>
                  <a:cubicBezTo>
                    <a:pt x="11" y="38"/>
                    <a:pt x="15" y="0"/>
                    <a:pt x="53" y="7"/>
                  </a:cubicBezTo>
                  <a:cubicBezTo>
                    <a:pt x="91" y="13"/>
                    <a:pt x="20" y="66"/>
                    <a:pt x="20" y="66"/>
                  </a:cubicBez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32">
              <a:extLst>
                <a:ext uri="{FF2B5EF4-FFF2-40B4-BE49-F238E27FC236}">
                  <a16:creationId xmlns:a16="http://schemas.microsoft.com/office/drawing/2014/main" id="{6700C53A-9470-4B3D-9963-0B92CD49C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2" y="1700"/>
              <a:ext cx="88" cy="88"/>
            </a:xfrm>
            <a:custGeom>
              <a:avLst/>
              <a:gdLst>
                <a:gd name="T0" fmla="*/ 2 w 37"/>
                <a:gd name="T1" fmla="*/ 23 h 37"/>
                <a:gd name="T2" fmla="*/ 23 w 37"/>
                <a:gd name="T3" fmla="*/ 35 h 37"/>
                <a:gd name="T4" fmla="*/ 35 w 37"/>
                <a:gd name="T5" fmla="*/ 14 h 37"/>
                <a:gd name="T6" fmla="*/ 14 w 37"/>
                <a:gd name="T7" fmla="*/ 3 h 37"/>
                <a:gd name="T8" fmla="*/ 2 w 37"/>
                <a:gd name="T9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" y="23"/>
                  </a:moveTo>
                  <a:cubicBezTo>
                    <a:pt x="5" y="32"/>
                    <a:pt x="14" y="37"/>
                    <a:pt x="23" y="35"/>
                  </a:cubicBezTo>
                  <a:cubicBezTo>
                    <a:pt x="32" y="32"/>
                    <a:pt x="37" y="23"/>
                    <a:pt x="35" y="14"/>
                  </a:cubicBezTo>
                  <a:cubicBezTo>
                    <a:pt x="32" y="5"/>
                    <a:pt x="23" y="0"/>
                    <a:pt x="14" y="3"/>
                  </a:cubicBezTo>
                  <a:cubicBezTo>
                    <a:pt x="5" y="5"/>
                    <a:pt x="0" y="14"/>
                    <a:pt x="2" y="23"/>
                  </a:cubicBezTo>
                  <a:close/>
                </a:path>
              </a:pathLst>
            </a:custGeom>
            <a:solidFill>
              <a:srgbClr val="F2AA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33">
              <a:extLst>
                <a:ext uri="{FF2B5EF4-FFF2-40B4-BE49-F238E27FC236}">
                  <a16:creationId xmlns:a16="http://schemas.microsoft.com/office/drawing/2014/main" id="{B2FEED99-8D14-4272-AF20-592459736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0" y="1546"/>
              <a:ext cx="287" cy="321"/>
            </a:xfrm>
            <a:custGeom>
              <a:avLst/>
              <a:gdLst>
                <a:gd name="T0" fmla="*/ 78 w 121"/>
                <a:gd name="T1" fmla="*/ 128 h 135"/>
                <a:gd name="T2" fmla="*/ 79 w 121"/>
                <a:gd name="T3" fmla="*/ 127 h 135"/>
                <a:gd name="T4" fmla="*/ 113 w 121"/>
                <a:gd name="T5" fmla="*/ 66 h 135"/>
                <a:gd name="T6" fmla="*/ 100 w 121"/>
                <a:gd name="T7" fmla="*/ 11 h 135"/>
                <a:gd name="T8" fmla="*/ 87 w 121"/>
                <a:gd name="T9" fmla="*/ 2 h 135"/>
                <a:gd name="T10" fmla="*/ 19 w 121"/>
                <a:gd name="T11" fmla="*/ 22 h 135"/>
                <a:gd name="T12" fmla="*/ 3 w 121"/>
                <a:gd name="T13" fmla="*/ 50 h 135"/>
                <a:gd name="T14" fmla="*/ 16 w 121"/>
                <a:gd name="T15" fmla="*/ 94 h 135"/>
                <a:gd name="T16" fmla="*/ 78 w 121"/>
                <a:gd name="T17" fmla="*/ 12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135">
                  <a:moveTo>
                    <a:pt x="78" y="128"/>
                  </a:moveTo>
                  <a:cubicBezTo>
                    <a:pt x="79" y="127"/>
                    <a:pt x="79" y="127"/>
                    <a:pt x="79" y="127"/>
                  </a:cubicBezTo>
                  <a:cubicBezTo>
                    <a:pt x="106" y="120"/>
                    <a:pt x="121" y="92"/>
                    <a:pt x="113" y="66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98" y="5"/>
                    <a:pt x="94" y="0"/>
                    <a:pt x="87" y="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7" y="25"/>
                    <a:pt x="0" y="38"/>
                    <a:pt x="3" y="50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24" y="120"/>
                    <a:pt x="51" y="135"/>
                    <a:pt x="78" y="128"/>
                  </a:cubicBez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40">
              <a:extLst>
                <a:ext uri="{FF2B5EF4-FFF2-40B4-BE49-F238E27FC236}">
                  <a16:creationId xmlns:a16="http://schemas.microsoft.com/office/drawing/2014/main" id="{F10DC4D9-06F4-4E91-A54C-58DEF382C7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7" y="1529"/>
              <a:ext cx="244" cy="155"/>
            </a:xfrm>
            <a:custGeom>
              <a:avLst/>
              <a:gdLst>
                <a:gd name="T0" fmla="*/ 91 w 103"/>
                <a:gd name="T1" fmla="*/ 61 h 65"/>
                <a:gd name="T2" fmla="*/ 79 w 103"/>
                <a:gd name="T3" fmla="*/ 49 h 65"/>
                <a:gd name="T4" fmla="*/ 45 w 103"/>
                <a:gd name="T5" fmla="*/ 22 h 65"/>
                <a:gd name="T6" fmla="*/ 2 w 103"/>
                <a:gd name="T7" fmla="*/ 35 h 65"/>
                <a:gd name="T8" fmla="*/ 15 w 103"/>
                <a:gd name="T9" fmla="*/ 18 h 65"/>
                <a:gd name="T10" fmla="*/ 55 w 103"/>
                <a:gd name="T11" fmla="*/ 0 h 65"/>
                <a:gd name="T12" fmla="*/ 72 w 103"/>
                <a:gd name="T13" fmla="*/ 0 h 65"/>
                <a:gd name="T14" fmla="*/ 84 w 103"/>
                <a:gd name="T15" fmla="*/ 8 h 65"/>
                <a:gd name="T16" fmla="*/ 94 w 103"/>
                <a:gd name="T17" fmla="*/ 34 h 65"/>
                <a:gd name="T18" fmla="*/ 103 w 103"/>
                <a:gd name="T19" fmla="*/ 57 h 65"/>
                <a:gd name="T20" fmla="*/ 91 w 103"/>
                <a:gd name="T21" fmla="*/ 61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65">
                  <a:moveTo>
                    <a:pt x="91" y="61"/>
                  </a:moveTo>
                  <a:cubicBezTo>
                    <a:pt x="91" y="61"/>
                    <a:pt x="82" y="65"/>
                    <a:pt x="79" y="49"/>
                  </a:cubicBezTo>
                  <a:cubicBezTo>
                    <a:pt x="76" y="33"/>
                    <a:pt x="63" y="19"/>
                    <a:pt x="45" y="22"/>
                  </a:cubicBezTo>
                  <a:cubicBezTo>
                    <a:pt x="27" y="24"/>
                    <a:pt x="4" y="32"/>
                    <a:pt x="2" y="35"/>
                  </a:cubicBezTo>
                  <a:cubicBezTo>
                    <a:pt x="0" y="37"/>
                    <a:pt x="15" y="18"/>
                    <a:pt x="15" y="18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84" y="8"/>
                    <a:pt x="97" y="28"/>
                    <a:pt x="94" y="34"/>
                  </a:cubicBezTo>
                  <a:cubicBezTo>
                    <a:pt x="91" y="40"/>
                    <a:pt x="103" y="57"/>
                    <a:pt x="103" y="57"/>
                  </a:cubicBezTo>
                  <a:lnTo>
                    <a:pt x="91" y="61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41">
              <a:extLst>
                <a:ext uri="{FF2B5EF4-FFF2-40B4-BE49-F238E27FC236}">
                  <a16:creationId xmlns:a16="http://schemas.microsoft.com/office/drawing/2014/main" id="{F7B6DDE1-2597-4077-9EE4-5378608F3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0" y="1482"/>
              <a:ext cx="218" cy="221"/>
            </a:xfrm>
            <a:custGeom>
              <a:avLst/>
              <a:gdLst>
                <a:gd name="T0" fmla="*/ 0 w 92"/>
                <a:gd name="T1" fmla="*/ 21 h 93"/>
                <a:gd name="T2" fmla="*/ 21 w 92"/>
                <a:gd name="T3" fmla="*/ 13 h 93"/>
                <a:gd name="T4" fmla="*/ 44 w 92"/>
                <a:gd name="T5" fmla="*/ 9 h 93"/>
                <a:gd name="T6" fmla="*/ 58 w 92"/>
                <a:gd name="T7" fmla="*/ 20 h 93"/>
                <a:gd name="T8" fmla="*/ 89 w 92"/>
                <a:gd name="T9" fmla="*/ 60 h 93"/>
                <a:gd name="T10" fmla="*/ 89 w 92"/>
                <a:gd name="T11" fmla="*/ 77 h 93"/>
                <a:gd name="T12" fmla="*/ 61 w 92"/>
                <a:gd name="T13" fmla="*/ 36 h 93"/>
                <a:gd name="T14" fmla="*/ 33 w 92"/>
                <a:gd name="T15" fmla="*/ 31 h 93"/>
                <a:gd name="T16" fmla="*/ 1 w 92"/>
                <a:gd name="T17" fmla="*/ 38 h 93"/>
                <a:gd name="T18" fmla="*/ 0 w 92"/>
                <a:gd name="T19" fmla="*/ 2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3">
                  <a:moveTo>
                    <a:pt x="0" y="21"/>
                  </a:moveTo>
                  <a:cubicBezTo>
                    <a:pt x="0" y="21"/>
                    <a:pt x="16" y="26"/>
                    <a:pt x="21" y="13"/>
                  </a:cubicBezTo>
                  <a:cubicBezTo>
                    <a:pt x="26" y="0"/>
                    <a:pt x="34" y="5"/>
                    <a:pt x="44" y="9"/>
                  </a:cubicBezTo>
                  <a:cubicBezTo>
                    <a:pt x="54" y="13"/>
                    <a:pt x="45" y="20"/>
                    <a:pt x="58" y="20"/>
                  </a:cubicBezTo>
                  <a:cubicBezTo>
                    <a:pt x="72" y="20"/>
                    <a:pt x="86" y="27"/>
                    <a:pt x="89" y="60"/>
                  </a:cubicBezTo>
                  <a:cubicBezTo>
                    <a:pt x="92" y="93"/>
                    <a:pt x="89" y="77"/>
                    <a:pt x="89" y="77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1" y="38"/>
                    <a:pt x="1" y="38"/>
                    <a:pt x="1" y="38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rgbClr val="2422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42">
              <a:extLst>
                <a:ext uri="{FF2B5EF4-FFF2-40B4-BE49-F238E27FC236}">
                  <a16:creationId xmlns:a16="http://schemas.microsoft.com/office/drawing/2014/main" id="{3696E752-4F21-4EA6-B9CB-47867E13D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8" y="1620"/>
              <a:ext cx="88" cy="88"/>
            </a:xfrm>
            <a:custGeom>
              <a:avLst/>
              <a:gdLst>
                <a:gd name="T0" fmla="*/ 2 w 37"/>
                <a:gd name="T1" fmla="*/ 23 h 37"/>
                <a:gd name="T2" fmla="*/ 23 w 37"/>
                <a:gd name="T3" fmla="*/ 34 h 37"/>
                <a:gd name="T4" fmla="*/ 35 w 37"/>
                <a:gd name="T5" fmla="*/ 14 h 37"/>
                <a:gd name="T6" fmla="*/ 14 w 37"/>
                <a:gd name="T7" fmla="*/ 2 h 37"/>
                <a:gd name="T8" fmla="*/ 2 w 37"/>
                <a:gd name="T9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" y="23"/>
                  </a:moveTo>
                  <a:cubicBezTo>
                    <a:pt x="5" y="32"/>
                    <a:pt x="14" y="37"/>
                    <a:pt x="23" y="34"/>
                  </a:cubicBezTo>
                  <a:cubicBezTo>
                    <a:pt x="32" y="32"/>
                    <a:pt x="37" y="22"/>
                    <a:pt x="35" y="14"/>
                  </a:cubicBezTo>
                  <a:cubicBezTo>
                    <a:pt x="32" y="5"/>
                    <a:pt x="23" y="0"/>
                    <a:pt x="14" y="2"/>
                  </a:cubicBezTo>
                  <a:cubicBezTo>
                    <a:pt x="5" y="5"/>
                    <a:pt x="0" y="14"/>
                    <a:pt x="2" y="23"/>
                  </a:cubicBezTo>
                  <a:close/>
                </a:path>
              </a:pathLst>
            </a:custGeom>
            <a:solidFill>
              <a:srgbClr val="F5BF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43">
              <a:extLst>
                <a:ext uri="{FF2B5EF4-FFF2-40B4-BE49-F238E27FC236}">
                  <a16:creationId xmlns:a16="http://schemas.microsoft.com/office/drawing/2014/main" id="{E2B43A13-035F-47C8-A1C3-6D99E1072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" y="1453"/>
              <a:ext cx="53" cy="50"/>
            </a:xfrm>
            <a:custGeom>
              <a:avLst/>
              <a:gdLst>
                <a:gd name="T0" fmla="*/ 2 w 22"/>
                <a:gd name="T1" fmla="*/ 14 h 21"/>
                <a:gd name="T2" fmla="*/ 14 w 22"/>
                <a:gd name="T3" fmla="*/ 20 h 21"/>
                <a:gd name="T4" fmla="*/ 20 w 22"/>
                <a:gd name="T5" fmla="*/ 7 h 21"/>
                <a:gd name="T6" fmla="*/ 8 w 22"/>
                <a:gd name="T7" fmla="*/ 2 h 21"/>
                <a:gd name="T8" fmla="*/ 2 w 22"/>
                <a:gd name="T9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1">
                  <a:moveTo>
                    <a:pt x="2" y="14"/>
                  </a:moveTo>
                  <a:cubicBezTo>
                    <a:pt x="4" y="19"/>
                    <a:pt x="9" y="21"/>
                    <a:pt x="14" y="20"/>
                  </a:cubicBezTo>
                  <a:cubicBezTo>
                    <a:pt x="19" y="18"/>
                    <a:pt x="22" y="12"/>
                    <a:pt x="20" y="7"/>
                  </a:cubicBezTo>
                  <a:cubicBezTo>
                    <a:pt x="19" y="2"/>
                    <a:pt x="13" y="0"/>
                    <a:pt x="8" y="2"/>
                  </a:cubicBezTo>
                  <a:cubicBezTo>
                    <a:pt x="3" y="3"/>
                    <a:pt x="0" y="9"/>
                    <a:pt x="2" y="14"/>
                  </a:cubicBezTo>
                  <a:close/>
                </a:path>
              </a:pathLst>
            </a:custGeom>
            <a:solidFill>
              <a:srgbClr val="20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144">
              <a:extLst>
                <a:ext uri="{FF2B5EF4-FFF2-40B4-BE49-F238E27FC236}">
                  <a16:creationId xmlns:a16="http://schemas.microsoft.com/office/drawing/2014/main" id="{E06295EE-EA21-4A71-A3ED-16C043726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2" y="1458"/>
              <a:ext cx="309" cy="209"/>
            </a:xfrm>
            <a:custGeom>
              <a:avLst/>
              <a:gdLst>
                <a:gd name="T0" fmla="*/ 130 w 130"/>
                <a:gd name="T1" fmla="*/ 57 h 88"/>
                <a:gd name="T2" fmla="*/ 11 w 130"/>
                <a:gd name="T3" fmla="*/ 88 h 88"/>
                <a:gd name="T4" fmla="*/ 6 w 130"/>
                <a:gd name="T5" fmla="*/ 66 h 88"/>
                <a:gd name="T6" fmla="*/ 37 w 130"/>
                <a:gd name="T7" fmla="*/ 16 h 88"/>
                <a:gd name="T8" fmla="*/ 73 w 130"/>
                <a:gd name="T9" fmla="*/ 7 h 88"/>
                <a:gd name="T10" fmla="*/ 125 w 130"/>
                <a:gd name="T11" fmla="*/ 36 h 88"/>
                <a:gd name="T12" fmla="*/ 130 w 130"/>
                <a:gd name="T13" fmla="*/ 5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88">
                  <a:moveTo>
                    <a:pt x="130" y="57"/>
                  </a:moveTo>
                  <a:cubicBezTo>
                    <a:pt x="11" y="88"/>
                    <a:pt x="11" y="88"/>
                    <a:pt x="11" y="88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0" y="44"/>
                    <a:pt x="14" y="22"/>
                    <a:pt x="37" y="16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96" y="0"/>
                    <a:pt x="120" y="14"/>
                    <a:pt x="125" y="36"/>
                  </a:cubicBezTo>
                  <a:lnTo>
                    <a:pt x="130" y="57"/>
                  </a:lnTo>
                  <a:close/>
                </a:path>
              </a:pathLst>
            </a:custGeom>
            <a:solidFill>
              <a:srgbClr val="54C7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45">
              <a:extLst>
                <a:ext uri="{FF2B5EF4-FFF2-40B4-BE49-F238E27FC236}">
                  <a16:creationId xmlns:a16="http://schemas.microsoft.com/office/drawing/2014/main" id="{F7128C97-B872-43E4-B021-8A677D3C9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" y="1584"/>
              <a:ext cx="399" cy="114"/>
            </a:xfrm>
            <a:custGeom>
              <a:avLst/>
              <a:gdLst>
                <a:gd name="T0" fmla="*/ 4 w 168"/>
                <a:gd name="T1" fmla="*/ 47 h 48"/>
                <a:gd name="T2" fmla="*/ 168 w 168"/>
                <a:gd name="T3" fmla="*/ 6 h 48"/>
                <a:gd name="T4" fmla="*/ 166 w 168"/>
                <a:gd name="T5" fmla="*/ 0 h 48"/>
                <a:gd name="T6" fmla="*/ 3 w 168"/>
                <a:gd name="T7" fmla="*/ 41 h 48"/>
                <a:gd name="T8" fmla="*/ 0 w 168"/>
                <a:gd name="T9" fmla="*/ 45 h 48"/>
                <a:gd name="T10" fmla="*/ 0 w 168"/>
                <a:gd name="T11" fmla="*/ 45 h 48"/>
                <a:gd name="T12" fmla="*/ 4 w 168"/>
                <a:gd name="T13" fmla="*/ 4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48">
                  <a:moveTo>
                    <a:pt x="4" y="47"/>
                  </a:moveTo>
                  <a:cubicBezTo>
                    <a:pt x="168" y="6"/>
                    <a:pt x="168" y="6"/>
                    <a:pt x="168" y="6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1" y="41"/>
                    <a:pt x="0" y="43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" y="47"/>
                    <a:pt x="2" y="48"/>
                    <a:pt x="4" y="47"/>
                  </a:cubicBezTo>
                  <a:close/>
                </a:path>
              </a:pathLst>
            </a:custGeom>
            <a:solidFill>
              <a:srgbClr val="2088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EFC09644-40B8-43A8-B151-02DD47589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>
                    <a:lumMod val="95000"/>
                    <a:lumOff val="5000"/>
                  </a:schemeClr>
                </a:solidFill>
              </a:rPr>
              <a:t>Kahoot! </a:t>
            </a:r>
            <a:endParaRPr lang="ru-RU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87" name="Rectangle 205">
            <a:extLst>
              <a:ext uri="{FF2B5EF4-FFF2-40B4-BE49-F238E27FC236}">
                <a16:creationId xmlns:a16="http://schemas.microsoft.com/office/drawing/2014/main" id="{1254AA94-F342-4281-8980-D95453E3FB7A}"/>
              </a:ext>
            </a:extLst>
          </p:cNvPr>
          <p:cNvSpPr/>
          <p:nvPr/>
        </p:nvSpPr>
        <p:spPr>
          <a:xfrm>
            <a:off x="698736" y="1433357"/>
            <a:ext cx="2931958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учающий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инструмент для проведения интерактивных уроков и опросов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88" name="Straight Connector 218">
            <a:extLst>
              <a:ext uri="{FF2B5EF4-FFF2-40B4-BE49-F238E27FC236}">
                <a16:creationId xmlns:a16="http://schemas.microsoft.com/office/drawing/2014/main" id="{60E9A2D6-25B1-4D7E-BC95-677DEDA0446B}"/>
              </a:ext>
            </a:extLst>
          </p:cNvPr>
          <p:cNvCxnSpPr>
            <a:cxnSpLocks/>
          </p:cNvCxnSpPr>
          <p:nvPr/>
        </p:nvCxnSpPr>
        <p:spPr>
          <a:xfrm>
            <a:off x="600891" y="2507612"/>
            <a:ext cx="110500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TextBox 188">
            <a:extLst>
              <a:ext uri="{FF2B5EF4-FFF2-40B4-BE49-F238E27FC236}">
                <a16:creationId xmlns:a16="http://schemas.microsoft.com/office/drawing/2014/main" id="{6B21FFAD-CB30-429A-B3B3-1B12B978EC8C}"/>
              </a:ext>
            </a:extLst>
          </p:cNvPr>
          <p:cNvSpPr txBox="1"/>
          <p:nvPr/>
        </p:nvSpPr>
        <p:spPr>
          <a:xfrm>
            <a:off x="3630694" y="1292497"/>
            <a:ext cx="836513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грать в </a:t>
            </a:r>
            <a:r>
              <a:rPr lang="ru-RU" sz="16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hoot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! с детьми можно, чтобы начать урок, или можно использовать его как забавный способ подвести итоги урока. </a:t>
            </a:r>
            <a:r>
              <a:rPr lang="ru-RU" sz="16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hoot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! сделает обучение увлекательным, поможет учителю на основе аналитики из игровых отчетов для оценки успеваемости класса проводить формирующее оценивание.</a:t>
            </a:r>
          </a:p>
        </p:txBody>
      </p:sp>
      <p:sp>
        <p:nvSpPr>
          <p:cNvPr id="46" name="Rectangle: Rounded Corners 5">
            <a:extLst>
              <a:ext uri="{FF2B5EF4-FFF2-40B4-BE49-F238E27FC236}">
                <a16:creationId xmlns:a16="http://schemas.microsoft.com/office/drawing/2014/main" id="{72507D57-AA2C-4496-8ACD-31B7DF6B878C}"/>
              </a:ext>
            </a:extLst>
          </p:cNvPr>
          <p:cNvSpPr/>
          <p:nvPr/>
        </p:nvSpPr>
        <p:spPr>
          <a:xfrm>
            <a:off x="4301366" y="2551302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: Rounded Corners 6">
            <a:extLst>
              <a:ext uri="{FF2B5EF4-FFF2-40B4-BE49-F238E27FC236}">
                <a16:creationId xmlns:a16="http://schemas.microsoft.com/office/drawing/2014/main" id="{9414ADB7-D9DD-45E0-86DA-8BB45A7ABC1A}"/>
              </a:ext>
            </a:extLst>
          </p:cNvPr>
          <p:cNvSpPr/>
          <p:nvPr/>
        </p:nvSpPr>
        <p:spPr>
          <a:xfrm>
            <a:off x="4301366" y="3653144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: Rounded Corners 15">
            <a:extLst>
              <a:ext uri="{FF2B5EF4-FFF2-40B4-BE49-F238E27FC236}">
                <a16:creationId xmlns:a16="http://schemas.microsoft.com/office/drawing/2014/main" id="{0EAB9211-6C0D-48D0-9D35-FA2552E71565}"/>
              </a:ext>
            </a:extLst>
          </p:cNvPr>
          <p:cNvSpPr/>
          <p:nvPr/>
        </p:nvSpPr>
        <p:spPr>
          <a:xfrm>
            <a:off x="4428438" y="2669021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97" name="Rectangle: Rounded Corners 16">
            <a:extLst>
              <a:ext uri="{FF2B5EF4-FFF2-40B4-BE49-F238E27FC236}">
                <a16:creationId xmlns:a16="http://schemas.microsoft.com/office/drawing/2014/main" id="{7F69E4C7-8D2C-40AF-8431-5EC210497088}"/>
              </a:ext>
            </a:extLst>
          </p:cNvPr>
          <p:cNvSpPr/>
          <p:nvPr/>
        </p:nvSpPr>
        <p:spPr>
          <a:xfrm>
            <a:off x="4428438" y="3770863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21AAD5CB-7C2E-4398-9C89-74354B812FF1}"/>
              </a:ext>
            </a:extLst>
          </p:cNvPr>
          <p:cNvSpPr txBox="1"/>
          <p:nvPr/>
        </p:nvSpPr>
        <p:spPr>
          <a:xfrm>
            <a:off x="5631251" y="2733297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итель может контролировать время выполнения работы, просматривать ответы учеников, отправлять ученикам комментарии.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A85F0BE-9AF2-4302-93B3-03EB8F1CEEFE}"/>
              </a:ext>
            </a:extLst>
          </p:cNvPr>
          <p:cNvSpPr txBox="1"/>
          <p:nvPr/>
        </p:nvSpPr>
        <p:spPr>
          <a:xfrm>
            <a:off x="5631251" y="3860496"/>
            <a:ext cx="6082765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еники сразу увидят результат (баллы за выполненные задания).</a:t>
            </a:r>
          </a:p>
        </p:txBody>
      </p:sp>
      <p:sp>
        <p:nvSpPr>
          <p:cNvPr id="137" name="Rectangle: Rounded Corners 6">
            <a:extLst>
              <a:ext uri="{FF2B5EF4-FFF2-40B4-BE49-F238E27FC236}">
                <a16:creationId xmlns:a16="http://schemas.microsoft.com/office/drawing/2014/main" id="{86A82800-C884-4CB1-BC14-F62E566E2E27}"/>
              </a:ext>
            </a:extLst>
          </p:cNvPr>
          <p:cNvSpPr/>
          <p:nvPr/>
        </p:nvSpPr>
        <p:spPr>
          <a:xfrm>
            <a:off x="4301366" y="5724127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8" name="Rectangle: Rounded Corners 16">
            <a:extLst>
              <a:ext uri="{FF2B5EF4-FFF2-40B4-BE49-F238E27FC236}">
                <a16:creationId xmlns:a16="http://schemas.microsoft.com/office/drawing/2014/main" id="{24E75B9C-BBEC-4A06-86C8-A31D4A37F39C}"/>
              </a:ext>
            </a:extLst>
          </p:cNvPr>
          <p:cNvSpPr/>
          <p:nvPr/>
        </p:nvSpPr>
        <p:spPr>
          <a:xfrm>
            <a:off x="4428438" y="5841846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FFC000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-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2756CDA3-CA22-4364-A288-00DCAD96D5D7}"/>
              </a:ext>
            </a:extLst>
          </p:cNvPr>
          <p:cNvSpPr txBox="1"/>
          <p:nvPr/>
        </p:nvSpPr>
        <p:spPr>
          <a:xfrm>
            <a:off x="5631249" y="5863567"/>
            <a:ext cx="6082765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Интерфейс на английском языке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ащиеся нуждаются в наглядной инструкции для начала работы с </a:t>
            </a:r>
            <a:r>
              <a:rPr lang="ru-RU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Kahoot</a:t>
            </a: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140" name="Rectangle: Rounded Corners 6">
            <a:extLst>
              <a:ext uri="{FF2B5EF4-FFF2-40B4-BE49-F238E27FC236}">
                <a16:creationId xmlns:a16="http://schemas.microsoft.com/office/drawing/2014/main" id="{62FE9BCF-64DF-4953-9C64-BF3B742BAA47}"/>
              </a:ext>
            </a:extLst>
          </p:cNvPr>
          <p:cNvSpPr/>
          <p:nvPr/>
        </p:nvSpPr>
        <p:spPr>
          <a:xfrm>
            <a:off x="4301366" y="4676499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Rectangle: Rounded Corners 16">
            <a:extLst>
              <a:ext uri="{FF2B5EF4-FFF2-40B4-BE49-F238E27FC236}">
                <a16:creationId xmlns:a16="http://schemas.microsoft.com/office/drawing/2014/main" id="{2F8ECB51-522B-4CDD-8215-1230AA634819}"/>
              </a:ext>
            </a:extLst>
          </p:cNvPr>
          <p:cNvSpPr/>
          <p:nvPr/>
        </p:nvSpPr>
        <p:spPr>
          <a:xfrm>
            <a:off x="4428438" y="4794218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BE42A04-B772-4BD8-B457-A5E39C1C9043}"/>
              </a:ext>
            </a:extLst>
          </p:cNvPr>
          <p:cNvSpPr txBox="1"/>
          <p:nvPr/>
        </p:nvSpPr>
        <p:spPr>
          <a:xfrm>
            <a:off x="5631250" y="4837674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Возможность распечатать задания для учеников, у которых нет доступа к компьютеру.</a:t>
            </a:r>
          </a:p>
        </p:txBody>
      </p:sp>
    </p:spTree>
    <p:extLst>
      <p:ext uri="{BB962C8B-B14F-4D97-AF65-F5344CB8AC3E}">
        <p14:creationId xmlns:p14="http://schemas.microsoft.com/office/powerpoint/2010/main" val="31102440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8C65F9-9064-40D0-8147-1B957E7AC2C4}"/>
              </a:ext>
            </a:extLst>
          </p:cNvPr>
          <p:cNvSpPr/>
          <p:nvPr/>
        </p:nvSpPr>
        <p:spPr>
          <a:xfrm>
            <a:off x="0" y="0"/>
            <a:ext cx="12191996" cy="2943224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5" name="Graphic 2">
            <a:extLst>
              <a:ext uri="{FF2B5EF4-FFF2-40B4-BE49-F238E27FC236}">
                <a16:creationId xmlns:a16="http://schemas.microsoft.com/office/drawing/2014/main" id="{D8D77915-D895-4408-836D-BC5D45371753}"/>
              </a:ext>
            </a:extLst>
          </p:cNvPr>
          <p:cNvGrpSpPr/>
          <p:nvPr/>
        </p:nvGrpSpPr>
        <p:grpSpPr>
          <a:xfrm>
            <a:off x="0" y="-91644"/>
            <a:ext cx="12184441" cy="3584691"/>
            <a:chOff x="0" y="-91644"/>
            <a:chExt cx="12184441" cy="3584691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27AF5C6-5287-464C-A94F-BFF5E8D34F67}"/>
                </a:ext>
              </a:extLst>
            </p:cNvPr>
            <p:cNvSpPr/>
            <p:nvPr/>
          </p:nvSpPr>
          <p:spPr>
            <a:xfrm>
              <a:off x="8765561" y="1049728"/>
              <a:ext cx="3413760" cy="2243327"/>
            </a:xfrm>
            <a:custGeom>
              <a:avLst/>
              <a:gdLst>
                <a:gd name="connsiteX0" fmla="*/ 0 w 3413760"/>
                <a:gd name="connsiteY0" fmla="*/ 2258489 h 2243327"/>
                <a:gd name="connsiteX1" fmla="*/ 3426440 w 3413760"/>
                <a:gd name="connsiteY1" fmla="*/ 2258489 h 2243327"/>
                <a:gd name="connsiteX2" fmla="*/ 3426440 w 3413760"/>
                <a:gd name="connsiteY2" fmla="*/ 498208 h 2243327"/>
                <a:gd name="connsiteX3" fmla="*/ 2979724 w 3413760"/>
                <a:gd name="connsiteY3" fmla="*/ 788134 h 2243327"/>
                <a:gd name="connsiteX4" fmla="*/ 2471806 w 3413760"/>
                <a:gd name="connsiteY4" fmla="*/ 43 h 2243327"/>
                <a:gd name="connsiteX5" fmla="*/ 1867814 w 3413760"/>
                <a:gd name="connsiteY5" fmla="*/ 932243 h 2243327"/>
                <a:gd name="connsiteX6" fmla="*/ 1078016 w 3413760"/>
                <a:gd name="connsiteY6" fmla="*/ 932243 h 2243327"/>
                <a:gd name="connsiteX7" fmla="*/ 753465 w 3413760"/>
                <a:gd name="connsiteY7" fmla="*/ 1722528 h 2243327"/>
                <a:gd name="connsiteX8" fmla="*/ 0 w 3413760"/>
                <a:gd name="connsiteY8" fmla="*/ 2258489 h 22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13760" h="2243327">
                  <a:moveTo>
                    <a:pt x="0" y="2258489"/>
                  </a:moveTo>
                  <a:lnTo>
                    <a:pt x="3426440" y="2258489"/>
                  </a:lnTo>
                  <a:lnTo>
                    <a:pt x="3426440" y="498208"/>
                  </a:lnTo>
                  <a:cubicBezTo>
                    <a:pt x="3213080" y="466997"/>
                    <a:pt x="3150412" y="779843"/>
                    <a:pt x="2979724" y="788134"/>
                  </a:cubicBezTo>
                  <a:cubicBezTo>
                    <a:pt x="2774655" y="797887"/>
                    <a:pt x="2735397" y="-6784"/>
                    <a:pt x="2471806" y="43"/>
                  </a:cubicBezTo>
                  <a:cubicBezTo>
                    <a:pt x="2207971" y="6627"/>
                    <a:pt x="2143354" y="812274"/>
                    <a:pt x="1867814" y="932243"/>
                  </a:cubicBezTo>
                  <a:cubicBezTo>
                    <a:pt x="1592519" y="1051969"/>
                    <a:pt x="1247242" y="656216"/>
                    <a:pt x="1078016" y="932243"/>
                  </a:cubicBezTo>
                  <a:cubicBezTo>
                    <a:pt x="908547" y="1208270"/>
                    <a:pt x="1047781" y="1728624"/>
                    <a:pt x="753465" y="1722528"/>
                  </a:cubicBezTo>
                  <a:cubicBezTo>
                    <a:pt x="459150" y="1716189"/>
                    <a:pt x="19507" y="1608899"/>
                    <a:pt x="0" y="2258489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7D986F0-928E-4E29-A80C-AEE9EFDA257C}"/>
                </a:ext>
              </a:extLst>
            </p:cNvPr>
            <p:cNvSpPr/>
            <p:nvPr/>
          </p:nvSpPr>
          <p:spPr>
            <a:xfrm>
              <a:off x="11243706" y="1357009"/>
              <a:ext cx="48768" cy="1950719"/>
            </a:xfrm>
            <a:custGeom>
              <a:avLst/>
              <a:gdLst>
                <a:gd name="connsiteX0" fmla="*/ 0 w 48768"/>
                <a:gd name="connsiteY0" fmla="*/ 0 h 1950719"/>
                <a:gd name="connsiteX1" fmla="*/ 13168 w 48768"/>
                <a:gd name="connsiteY1" fmla="*/ 1952914 h 1950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950719">
                  <a:moveTo>
                    <a:pt x="0" y="0"/>
                  </a:moveTo>
                  <a:cubicBezTo>
                    <a:pt x="0" y="0"/>
                    <a:pt x="100950" y="1157508"/>
                    <a:pt x="13168" y="1952914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C785E83-F6A5-4C2D-95FA-712DF75BD973}"/>
                </a:ext>
              </a:extLst>
            </p:cNvPr>
            <p:cNvSpPr/>
            <p:nvPr/>
          </p:nvSpPr>
          <p:spPr>
            <a:xfrm>
              <a:off x="12126163" y="3071691"/>
              <a:ext cx="48768" cy="219456"/>
            </a:xfrm>
            <a:custGeom>
              <a:avLst/>
              <a:gdLst>
                <a:gd name="connsiteX0" fmla="*/ 65837 w 48768"/>
                <a:gd name="connsiteY0" fmla="*/ 0 h 219455"/>
                <a:gd name="connsiteX1" fmla="*/ 0 w 48768"/>
                <a:gd name="connsiteY1" fmla="*/ 231648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219455">
                  <a:moveTo>
                    <a:pt x="65837" y="0"/>
                  </a:moveTo>
                  <a:cubicBezTo>
                    <a:pt x="49012" y="86807"/>
                    <a:pt x="27554" y="165811"/>
                    <a:pt x="0" y="23164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929AC63-569D-4B72-9302-2C207AB18971}"/>
                </a:ext>
              </a:extLst>
            </p:cNvPr>
            <p:cNvSpPr/>
            <p:nvPr/>
          </p:nvSpPr>
          <p:spPr>
            <a:xfrm>
              <a:off x="12101779" y="1886629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90221 w 73152"/>
                <a:gd name="connsiteY1" fmla="*/ 87782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90221" y="877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ED061E2-DB6C-4619-8FF7-25D4C1E3577F}"/>
                </a:ext>
              </a:extLst>
            </p:cNvPr>
            <p:cNvSpPr/>
            <p:nvPr/>
          </p:nvSpPr>
          <p:spPr>
            <a:xfrm>
              <a:off x="12035942" y="2214594"/>
              <a:ext cx="146304" cy="97536"/>
            </a:xfrm>
            <a:custGeom>
              <a:avLst/>
              <a:gdLst>
                <a:gd name="connsiteX0" fmla="*/ 0 w 146304"/>
                <a:gd name="connsiteY0" fmla="*/ 0 h 97535"/>
                <a:gd name="connsiteX1" fmla="*/ 156058 w 146304"/>
                <a:gd name="connsiteY1" fmla="*/ 118262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97535">
                  <a:moveTo>
                    <a:pt x="0" y="0"/>
                  </a:moveTo>
                  <a:lnTo>
                    <a:pt x="156058" y="11826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1A7E89C-D70A-4B03-B62C-F000EE899C99}"/>
                </a:ext>
              </a:extLst>
            </p:cNvPr>
            <p:cNvSpPr/>
            <p:nvPr/>
          </p:nvSpPr>
          <p:spPr>
            <a:xfrm>
              <a:off x="11989369" y="2507934"/>
              <a:ext cx="195072" cy="146304"/>
            </a:xfrm>
            <a:custGeom>
              <a:avLst/>
              <a:gdLst>
                <a:gd name="connsiteX0" fmla="*/ 0 w 195072"/>
                <a:gd name="connsiteY0" fmla="*/ 0 h 146303"/>
                <a:gd name="connsiteX1" fmla="*/ 202631 w 195072"/>
                <a:gd name="connsiteY1" fmla="*/ 15947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46303">
                  <a:moveTo>
                    <a:pt x="0" y="0"/>
                  </a:moveTo>
                  <a:lnTo>
                    <a:pt x="202631" y="15947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AFF682B-0D2A-454C-A62A-1F1748367914}"/>
                </a:ext>
              </a:extLst>
            </p:cNvPr>
            <p:cNvSpPr/>
            <p:nvPr/>
          </p:nvSpPr>
          <p:spPr>
            <a:xfrm>
              <a:off x="11261019" y="1433819"/>
              <a:ext cx="97536" cy="146304"/>
            </a:xfrm>
            <a:custGeom>
              <a:avLst/>
              <a:gdLst>
                <a:gd name="connsiteX0" fmla="*/ 116068 w 97536"/>
                <a:gd name="connsiteY0" fmla="*/ 0 h 146303"/>
                <a:gd name="connsiteX1" fmla="*/ 0 w 97536"/>
                <a:gd name="connsiteY1" fmla="*/ 16312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16068" y="0"/>
                  </a:moveTo>
                  <a:lnTo>
                    <a:pt x="0" y="16312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6629E6-15BE-4150-A207-A9E00FC54C4B}"/>
                </a:ext>
              </a:extLst>
            </p:cNvPr>
            <p:cNvSpPr/>
            <p:nvPr/>
          </p:nvSpPr>
          <p:spPr>
            <a:xfrm>
              <a:off x="11038637" y="1534281"/>
              <a:ext cx="219456" cy="219456"/>
            </a:xfrm>
            <a:custGeom>
              <a:avLst/>
              <a:gdLst>
                <a:gd name="connsiteX0" fmla="*/ 0 w 219456"/>
                <a:gd name="connsiteY0" fmla="*/ 0 h 219455"/>
                <a:gd name="connsiteX1" fmla="*/ 231892 w 219456"/>
                <a:gd name="connsiteY1" fmla="*/ 223357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19455">
                  <a:moveTo>
                    <a:pt x="0" y="0"/>
                  </a:moveTo>
                  <a:lnTo>
                    <a:pt x="231892" y="2233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387AFEB-E764-4BDD-BD02-9F754F07238E}"/>
                </a:ext>
              </a:extLst>
            </p:cNvPr>
            <p:cNvSpPr/>
            <p:nvPr/>
          </p:nvSpPr>
          <p:spPr>
            <a:xfrm>
              <a:off x="11285403" y="1829815"/>
              <a:ext cx="243840" cy="268224"/>
            </a:xfrm>
            <a:custGeom>
              <a:avLst/>
              <a:gdLst>
                <a:gd name="connsiteX0" fmla="*/ 244815 w 243840"/>
                <a:gd name="connsiteY0" fmla="*/ 0 h 268223"/>
                <a:gd name="connsiteX1" fmla="*/ 0 w 243840"/>
                <a:gd name="connsiteY1" fmla="*/ 272857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68223">
                  <a:moveTo>
                    <a:pt x="244815" y="0"/>
                  </a:moveTo>
                  <a:lnTo>
                    <a:pt x="0" y="2728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33F58C6-1A25-40DF-AF74-FE9627A7E967}"/>
                </a:ext>
              </a:extLst>
            </p:cNvPr>
            <p:cNvSpPr/>
            <p:nvPr/>
          </p:nvSpPr>
          <p:spPr>
            <a:xfrm>
              <a:off x="10918180" y="1966121"/>
              <a:ext cx="365760" cy="365760"/>
            </a:xfrm>
            <a:custGeom>
              <a:avLst/>
              <a:gdLst>
                <a:gd name="connsiteX0" fmla="*/ 0 w 365760"/>
                <a:gd name="connsiteY0" fmla="*/ 0 h 365759"/>
                <a:gd name="connsiteX1" fmla="*/ 374538 w 365760"/>
                <a:gd name="connsiteY1" fmla="*/ 367223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760" h="365759">
                  <a:moveTo>
                    <a:pt x="0" y="0"/>
                  </a:moveTo>
                  <a:lnTo>
                    <a:pt x="374538" y="367223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05A9F5-E3FD-47DF-A624-5B1166595FB9}"/>
                </a:ext>
              </a:extLst>
            </p:cNvPr>
            <p:cNvSpPr/>
            <p:nvPr/>
          </p:nvSpPr>
          <p:spPr>
            <a:xfrm>
              <a:off x="11292474" y="2149733"/>
              <a:ext cx="438912" cy="414528"/>
            </a:xfrm>
            <a:custGeom>
              <a:avLst/>
              <a:gdLst>
                <a:gd name="connsiteX0" fmla="*/ 443057 w 438912"/>
                <a:gd name="connsiteY0" fmla="*/ 0 h 414527"/>
                <a:gd name="connsiteX1" fmla="*/ 0 w 438912"/>
                <a:gd name="connsiteY1" fmla="*/ 427451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8912" h="414527">
                  <a:moveTo>
                    <a:pt x="443057" y="0"/>
                  </a:moveTo>
                  <a:lnTo>
                    <a:pt x="0" y="4274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FA883DC-092C-4BA7-903B-CE206E5B5165}"/>
                </a:ext>
              </a:extLst>
            </p:cNvPr>
            <p:cNvSpPr/>
            <p:nvPr/>
          </p:nvSpPr>
          <p:spPr>
            <a:xfrm>
              <a:off x="10797479" y="2428686"/>
              <a:ext cx="487680" cy="438912"/>
            </a:xfrm>
            <a:custGeom>
              <a:avLst/>
              <a:gdLst>
                <a:gd name="connsiteX0" fmla="*/ 0 w 487680"/>
                <a:gd name="connsiteY0" fmla="*/ 0 h 438911"/>
                <a:gd name="connsiteX1" fmla="*/ 489143 w 487680"/>
                <a:gd name="connsiteY1" fmla="*/ 448422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0" h="438911">
                  <a:moveTo>
                    <a:pt x="0" y="0"/>
                  </a:moveTo>
                  <a:lnTo>
                    <a:pt x="489143" y="44842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20362A7-DEF4-4AF5-9222-C2CAEF4355C4}"/>
                </a:ext>
              </a:extLst>
            </p:cNvPr>
            <p:cNvSpPr/>
            <p:nvPr/>
          </p:nvSpPr>
          <p:spPr>
            <a:xfrm>
              <a:off x="11278819" y="2679109"/>
              <a:ext cx="512064" cy="341376"/>
            </a:xfrm>
            <a:custGeom>
              <a:avLst/>
              <a:gdLst>
                <a:gd name="connsiteX0" fmla="*/ 524987 w 512064"/>
                <a:gd name="connsiteY0" fmla="*/ 0 h 341375"/>
                <a:gd name="connsiteX1" fmla="*/ 0 w 512064"/>
                <a:gd name="connsiteY1" fmla="*/ 36454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2064" h="341375">
                  <a:moveTo>
                    <a:pt x="524987" y="0"/>
                  </a:moveTo>
                  <a:lnTo>
                    <a:pt x="0" y="3645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E96689F-A080-4032-AF87-666EE826E4F1}"/>
                </a:ext>
              </a:extLst>
            </p:cNvPr>
            <p:cNvSpPr/>
            <p:nvPr/>
          </p:nvSpPr>
          <p:spPr>
            <a:xfrm>
              <a:off x="10056206" y="2149733"/>
              <a:ext cx="195072" cy="1146048"/>
            </a:xfrm>
            <a:custGeom>
              <a:avLst/>
              <a:gdLst>
                <a:gd name="connsiteX0" fmla="*/ 0 w 195072"/>
                <a:gd name="connsiteY0" fmla="*/ 0 h 1146047"/>
                <a:gd name="connsiteX1" fmla="*/ 208483 w 195072"/>
                <a:gd name="connsiteY1" fmla="*/ 1159947 h 114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146047">
                  <a:moveTo>
                    <a:pt x="0" y="0"/>
                  </a:moveTo>
                  <a:cubicBezTo>
                    <a:pt x="0" y="0"/>
                    <a:pt x="192146" y="592531"/>
                    <a:pt x="208483" y="115994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52B809-45E2-4DEB-8D43-0746B47A7242}"/>
                </a:ext>
              </a:extLst>
            </p:cNvPr>
            <p:cNvSpPr/>
            <p:nvPr/>
          </p:nvSpPr>
          <p:spPr>
            <a:xfrm>
              <a:off x="10122774" y="2200208"/>
              <a:ext cx="48768" cy="170688"/>
            </a:xfrm>
            <a:custGeom>
              <a:avLst/>
              <a:gdLst>
                <a:gd name="connsiteX0" fmla="*/ 70226 w 48768"/>
                <a:gd name="connsiteY0" fmla="*/ 0 h 170687"/>
                <a:gd name="connsiteX1" fmla="*/ 0 w 48768"/>
                <a:gd name="connsiteY1" fmla="*/ 186294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70687">
                  <a:moveTo>
                    <a:pt x="70226" y="0"/>
                  </a:moveTo>
                  <a:lnTo>
                    <a:pt x="0" y="18629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4132E27-5C8B-4140-AF2C-0DA11251F028}"/>
                </a:ext>
              </a:extLst>
            </p:cNvPr>
            <p:cNvSpPr/>
            <p:nvPr/>
          </p:nvSpPr>
          <p:spPr>
            <a:xfrm>
              <a:off x="10202509" y="2294086"/>
              <a:ext cx="195072" cy="438912"/>
            </a:xfrm>
            <a:custGeom>
              <a:avLst/>
              <a:gdLst>
                <a:gd name="connsiteX0" fmla="*/ 218481 w 195072"/>
                <a:gd name="connsiteY0" fmla="*/ 0 h 438911"/>
                <a:gd name="connsiteX1" fmla="*/ 0 w 195072"/>
                <a:gd name="connsiteY1" fmla="*/ 457688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438911">
                  <a:moveTo>
                    <a:pt x="218481" y="0"/>
                  </a:moveTo>
                  <a:lnTo>
                    <a:pt x="0" y="45768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3510742-BEC5-4745-824F-1E8880BC88E6}"/>
                </a:ext>
              </a:extLst>
            </p:cNvPr>
            <p:cNvSpPr/>
            <p:nvPr/>
          </p:nvSpPr>
          <p:spPr>
            <a:xfrm>
              <a:off x="10249571" y="2698616"/>
              <a:ext cx="219456" cy="365760"/>
            </a:xfrm>
            <a:custGeom>
              <a:avLst/>
              <a:gdLst>
                <a:gd name="connsiteX0" fmla="*/ 233355 w 219456"/>
                <a:gd name="connsiteY0" fmla="*/ 0 h 365759"/>
                <a:gd name="connsiteX1" fmla="*/ 0 w 219456"/>
                <a:gd name="connsiteY1" fmla="*/ 384292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365759">
                  <a:moveTo>
                    <a:pt x="233355" y="0"/>
                  </a:moveTo>
                  <a:lnTo>
                    <a:pt x="0" y="38429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1277AEB-7279-47B5-A074-F309964A3D57}"/>
                </a:ext>
              </a:extLst>
            </p:cNvPr>
            <p:cNvSpPr/>
            <p:nvPr/>
          </p:nvSpPr>
          <p:spPr>
            <a:xfrm>
              <a:off x="9968423" y="2373822"/>
              <a:ext cx="170688" cy="73152"/>
            </a:xfrm>
            <a:custGeom>
              <a:avLst/>
              <a:gdLst>
                <a:gd name="connsiteX0" fmla="*/ 0 w 170688"/>
                <a:gd name="connsiteY0" fmla="*/ 0 h 73151"/>
                <a:gd name="connsiteX1" fmla="*/ 172882 w 170688"/>
                <a:gd name="connsiteY1" fmla="*/ 8705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73151">
                  <a:moveTo>
                    <a:pt x="0" y="0"/>
                  </a:moveTo>
                  <a:lnTo>
                    <a:pt x="172882" y="870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C664493-5E34-456F-A6DE-D0E8AE23B777}"/>
                </a:ext>
              </a:extLst>
            </p:cNvPr>
            <p:cNvSpPr/>
            <p:nvPr/>
          </p:nvSpPr>
          <p:spPr>
            <a:xfrm>
              <a:off x="9874057" y="2652774"/>
              <a:ext cx="316992" cy="146304"/>
            </a:xfrm>
            <a:custGeom>
              <a:avLst/>
              <a:gdLst>
                <a:gd name="connsiteX0" fmla="*/ 0 w 316992"/>
                <a:gd name="connsiteY0" fmla="*/ 0 h 146303"/>
                <a:gd name="connsiteX1" fmla="*/ 340889 w 316992"/>
                <a:gd name="connsiteY1" fmla="*/ 170200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146303">
                  <a:moveTo>
                    <a:pt x="0" y="0"/>
                  </a:moveTo>
                  <a:lnTo>
                    <a:pt x="340889" y="1702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6D0E4E7-13F0-4DB2-9F5B-06A6C8D0D914}"/>
                </a:ext>
              </a:extLst>
            </p:cNvPr>
            <p:cNvSpPr/>
            <p:nvPr/>
          </p:nvSpPr>
          <p:spPr>
            <a:xfrm>
              <a:off x="9947453" y="3009756"/>
              <a:ext cx="292608" cy="97536"/>
            </a:xfrm>
            <a:custGeom>
              <a:avLst/>
              <a:gdLst>
                <a:gd name="connsiteX0" fmla="*/ 0 w 292608"/>
                <a:gd name="connsiteY0" fmla="*/ 0 h 97535"/>
                <a:gd name="connsiteX1" fmla="*/ 306507 w 292608"/>
                <a:gd name="connsiteY1" fmla="*/ 118750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608" h="97535">
                  <a:moveTo>
                    <a:pt x="0" y="0"/>
                  </a:moveTo>
                  <a:lnTo>
                    <a:pt x="306507" y="11875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749D8B2-2519-4E11-BE5E-3F8BB8C102FB}"/>
                </a:ext>
              </a:extLst>
            </p:cNvPr>
            <p:cNvSpPr/>
            <p:nvPr/>
          </p:nvSpPr>
          <p:spPr>
            <a:xfrm>
              <a:off x="8722347" y="1691694"/>
              <a:ext cx="1560576" cy="1609344"/>
            </a:xfrm>
            <a:custGeom>
              <a:avLst/>
              <a:gdLst>
                <a:gd name="connsiteX0" fmla="*/ 1563068 w 1560576"/>
                <a:gd name="connsiteY0" fmla="*/ 1616522 h 1609343"/>
                <a:gd name="connsiteX1" fmla="*/ 1304597 w 1560576"/>
                <a:gd name="connsiteY1" fmla="*/ 917920 h 1609343"/>
                <a:gd name="connsiteX2" fmla="*/ 951760 w 1560576"/>
                <a:gd name="connsiteY2" fmla="*/ 537286 h 1609343"/>
                <a:gd name="connsiteX3" fmla="*/ 665493 w 1560576"/>
                <a:gd name="connsiteY3" fmla="*/ 3277 h 1609343"/>
                <a:gd name="connsiteX4" fmla="*/ 379225 w 1560576"/>
                <a:gd name="connsiteY4" fmla="*/ 584347 h 1609343"/>
                <a:gd name="connsiteX5" fmla="*/ 67840 w 1560576"/>
                <a:gd name="connsiteY5" fmla="*/ 955472 h 1609343"/>
                <a:gd name="connsiteX6" fmla="*/ 77838 w 1560576"/>
                <a:gd name="connsiteY6" fmla="*/ 1616278 h 1609343"/>
                <a:gd name="connsiteX7" fmla="*/ 1563068 w 1560576"/>
                <a:gd name="connsiteY7" fmla="*/ 1616278 h 160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0576" h="1609343">
                  <a:moveTo>
                    <a:pt x="1563068" y="1616522"/>
                  </a:moveTo>
                  <a:cubicBezTo>
                    <a:pt x="1624272" y="1197605"/>
                    <a:pt x="1478211" y="948888"/>
                    <a:pt x="1304597" y="917920"/>
                  </a:cubicBezTo>
                  <a:cubicBezTo>
                    <a:pt x="1126107" y="886221"/>
                    <a:pt x="1005650" y="820872"/>
                    <a:pt x="951760" y="537286"/>
                  </a:cubicBezTo>
                  <a:cubicBezTo>
                    <a:pt x="897872" y="253700"/>
                    <a:pt x="864710" y="-34031"/>
                    <a:pt x="665493" y="3277"/>
                  </a:cubicBezTo>
                  <a:cubicBezTo>
                    <a:pt x="466275" y="40584"/>
                    <a:pt x="395806" y="293690"/>
                    <a:pt x="379225" y="584347"/>
                  </a:cubicBezTo>
                  <a:cubicBezTo>
                    <a:pt x="362643" y="874761"/>
                    <a:pt x="238041" y="841599"/>
                    <a:pt x="67840" y="955472"/>
                  </a:cubicBezTo>
                  <a:cubicBezTo>
                    <a:pt x="-65052" y="1044473"/>
                    <a:pt x="30046" y="1445346"/>
                    <a:pt x="77838" y="1616278"/>
                  </a:cubicBezTo>
                  <a:lnTo>
                    <a:pt x="1563068" y="1616278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3247B0A-CDBA-414B-95FF-54A552364396}"/>
                </a:ext>
              </a:extLst>
            </p:cNvPr>
            <p:cNvSpPr/>
            <p:nvPr/>
          </p:nvSpPr>
          <p:spPr>
            <a:xfrm>
              <a:off x="8819326" y="2604982"/>
              <a:ext cx="1292352" cy="682752"/>
            </a:xfrm>
            <a:custGeom>
              <a:avLst/>
              <a:gdLst>
                <a:gd name="connsiteX0" fmla="*/ 1272724 w 1292352"/>
                <a:gd name="connsiteY0" fmla="*/ 379415 h 682751"/>
                <a:gd name="connsiteX1" fmla="*/ 897211 w 1292352"/>
                <a:gd name="connsiteY1" fmla="*/ 421356 h 682751"/>
                <a:gd name="connsiteX2" fmla="*/ 617038 w 1292352"/>
                <a:gd name="connsiteY2" fmla="*/ 0 h 682751"/>
                <a:gd name="connsiteX3" fmla="*/ 303704 w 1292352"/>
                <a:gd name="connsiteY3" fmla="*/ 466954 h 682751"/>
                <a:gd name="connsiteX4" fmla="*/ 52549 w 1292352"/>
                <a:gd name="connsiteY4" fmla="*/ 333573 h 682751"/>
                <a:gd name="connsiteX5" fmla="*/ 43527 w 1292352"/>
                <a:gd name="connsiteY5" fmla="*/ 703234 h 682751"/>
                <a:gd name="connsiteX6" fmla="*/ 1220055 w 1292352"/>
                <a:gd name="connsiteY6" fmla="*/ 703234 h 682751"/>
                <a:gd name="connsiteX7" fmla="*/ 1272724 w 1292352"/>
                <a:gd name="connsiteY7" fmla="*/ 379415 h 68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2352" h="682751">
                  <a:moveTo>
                    <a:pt x="1272724" y="379415"/>
                  </a:moveTo>
                  <a:cubicBezTo>
                    <a:pt x="1191769" y="322844"/>
                    <a:pt x="1027909" y="435986"/>
                    <a:pt x="897211" y="421356"/>
                  </a:cubicBezTo>
                  <a:cubicBezTo>
                    <a:pt x="766512" y="406725"/>
                    <a:pt x="799675" y="0"/>
                    <a:pt x="617038" y="0"/>
                  </a:cubicBezTo>
                  <a:cubicBezTo>
                    <a:pt x="434402" y="0"/>
                    <a:pt x="449033" y="464759"/>
                    <a:pt x="303704" y="466954"/>
                  </a:cubicBezTo>
                  <a:cubicBezTo>
                    <a:pt x="158375" y="468904"/>
                    <a:pt x="170811" y="265786"/>
                    <a:pt x="52549" y="333573"/>
                  </a:cubicBezTo>
                  <a:cubicBezTo>
                    <a:pt x="-44987" y="389412"/>
                    <a:pt x="18411" y="623011"/>
                    <a:pt x="43527" y="703234"/>
                  </a:cubicBezTo>
                  <a:lnTo>
                    <a:pt x="1220055" y="703234"/>
                  </a:lnTo>
                  <a:cubicBezTo>
                    <a:pt x="1264921" y="596676"/>
                    <a:pt x="1328564" y="418429"/>
                    <a:pt x="1272724" y="379415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F9F39C0-3E48-41B4-8969-4C09A54EE9C7}"/>
                </a:ext>
              </a:extLst>
            </p:cNvPr>
            <p:cNvSpPr/>
            <p:nvPr/>
          </p:nvSpPr>
          <p:spPr>
            <a:xfrm>
              <a:off x="9403202" y="1904917"/>
              <a:ext cx="24384" cy="1389888"/>
            </a:xfrm>
            <a:custGeom>
              <a:avLst/>
              <a:gdLst>
                <a:gd name="connsiteX0" fmla="*/ 0 w 24384"/>
                <a:gd name="connsiteY0" fmla="*/ 0 h 1389887"/>
                <a:gd name="connsiteX1" fmla="*/ 9266 w 24384"/>
                <a:gd name="connsiteY1" fmla="*/ 1403543 h 138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389887">
                  <a:moveTo>
                    <a:pt x="0" y="0"/>
                  </a:moveTo>
                  <a:cubicBezTo>
                    <a:pt x="0" y="0"/>
                    <a:pt x="72421" y="831738"/>
                    <a:pt x="9266" y="140354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70CF274-641A-4F42-8DF5-C5C25ED1D035}"/>
                </a:ext>
              </a:extLst>
            </p:cNvPr>
            <p:cNvSpPr/>
            <p:nvPr/>
          </p:nvSpPr>
          <p:spPr>
            <a:xfrm>
              <a:off x="9415638" y="1960025"/>
              <a:ext cx="73152" cy="97536"/>
            </a:xfrm>
            <a:custGeom>
              <a:avLst/>
              <a:gdLst>
                <a:gd name="connsiteX0" fmla="*/ 83393 w 73152"/>
                <a:gd name="connsiteY0" fmla="*/ 0 h 97535"/>
                <a:gd name="connsiteX1" fmla="*/ 0 w 73152"/>
                <a:gd name="connsiteY1" fmla="*/ 117287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97535">
                  <a:moveTo>
                    <a:pt x="83393" y="0"/>
                  </a:moveTo>
                  <a:lnTo>
                    <a:pt x="0" y="1172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6C95E72-EBA8-4693-82DE-A741C633D29D}"/>
                </a:ext>
              </a:extLst>
            </p:cNvPr>
            <p:cNvSpPr/>
            <p:nvPr/>
          </p:nvSpPr>
          <p:spPr>
            <a:xfrm>
              <a:off x="9255679" y="2032202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66787 w 146304"/>
                <a:gd name="connsiteY1" fmla="*/ 16069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66787" y="1606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5D88DC9-557C-4A0A-891D-77BF05E00DFB}"/>
                </a:ext>
              </a:extLst>
            </p:cNvPr>
            <p:cNvSpPr/>
            <p:nvPr/>
          </p:nvSpPr>
          <p:spPr>
            <a:xfrm>
              <a:off x="9433194" y="2244586"/>
              <a:ext cx="170688" cy="195072"/>
            </a:xfrm>
            <a:custGeom>
              <a:avLst/>
              <a:gdLst>
                <a:gd name="connsiteX0" fmla="*/ 175809 w 170688"/>
                <a:gd name="connsiteY0" fmla="*/ 0 h 195071"/>
                <a:gd name="connsiteX1" fmla="*/ 0 w 170688"/>
                <a:gd name="connsiteY1" fmla="*/ 19604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95071">
                  <a:moveTo>
                    <a:pt x="175809" y="0"/>
                  </a:moveTo>
                  <a:lnTo>
                    <a:pt x="0" y="19604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77138AE-FBDA-48C8-A631-CEA0D4AFD4F4}"/>
                </a:ext>
              </a:extLst>
            </p:cNvPr>
            <p:cNvSpPr/>
            <p:nvPr/>
          </p:nvSpPr>
          <p:spPr>
            <a:xfrm>
              <a:off x="9169116" y="2342610"/>
              <a:ext cx="268224" cy="243840"/>
            </a:xfrm>
            <a:custGeom>
              <a:avLst/>
              <a:gdLst>
                <a:gd name="connsiteX0" fmla="*/ 0 w 268224"/>
                <a:gd name="connsiteY0" fmla="*/ 0 h 243839"/>
                <a:gd name="connsiteX1" fmla="*/ 269200 w 268224"/>
                <a:gd name="connsiteY1" fmla="*/ 263835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43839">
                  <a:moveTo>
                    <a:pt x="0" y="0"/>
                  </a:moveTo>
                  <a:lnTo>
                    <a:pt x="269200" y="26383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3024CDF-1985-429D-9786-19754090781B}"/>
                </a:ext>
              </a:extLst>
            </p:cNvPr>
            <p:cNvSpPr/>
            <p:nvPr/>
          </p:nvSpPr>
          <p:spPr>
            <a:xfrm>
              <a:off x="9438071" y="2474527"/>
              <a:ext cx="316992" cy="292608"/>
            </a:xfrm>
            <a:custGeom>
              <a:avLst/>
              <a:gdLst>
                <a:gd name="connsiteX0" fmla="*/ 318455 w 316992"/>
                <a:gd name="connsiteY0" fmla="*/ 0 h 292607"/>
                <a:gd name="connsiteX1" fmla="*/ 0 w 316992"/>
                <a:gd name="connsiteY1" fmla="*/ 307238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292607">
                  <a:moveTo>
                    <a:pt x="318455" y="0"/>
                  </a:moveTo>
                  <a:lnTo>
                    <a:pt x="0" y="3072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70D8454-7703-4ADF-849A-3322284F0DDB}"/>
                </a:ext>
              </a:extLst>
            </p:cNvPr>
            <p:cNvSpPr/>
            <p:nvPr/>
          </p:nvSpPr>
          <p:spPr>
            <a:xfrm>
              <a:off x="9246413" y="2812733"/>
              <a:ext cx="170688" cy="170688"/>
            </a:xfrm>
            <a:custGeom>
              <a:avLst/>
              <a:gdLst>
                <a:gd name="connsiteX0" fmla="*/ 0 w 170688"/>
                <a:gd name="connsiteY0" fmla="*/ 0 h 170687"/>
                <a:gd name="connsiteX1" fmla="*/ 187513 w 170688"/>
                <a:gd name="connsiteY1" fmla="*/ 18458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70687">
                  <a:moveTo>
                    <a:pt x="0" y="0"/>
                  </a:moveTo>
                  <a:lnTo>
                    <a:pt x="187513" y="1845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630D5F5-671A-4B54-8639-1817C42EC345}"/>
                </a:ext>
              </a:extLst>
            </p:cNvPr>
            <p:cNvSpPr/>
            <p:nvPr/>
          </p:nvSpPr>
          <p:spPr>
            <a:xfrm>
              <a:off x="9428317" y="2861989"/>
              <a:ext cx="219456" cy="243840"/>
            </a:xfrm>
            <a:custGeom>
              <a:avLst/>
              <a:gdLst>
                <a:gd name="connsiteX0" fmla="*/ 241157 w 219456"/>
                <a:gd name="connsiteY0" fmla="*/ 0 h 243839"/>
                <a:gd name="connsiteX1" fmla="*/ 0 w 219456"/>
                <a:gd name="connsiteY1" fmla="*/ 255056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43839">
                  <a:moveTo>
                    <a:pt x="241157" y="0"/>
                  </a:moveTo>
                  <a:lnTo>
                    <a:pt x="0" y="25505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9D2BAD05-FE19-45AC-BDA9-748B15C039A5}"/>
                </a:ext>
              </a:extLst>
            </p:cNvPr>
            <p:cNvSpPr/>
            <p:nvPr/>
          </p:nvSpPr>
          <p:spPr>
            <a:xfrm>
              <a:off x="8950878" y="2781278"/>
              <a:ext cx="73152" cy="512064"/>
            </a:xfrm>
            <a:custGeom>
              <a:avLst/>
              <a:gdLst>
                <a:gd name="connsiteX0" fmla="*/ 0 w 73152"/>
                <a:gd name="connsiteY0" fmla="*/ 0 h 512063"/>
                <a:gd name="connsiteX1" fmla="*/ 84369 w 73152"/>
                <a:gd name="connsiteY1" fmla="*/ 527182 h 51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12063">
                  <a:moveTo>
                    <a:pt x="0" y="0"/>
                  </a:moveTo>
                  <a:cubicBezTo>
                    <a:pt x="0" y="0"/>
                    <a:pt x="72665" y="119238"/>
                    <a:pt x="84369" y="52718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94E8627-6C5A-4F01-A9DC-9F1B0D0568DA}"/>
                </a:ext>
              </a:extLst>
            </p:cNvPr>
            <p:cNvSpPr/>
            <p:nvPr/>
          </p:nvSpPr>
          <p:spPr>
            <a:xfrm>
              <a:off x="9024518" y="2976106"/>
              <a:ext cx="97536" cy="146304"/>
            </a:xfrm>
            <a:custGeom>
              <a:avLst/>
              <a:gdLst>
                <a:gd name="connsiteX0" fmla="*/ 102413 w 97536"/>
                <a:gd name="connsiteY0" fmla="*/ 0 h 146303"/>
                <a:gd name="connsiteX1" fmla="*/ 0 w 97536"/>
                <a:gd name="connsiteY1" fmla="*/ 16922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02413" y="0"/>
                  </a:moveTo>
                  <a:lnTo>
                    <a:pt x="0" y="16922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83B00FA-A029-440F-960F-654E67EA43BA}"/>
                </a:ext>
              </a:extLst>
            </p:cNvPr>
            <p:cNvSpPr/>
            <p:nvPr/>
          </p:nvSpPr>
          <p:spPr>
            <a:xfrm>
              <a:off x="8807257" y="3092662"/>
              <a:ext cx="219456" cy="73152"/>
            </a:xfrm>
            <a:custGeom>
              <a:avLst/>
              <a:gdLst>
                <a:gd name="connsiteX0" fmla="*/ 0 w 219456"/>
                <a:gd name="connsiteY0" fmla="*/ 0 h 73151"/>
                <a:gd name="connsiteX1" fmla="*/ 220188 w 219456"/>
                <a:gd name="connsiteY1" fmla="*/ 85344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0" y="0"/>
                  </a:moveTo>
                  <a:lnTo>
                    <a:pt x="220188" y="8534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7D1F5D6-1927-4BC3-8D78-DE512966E327}"/>
                </a:ext>
              </a:extLst>
            </p:cNvPr>
            <p:cNvSpPr/>
            <p:nvPr/>
          </p:nvSpPr>
          <p:spPr>
            <a:xfrm>
              <a:off x="9941357" y="2872962"/>
              <a:ext cx="48768" cy="414528"/>
            </a:xfrm>
            <a:custGeom>
              <a:avLst/>
              <a:gdLst>
                <a:gd name="connsiteX0" fmla="*/ 49011 w 48768"/>
                <a:gd name="connsiteY0" fmla="*/ 0 h 414527"/>
                <a:gd name="connsiteX1" fmla="*/ 0 w 48768"/>
                <a:gd name="connsiteY1" fmla="*/ 435498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49011" y="0"/>
                  </a:moveTo>
                  <a:cubicBezTo>
                    <a:pt x="49011" y="0"/>
                    <a:pt x="11704" y="27554"/>
                    <a:pt x="0" y="43549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0F07BD1-D852-4702-A0F2-FE23DFE653D5}"/>
                </a:ext>
              </a:extLst>
            </p:cNvPr>
            <p:cNvSpPr/>
            <p:nvPr/>
          </p:nvSpPr>
          <p:spPr>
            <a:xfrm>
              <a:off x="9849917" y="2976594"/>
              <a:ext cx="97536" cy="146304"/>
            </a:xfrm>
            <a:custGeom>
              <a:avLst/>
              <a:gdLst>
                <a:gd name="connsiteX0" fmla="*/ 0 w 97536"/>
                <a:gd name="connsiteY0" fmla="*/ 0 h 146303"/>
                <a:gd name="connsiteX1" fmla="*/ 102169 w 97536"/>
                <a:gd name="connsiteY1" fmla="*/ 168737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0" y="0"/>
                  </a:moveTo>
                  <a:lnTo>
                    <a:pt x="102169" y="16873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A7D0A88-7EF5-41F2-9BA6-AEB4EEFE415B}"/>
                </a:ext>
              </a:extLst>
            </p:cNvPr>
            <p:cNvSpPr/>
            <p:nvPr/>
          </p:nvSpPr>
          <p:spPr>
            <a:xfrm>
              <a:off x="9949160" y="3117777"/>
              <a:ext cx="146304" cy="48768"/>
            </a:xfrm>
            <a:custGeom>
              <a:avLst/>
              <a:gdLst>
                <a:gd name="connsiteX0" fmla="*/ 155082 w 146304"/>
                <a:gd name="connsiteY0" fmla="*/ 0 h 48767"/>
                <a:gd name="connsiteX1" fmla="*/ 0 w 146304"/>
                <a:gd name="connsiteY1" fmla="*/ 6022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48767">
                  <a:moveTo>
                    <a:pt x="155082" y="0"/>
                  </a:moveTo>
                  <a:lnTo>
                    <a:pt x="0" y="6022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60660E3-3D13-4E53-BED2-4D0B847F8DF7}"/>
                </a:ext>
              </a:extLst>
            </p:cNvPr>
            <p:cNvSpPr/>
            <p:nvPr/>
          </p:nvSpPr>
          <p:spPr>
            <a:xfrm>
              <a:off x="7475159" y="2195962"/>
              <a:ext cx="1463040" cy="1097280"/>
            </a:xfrm>
            <a:custGeom>
              <a:avLst/>
              <a:gdLst>
                <a:gd name="connsiteX0" fmla="*/ 1449385 w 1463040"/>
                <a:gd name="connsiteY0" fmla="*/ 1110791 h 1097279"/>
                <a:gd name="connsiteX1" fmla="*/ 1342827 w 1463040"/>
                <a:gd name="connsiteY1" fmla="*/ 832 h 1097279"/>
                <a:gd name="connsiteX2" fmla="*/ 998037 w 1463040"/>
                <a:gd name="connsiteY2" fmla="*/ 451692 h 1097279"/>
                <a:gd name="connsiteX3" fmla="*/ 637398 w 1463040"/>
                <a:gd name="connsiteY3" fmla="*/ 459495 h 1097279"/>
                <a:gd name="connsiteX4" fmla="*/ 403799 w 1463040"/>
                <a:gd name="connsiteY4" fmla="*/ 743325 h 1097279"/>
                <a:gd name="connsiteX5" fmla="*/ 0 w 1463040"/>
                <a:gd name="connsiteY5" fmla="*/ 1110548 h 1097279"/>
                <a:gd name="connsiteX6" fmla="*/ 1449385 w 1463040"/>
                <a:gd name="connsiteY6" fmla="*/ 1110548 h 109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3040" h="1097279">
                  <a:moveTo>
                    <a:pt x="1449385" y="1110791"/>
                  </a:moveTo>
                  <a:cubicBezTo>
                    <a:pt x="1449385" y="1110791"/>
                    <a:pt x="1532291" y="24241"/>
                    <a:pt x="1342827" y="832"/>
                  </a:cubicBezTo>
                  <a:cubicBezTo>
                    <a:pt x="1153120" y="-22577"/>
                    <a:pt x="1186770" y="455837"/>
                    <a:pt x="998037" y="451692"/>
                  </a:cubicBezTo>
                  <a:cubicBezTo>
                    <a:pt x="809549" y="447547"/>
                    <a:pt x="706405" y="289782"/>
                    <a:pt x="637398" y="459495"/>
                  </a:cubicBezTo>
                  <a:cubicBezTo>
                    <a:pt x="568391" y="629208"/>
                    <a:pt x="566684" y="794287"/>
                    <a:pt x="403799" y="743325"/>
                  </a:cubicBezTo>
                  <a:cubicBezTo>
                    <a:pt x="240670" y="692362"/>
                    <a:pt x="0" y="1110548"/>
                    <a:pt x="0" y="1110548"/>
                  </a:cubicBezTo>
                  <a:lnTo>
                    <a:pt x="1449385" y="1110548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5D14979D-D615-498E-8096-9A6471B1BF57}"/>
                </a:ext>
              </a:extLst>
            </p:cNvPr>
            <p:cNvSpPr/>
            <p:nvPr/>
          </p:nvSpPr>
          <p:spPr>
            <a:xfrm>
              <a:off x="7474672" y="2577151"/>
              <a:ext cx="902208" cy="707136"/>
            </a:xfrm>
            <a:custGeom>
              <a:avLst/>
              <a:gdLst>
                <a:gd name="connsiteX0" fmla="*/ 404042 w 902208"/>
                <a:gd name="connsiteY0" fmla="*/ 362379 h 707135"/>
                <a:gd name="connsiteX1" fmla="*/ 637641 w 902208"/>
                <a:gd name="connsiteY1" fmla="*/ 78549 h 707135"/>
                <a:gd name="connsiteX2" fmla="*/ 916839 w 902208"/>
                <a:gd name="connsiteY2" fmla="*/ 59530 h 707135"/>
                <a:gd name="connsiteX3" fmla="*/ 916839 w 902208"/>
                <a:gd name="connsiteY3" fmla="*/ 729602 h 707135"/>
                <a:gd name="connsiteX4" fmla="*/ 0 w 902208"/>
                <a:gd name="connsiteY4" fmla="*/ 729602 h 707135"/>
                <a:gd name="connsiteX5" fmla="*/ 404042 w 902208"/>
                <a:gd name="connsiteY5" fmla="*/ 362379 h 70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2208" h="707135">
                  <a:moveTo>
                    <a:pt x="404042" y="362379"/>
                  </a:moveTo>
                  <a:cubicBezTo>
                    <a:pt x="567171" y="413341"/>
                    <a:pt x="568878" y="248262"/>
                    <a:pt x="637641" y="78549"/>
                  </a:cubicBezTo>
                  <a:cubicBezTo>
                    <a:pt x="695919" y="-65073"/>
                    <a:pt x="778825" y="25636"/>
                    <a:pt x="916839" y="59530"/>
                  </a:cubicBezTo>
                  <a:lnTo>
                    <a:pt x="916839" y="729602"/>
                  </a:lnTo>
                  <a:lnTo>
                    <a:pt x="0" y="729602"/>
                  </a:lnTo>
                  <a:cubicBezTo>
                    <a:pt x="243" y="729602"/>
                    <a:pt x="240914" y="311416"/>
                    <a:pt x="404042" y="362379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9EFD81-A786-4276-A7F5-6F81A59C13A8}"/>
                </a:ext>
              </a:extLst>
            </p:cNvPr>
            <p:cNvSpPr/>
            <p:nvPr/>
          </p:nvSpPr>
          <p:spPr>
            <a:xfrm>
              <a:off x="0" y="1601012"/>
              <a:ext cx="2584704" cy="1706880"/>
            </a:xfrm>
            <a:custGeom>
              <a:avLst/>
              <a:gdLst>
                <a:gd name="connsiteX0" fmla="*/ 2605430 w 2584704"/>
                <a:gd name="connsiteY0" fmla="*/ 1707204 h 1706879"/>
                <a:gd name="connsiteX1" fmla="*/ 0 w 2584704"/>
                <a:gd name="connsiteY1" fmla="*/ 1707204 h 1706879"/>
                <a:gd name="connsiteX2" fmla="*/ 0 w 2584704"/>
                <a:gd name="connsiteY2" fmla="*/ 543844 h 1706879"/>
                <a:gd name="connsiteX3" fmla="*/ 283830 w 2584704"/>
                <a:gd name="connsiteY3" fmla="*/ 324 h 1706879"/>
                <a:gd name="connsiteX4" fmla="*/ 1247729 w 2584704"/>
                <a:gd name="connsiteY4" fmla="*/ 896680 h 1706879"/>
                <a:gd name="connsiteX5" fmla="*/ 2605430 w 2584704"/>
                <a:gd name="connsiteY5" fmla="*/ 1271706 h 1706879"/>
                <a:gd name="connsiteX6" fmla="*/ 2605430 w 2584704"/>
                <a:gd name="connsiteY6" fmla="*/ 1707204 h 1706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4704" h="1706879">
                  <a:moveTo>
                    <a:pt x="2605430" y="1707204"/>
                  </a:moveTo>
                  <a:lnTo>
                    <a:pt x="0" y="1707204"/>
                  </a:lnTo>
                  <a:lnTo>
                    <a:pt x="0" y="543844"/>
                  </a:lnTo>
                  <a:cubicBezTo>
                    <a:pt x="53889" y="247090"/>
                    <a:pt x="141427" y="8127"/>
                    <a:pt x="283830" y="324"/>
                  </a:cubicBezTo>
                  <a:cubicBezTo>
                    <a:pt x="665927" y="-20402"/>
                    <a:pt x="682996" y="959590"/>
                    <a:pt x="1247729" y="896680"/>
                  </a:cubicBezTo>
                  <a:cubicBezTo>
                    <a:pt x="1691030" y="847424"/>
                    <a:pt x="2274296" y="859860"/>
                    <a:pt x="2605430" y="1271706"/>
                  </a:cubicBezTo>
                  <a:lnTo>
                    <a:pt x="2605430" y="1707204"/>
                  </a:ln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2183445-C60C-4DF9-98DF-E5C889C915B2}"/>
                </a:ext>
              </a:extLst>
            </p:cNvPr>
            <p:cNvSpPr/>
            <p:nvPr/>
          </p:nvSpPr>
          <p:spPr>
            <a:xfrm>
              <a:off x="985995" y="1772592"/>
              <a:ext cx="2023872" cy="1511808"/>
            </a:xfrm>
            <a:custGeom>
              <a:avLst/>
              <a:gdLst>
                <a:gd name="connsiteX0" fmla="*/ 24965 w 2023872"/>
                <a:gd name="connsiteY0" fmla="*/ 1534161 h 1511807"/>
                <a:gd name="connsiteX1" fmla="*/ 172245 w 2023872"/>
                <a:gd name="connsiteY1" fmla="*/ 1139 h 1511807"/>
                <a:gd name="connsiteX2" fmla="*/ 648464 w 2023872"/>
                <a:gd name="connsiteY2" fmla="*/ 623907 h 1511807"/>
                <a:gd name="connsiteX3" fmla="*/ 1146630 w 2023872"/>
                <a:gd name="connsiteY3" fmla="*/ 634636 h 1511807"/>
                <a:gd name="connsiteX4" fmla="*/ 1469474 w 2023872"/>
                <a:gd name="connsiteY4" fmla="*/ 1026730 h 1511807"/>
                <a:gd name="connsiteX5" fmla="*/ 2027380 w 2023872"/>
                <a:gd name="connsiteY5" fmla="*/ 1534161 h 1511807"/>
                <a:gd name="connsiteX6" fmla="*/ 24965 w 2023872"/>
                <a:gd name="connsiteY6" fmla="*/ 1534161 h 151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23872" h="1511807">
                  <a:moveTo>
                    <a:pt x="24965" y="1534161"/>
                  </a:moveTo>
                  <a:cubicBezTo>
                    <a:pt x="24965" y="1534161"/>
                    <a:pt x="-89639" y="33326"/>
                    <a:pt x="172245" y="1139"/>
                  </a:cubicBezTo>
                  <a:cubicBezTo>
                    <a:pt x="434129" y="-31048"/>
                    <a:pt x="387799" y="629515"/>
                    <a:pt x="648464" y="623907"/>
                  </a:cubicBezTo>
                  <a:cubicBezTo>
                    <a:pt x="908885" y="618298"/>
                    <a:pt x="1051288" y="400305"/>
                    <a:pt x="1146630" y="634636"/>
                  </a:cubicBezTo>
                  <a:cubicBezTo>
                    <a:pt x="1241727" y="869209"/>
                    <a:pt x="1244166" y="1097200"/>
                    <a:pt x="1469474" y="1026730"/>
                  </a:cubicBezTo>
                  <a:cubicBezTo>
                    <a:pt x="1694782" y="956260"/>
                    <a:pt x="2027380" y="1534161"/>
                    <a:pt x="2027380" y="1534161"/>
                  </a:cubicBezTo>
                  <a:lnTo>
                    <a:pt x="24965" y="1534161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9D2F756-A6F0-4469-AA1E-B615D3811F82}"/>
                </a:ext>
              </a:extLst>
            </p:cNvPr>
            <p:cNvSpPr/>
            <p:nvPr/>
          </p:nvSpPr>
          <p:spPr>
            <a:xfrm>
              <a:off x="1746870" y="2298856"/>
              <a:ext cx="1243584" cy="999744"/>
            </a:xfrm>
            <a:custGeom>
              <a:avLst/>
              <a:gdLst>
                <a:gd name="connsiteX0" fmla="*/ 708599 w 1243584"/>
                <a:gd name="connsiteY0" fmla="*/ 500467 h 999743"/>
                <a:gd name="connsiteX1" fmla="*/ 385755 w 1243584"/>
                <a:gd name="connsiteY1" fmla="*/ 108372 h 999743"/>
                <a:gd name="connsiteX2" fmla="*/ 0 w 1243584"/>
                <a:gd name="connsiteY2" fmla="*/ 82281 h 999743"/>
                <a:gd name="connsiteX3" fmla="*/ 0 w 1243584"/>
                <a:gd name="connsiteY3" fmla="*/ 1007898 h 999743"/>
                <a:gd name="connsiteX4" fmla="*/ 1266505 w 1243584"/>
                <a:gd name="connsiteY4" fmla="*/ 1007898 h 999743"/>
                <a:gd name="connsiteX5" fmla="*/ 708599 w 1243584"/>
                <a:gd name="connsiteY5" fmla="*/ 500467 h 99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3584" h="999743">
                  <a:moveTo>
                    <a:pt x="708599" y="500467"/>
                  </a:moveTo>
                  <a:cubicBezTo>
                    <a:pt x="483291" y="570936"/>
                    <a:pt x="481096" y="342702"/>
                    <a:pt x="385755" y="108372"/>
                  </a:cubicBezTo>
                  <a:cubicBezTo>
                    <a:pt x="305288" y="-89870"/>
                    <a:pt x="190927" y="35464"/>
                    <a:pt x="0" y="82281"/>
                  </a:cubicBezTo>
                  <a:lnTo>
                    <a:pt x="0" y="1007898"/>
                  </a:lnTo>
                  <a:lnTo>
                    <a:pt x="1266505" y="1007898"/>
                  </a:lnTo>
                  <a:cubicBezTo>
                    <a:pt x="1266261" y="1007898"/>
                    <a:pt x="933663" y="430241"/>
                    <a:pt x="708599" y="500467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159037B5-8FF4-4BB9-8AAA-08294FAA437C}"/>
                </a:ext>
              </a:extLst>
            </p:cNvPr>
            <p:cNvSpPr/>
            <p:nvPr/>
          </p:nvSpPr>
          <p:spPr>
            <a:xfrm>
              <a:off x="1850746" y="2729298"/>
              <a:ext cx="73152" cy="560832"/>
            </a:xfrm>
            <a:custGeom>
              <a:avLst/>
              <a:gdLst>
                <a:gd name="connsiteX0" fmla="*/ 86075 w 73152"/>
                <a:gd name="connsiteY0" fmla="*/ 43 h 560831"/>
                <a:gd name="connsiteX1" fmla="*/ 0 w 73152"/>
                <a:gd name="connsiteY1" fmla="*/ 577212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60831">
                  <a:moveTo>
                    <a:pt x="86075" y="43"/>
                  </a:moveTo>
                  <a:cubicBezTo>
                    <a:pt x="86075" y="43"/>
                    <a:pt x="17069" y="-16051"/>
                    <a:pt x="0" y="57721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DC1FA1-A4C3-410F-904D-A85EFC561CC3}"/>
                </a:ext>
              </a:extLst>
            </p:cNvPr>
            <p:cNvSpPr/>
            <p:nvPr/>
          </p:nvSpPr>
          <p:spPr>
            <a:xfrm>
              <a:off x="1717609" y="2824438"/>
              <a:ext cx="146304" cy="243840"/>
            </a:xfrm>
            <a:custGeom>
              <a:avLst/>
              <a:gdLst>
                <a:gd name="connsiteX0" fmla="*/ 0 w 146304"/>
                <a:gd name="connsiteY0" fmla="*/ 0 h 243839"/>
                <a:gd name="connsiteX1" fmla="*/ 148742 w 146304"/>
                <a:gd name="connsiteY1" fmla="*/ 245059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243839">
                  <a:moveTo>
                    <a:pt x="0" y="0"/>
                  </a:moveTo>
                  <a:lnTo>
                    <a:pt x="148742" y="24505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772B733-680E-4C64-B107-39542445E726}"/>
                </a:ext>
              </a:extLst>
            </p:cNvPr>
            <p:cNvSpPr/>
            <p:nvPr/>
          </p:nvSpPr>
          <p:spPr>
            <a:xfrm>
              <a:off x="1861962" y="3023655"/>
              <a:ext cx="219456" cy="73152"/>
            </a:xfrm>
            <a:custGeom>
              <a:avLst/>
              <a:gdLst>
                <a:gd name="connsiteX0" fmla="*/ 241158 w 219456"/>
                <a:gd name="connsiteY0" fmla="*/ 0 h 73151"/>
                <a:gd name="connsiteX1" fmla="*/ 0 w 219456"/>
                <a:gd name="connsiteY1" fmla="*/ 9339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241158" y="0"/>
                  </a:moveTo>
                  <a:lnTo>
                    <a:pt x="0" y="933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CD27F59-AF26-4087-80D4-F89D1E1624CA}"/>
                </a:ext>
              </a:extLst>
            </p:cNvPr>
            <p:cNvSpPr/>
            <p:nvPr/>
          </p:nvSpPr>
          <p:spPr>
            <a:xfrm>
              <a:off x="1230793" y="2170459"/>
              <a:ext cx="24384" cy="1121664"/>
            </a:xfrm>
            <a:custGeom>
              <a:avLst/>
              <a:gdLst>
                <a:gd name="connsiteX0" fmla="*/ 22300 w 24384"/>
                <a:gd name="connsiteY0" fmla="*/ 0 h 1121663"/>
                <a:gd name="connsiteX1" fmla="*/ 38638 w 24384"/>
                <a:gd name="connsiteY1" fmla="*/ 1137757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22300" y="0"/>
                  </a:moveTo>
                  <a:cubicBezTo>
                    <a:pt x="22300" y="0"/>
                    <a:pt x="-37440" y="448909"/>
                    <a:pt x="38638" y="113775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2BE4FFE-481E-4738-8A10-A90AC16619CB}"/>
                </a:ext>
              </a:extLst>
            </p:cNvPr>
            <p:cNvSpPr/>
            <p:nvPr/>
          </p:nvSpPr>
          <p:spPr>
            <a:xfrm>
              <a:off x="1238463" y="2321640"/>
              <a:ext cx="121920" cy="121920"/>
            </a:xfrm>
            <a:custGeom>
              <a:avLst/>
              <a:gdLst>
                <a:gd name="connsiteX0" fmla="*/ 143622 w 121920"/>
                <a:gd name="connsiteY0" fmla="*/ 0 h 121919"/>
                <a:gd name="connsiteX1" fmla="*/ 0 w 121920"/>
                <a:gd name="connsiteY1" fmla="*/ 14093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143622" y="0"/>
                  </a:moveTo>
                  <a:lnTo>
                    <a:pt x="0" y="14093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80D90C2-9B41-4E4F-9D6D-F0062DACFFD5}"/>
                </a:ext>
              </a:extLst>
            </p:cNvPr>
            <p:cNvSpPr/>
            <p:nvPr/>
          </p:nvSpPr>
          <p:spPr>
            <a:xfrm>
              <a:off x="1150437" y="2588645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88026 w 73152"/>
                <a:gd name="connsiteY1" fmla="*/ 85100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88026" y="851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85227FB-28BE-4D36-897B-A92D9CE3FC58}"/>
                </a:ext>
              </a:extLst>
            </p:cNvPr>
            <p:cNvSpPr/>
            <p:nvPr/>
          </p:nvSpPr>
          <p:spPr>
            <a:xfrm>
              <a:off x="1243584" y="2641558"/>
              <a:ext cx="268224" cy="268224"/>
            </a:xfrm>
            <a:custGeom>
              <a:avLst/>
              <a:gdLst>
                <a:gd name="connsiteX0" fmla="*/ 271394 w 268224"/>
                <a:gd name="connsiteY0" fmla="*/ 0 h 268223"/>
                <a:gd name="connsiteX1" fmla="*/ 0 w 268224"/>
                <a:gd name="connsiteY1" fmla="*/ 29187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68223">
                  <a:moveTo>
                    <a:pt x="271394" y="0"/>
                  </a:moveTo>
                  <a:lnTo>
                    <a:pt x="0" y="29187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D47D3FF-CAE4-4384-8AE7-F152EA0FF4B5}"/>
                </a:ext>
              </a:extLst>
            </p:cNvPr>
            <p:cNvSpPr/>
            <p:nvPr/>
          </p:nvSpPr>
          <p:spPr>
            <a:xfrm>
              <a:off x="1067532" y="2950747"/>
              <a:ext cx="170688" cy="121920"/>
            </a:xfrm>
            <a:custGeom>
              <a:avLst/>
              <a:gdLst>
                <a:gd name="connsiteX0" fmla="*/ 0 w 170688"/>
                <a:gd name="connsiteY0" fmla="*/ 0 h 121919"/>
                <a:gd name="connsiteX1" fmla="*/ 182880 w 170688"/>
                <a:gd name="connsiteY1" fmla="*/ 127041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21919">
                  <a:moveTo>
                    <a:pt x="0" y="0"/>
                  </a:moveTo>
                  <a:lnTo>
                    <a:pt x="182880" y="1270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3C7B4F0-999B-4E3D-8866-84D1DC588E15}"/>
                </a:ext>
              </a:extLst>
            </p:cNvPr>
            <p:cNvSpPr/>
            <p:nvPr/>
          </p:nvSpPr>
          <p:spPr>
            <a:xfrm>
              <a:off x="10628584" y="296097"/>
              <a:ext cx="1194816" cy="2487167"/>
            </a:xfrm>
            <a:custGeom>
              <a:avLst/>
              <a:gdLst>
                <a:gd name="connsiteX0" fmla="*/ 887004 w 1194816"/>
                <a:gd name="connsiteY0" fmla="*/ 2431780 h 2487167"/>
                <a:gd name="connsiteX1" fmla="*/ 76723 w 1194816"/>
                <a:gd name="connsiteY1" fmla="*/ 2268408 h 2487167"/>
                <a:gd name="connsiteX2" fmla="*/ 4303 w 1194816"/>
                <a:gd name="connsiteY2" fmla="*/ 2149170 h 2487167"/>
                <a:gd name="connsiteX3" fmla="*/ 321782 w 1194816"/>
                <a:gd name="connsiteY3" fmla="*/ 1668805 h 2487167"/>
                <a:gd name="connsiteX4" fmla="*/ 211079 w 1194816"/>
                <a:gd name="connsiteY4" fmla="*/ 1434719 h 2487167"/>
                <a:gd name="connsiteX5" fmla="*/ 91598 w 1194816"/>
                <a:gd name="connsiteY5" fmla="*/ 856087 h 2487167"/>
                <a:gd name="connsiteX6" fmla="*/ 277160 w 1194816"/>
                <a:gd name="connsiteY6" fmla="*/ 285013 h 2487167"/>
                <a:gd name="connsiteX7" fmla="*/ 636336 w 1194816"/>
                <a:gd name="connsiteY7" fmla="*/ 4841 h 2487167"/>
                <a:gd name="connsiteX8" fmla="*/ 835797 w 1194816"/>
                <a:gd name="connsiteY8" fmla="*/ 231613 h 2487167"/>
                <a:gd name="connsiteX9" fmla="*/ 843356 w 1194816"/>
                <a:gd name="connsiteY9" fmla="*/ 663209 h 2487167"/>
                <a:gd name="connsiteX10" fmla="*/ 831652 w 1194816"/>
                <a:gd name="connsiteY10" fmla="*/ 854136 h 2487167"/>
                <a:gd name="connsiteX11" fmla="*/ 1178880 w 1194816"/>
                <a:gd name="connsiteY11" fmla="*/ 1192586 h 2487167"/>
                <a:gd name="connsiteX12" fmla="*/ 1072078 w 1194816"/>
                <a:gd name="connsiteY12" fmla="*/ 1657588 h 2487167"/>
                <a:gd name="connsiteX13" fmla="*/ 997463 w 1194816"/>
                <a:gd name="connsiteY13" fmla="*/ 1956049 h 2487167"/>
                <a:gd name="connsiteX14" fmla="*/ 1054034 w 1194816"/>
                <a:gd name="connsiteY14" fmla="*/ 2026762 h 2487167"/>
                <a:gd name="connsiteX15" fmla="*/ 887004 w 1194816"/>
                <a:gd name="connsiteY15" fmla="*/ 2431780 h 248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4816" h="2487167">
                  <a:moveTo>
                    <a:pt x="887004" y="2431780"/>
                  </a:moveTo>
                  <a:cubicBezTo>
                    <a:pt x="656575" y="2606614"/>
                    <a:pt x="283500" y="2447386"/>
                    <a:pt x="76723" y="2268408"/>
                  </a:cubicBezTo>
                  <a:cubicBezTo>
                    <a:pt x="40634" y="2237196"/>
                    <a:pt x="14056" y="2195987"/>
                    <a:pt x="4303" y="2149170"/>
                  </a:cubicBezTo>
                  <a:cubicBezTo>
                    <a:pt x="-42758" y="1924837"/>
                    <a:pt x="311541" y="1869729"/>
                    <a:pt x="321782" y="1668805"/>
                  </a:cubicBezTo>
                  <a:cubicBezTo>
                    <a:pt x="326415" y="1580779"/>
                    <a:pt x="260090" y="1507871"/>
                    <a:pt x="211079" y="1434719"/>
                  </a:cubicBezTo>
                  <a:cubicBezTo>
                    <a:pt x="99644" y="1267445"/>
                    <a:pt x="67945" y="1055792"/>
                    <a:pt x="91598" y="856087"/>
                  </a:cubicBezTo>
                  <a:cubicBezTo>
                    <a:pt x="115249" y="656382"/>
                    <a:pt x="190109" y="466187"/>
                    <a:pt x="277160" y="285013"/>
                  </a:cubicBezTo>
                  <a:cubicBezTo>
                    <a:pt x="348361" y="136759"/>
                    <a:pt x="475646" y="-30759"/>
                    <a:pt x="636336" y="4841"/>
                  </a:cubicBezTo>
                  <a:cubicBezTo>
                    <a:pt x="739480" y="27762"/>
                    <a:pt x="805561" y="130419"/>
                    <a:pt x="835797" y="231613"/>
                  </a:cubicBezTo>
                  <a:cubicBezTo>
                    <a:pt x="877006" y="370845"/>
                    <a:pt x="871153" y="520563"/>
                    <a:pt x="843356" y="663209"/>
                  </a:cubicBezTo>
                  <a:cubicBezTo>
                    <a:pt x="831164" y="726364"/>
                    <a:pt x="814583" y="791957"/>
                    <a:pt x="831652" y="854136"/>
                  </a:cubicBezTo>
                  <a:cubicBezTo>
                    <a:pt x="875299" y="1013120"/>
                    <a:pt x="1098169" y="1048964"/>
                    <a:pt x="1178880" y="1192586"/>
                  </a:cubicBezTo>
                  <a:cubicBezTo>
                    <a:pt x="1261298" y="1338646"/>
                    <a:pt x="1163030" y="1516649"/>
                    <a:pt x="1072078" y="1657588"/>
                  </a:cubicBezTo>
                  <a:cubicBezTo>
                    <a:pt x="994293" y="1778289"/>
                    <a:pt x="946501" y="1853148"/>
                    <a:pt x="997463" y="1956049"/>
                  </a:cubicBezTo>
                  <a:cubicBezTo>
                    <a:pt x="1010874" y="1983359"/>
                    <a:pt x="1030869" y="2006767"/>
                    <a:pt x="1054034" y="2026762"/>
                  </a:cubicBezTo>
                  <a:cubicBezTo>
                    <a:pt x="1103046" y="2069190"/>
                    <a:pt x="1194974" y="2198182"/>
                    <a:pt x="887004" y="2431780"/>
                  </a:cubicBezTo>
                  <a:close/>
                </a:path>
              </a:pathLst>
            </a:custGeom>
            <a:solidFill>
              <a:srgbClr val="EF855A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E28AF1A-1C50-4288-A033-6AB59AC2A39A}"/>
                </a:ext>
              </a:extLst>
            </p:cNvPr>
            <p:cNvSpPr/>
            <p:nvPr/>
          </p:nvSpPr>
          <p:spPr>
            <a:xfrm>
              <a:off x="11162020" y="713272"/>
              <a:ext cx="195072" cy="2779775"/>
            </a:xfrm>
            <a:custGeom>
              <a:avLst/>
              <a:gdLst>
                <a:gd name="connsiteX0" fmla="*/ 50718 w 195072"/>
                <a:gd name="connsiteY0" fmla="*/ 0 h 2779775"/>
                <a:gd name="connsiteX1" fmla="*/ 0 w 195072"/>
                <a:gd name="connsiteY1" fmla="*/ 2782702 h 2779775"/>
                <a:gd name="connsiteX2" fmla="*/ 197998 w 195072"/>
                <a:gd name="connsiteY2" fmla="*/ 2800014 h 2779775"/>
                <a:gd name="connsiteX3" fmla="*/ 50718 w 195072"/>
                <a:gd name="connsiteY3" fmla="*/ 0 h 277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072" h="2779775">
                  <a:moveTo>
                    <a:pt x="50718" y="0"/>
                  </a:moveTo>
                  <a:cubicBezTo>
                    <a:pt x="50474" y="49987"/>
                    <a:pt x="0" y="2782702"/>
                    <a:pt x="0" y="2782702"/>
                  </a:cubicBezTo>
                  <a:lnTo>
                    <a:pt x="197998" y="2800014"/>
                  </a:lnTo>
                  <a:lnTo>
                    <a:pt x="50718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1349FB6-A258-47BF-AFA0-EE46D3C2CA88}"/>
                </a:ext>
              </a:extLst>
            </p:cNvPr>
            <p:cNvSpPr/>
            <p:nvPr/>
          </p:nvSpPr>
          <p:spPr>
            <a:xfrm>
              <a:off x="10815767" y="2220446"/>
              <a:ext cx="438912" cy="414528"/>
            </a:xfrm>
            <a:custGeom>
              <a:avLst/>
              <a:gdLst>
                <a:gd name="connsiteX0" fmla="*/ 405506 w 438912"/>
                <a:gd name="connsiteY0" fmla="*/ 429890 h 414527"/>
                <a:gd name="connsiteX1" fmla="*/ 0 w 438912"/>
                <a:gd name="connsiteY1" fmla="*/ 0 h 414527"/>
                <a:gd name="connsiteX2" fmla="*/ 440619 w 438912"/>
                <a:gd name="connsiteY2" fmla="*/ 393802 h 414527"/>
                <a:gd name="connsiteX3" fmla="*/ 442569 w 438912"/>
                <a:gd name="connsiteY3" fmla="*/ 429402 h 414527"/>
                <a:gd name="connsiteX4" fmla="*/ 406969 w 438912"/>
                <a:gd name="connsiteY4" fmla="*/ 431353 h 414527"/>
                <a:gd name="connsiteX5" fmla="*/ 405506 w 438912"/>
                <a:gd name="connsiteY5" fmla="*/ 429890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912" h="414527">
                  <a:moveTo>
                    <a:pt x="405506" y="429890"/>
                  </a:moveTo>
                  <a:lnTo>
                    <a:pt x="0" y="0"/>
                  </a:lnTo>
                  <a:lnTo>
                    <a:pt x="440619" y="393802"/>
                  </a:lnTo>
                  <a:cubicBezTo>
                    <a:pt x="451104" y="403067"/>
                    <a:pt x="451836" y="419161"/>
                    <a:pt x="442569" y="429402"/>
                  </a:cubicBezTo>
                  <a:cubicBezTo>
                    <a:pt x="433303" y="439887"/>
                    <a:pt x="417211" y="440619"/>
                    <a:pt x="406969" y="431353"/>
                  </a:cubicBezTo>
                  <a:cubicBezTo>
                    <a:pt x="406482" y="430865"/>
                    <a:pt x="405993" y="430378"/>
                    <a:pt x="405506" y="429890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5348A22-B8EC-41B7-8F0E-07A985959318}"/>
                </a:ext>
              </a:extLst>
            </p:cNvPr>
            <p:cNvSpPr/>
            <p:nvPr/>
          </p:nvSpPr>
          <p:spPr>
            <a:xfrm>
              <a:off x="11018398" y="1089517"/>
              <a:ext cx="195072" cy="316992"/>
            </a:xfrm>
            <a:custGeom>
              <a:avLst/>
              <a:gdLst>
                <a:gd name="connsiteX0" fmla="*/ 164105 w 195072"/>
                <a:gd name="connsiteY0" fmla="*/ 321625 h 316991"/>
                <a:gd name="connsiteX1" fmla="*/ 0 w 195072"/>
                <a:gd name="connsiteY1" fmla="*/ 0 h 316991"/>
                <a:gd name="connsiteX2" fmla="*/ 196535 w 195072"/>
                <a:gd name="connsiteY2" fmla="*/ 303093 h 316991"/>
                <a:gd name="connsiteX3" fmla="*/ 190927 w 195072"/>
                <a:gd name="connsiteY3" fmla="*/ 328940 h 316991"/>
                <a:gd name="connsiteX4" fmla="*/ 165080 w 195072"/>
                <a:gd name="connsiteY4" fmla="*/ 323332 h 316991"/>
                <a:gd name="connsiteX5" fmla="*/ 164105 w 195072"/>
                <a:gd name="connsiteY5" fmla="*/ 321625 h 31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072" h="316991">
                  <a:moveTo>
                    <a:pt x="164105" y="321625"/>
                  </a:moveTo>
                  <a:lnTo>
                    <a:pt x="0" y="0"/>
                  </a:lnTo>
                  <a:lnTo>
                    <a:pt x="196535" y="303093"/>
                  </a:lnTo>
                  <a:cubicBezTo>
                    <a:pt x="202144" y="311871"/>
                    <a:pt x="199705" y="323332"/>
                    <a:pt x="190927" y="328940"/>
                  </a:cubicBezTo>
                  <a:cubicBezTo>
                    <a:pt x="182393" y="334548"/>
                    <a:pt x="170688" y="332110"/>
                    <a:pt x="165080" y="323332"/>
                  </a:cubicBezTo>
                  <a:cubicBezTo>
                    <a:pt x="164836" y="322844"/>
                    <a:pt x="164348" y="322356"/>
                    <a:pt x="164105" y="321625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7E41DF1-0235-457C-BB43-CC327DAE59DD}"/>
                </a:ext>
              </a:extLst>
            </p:cNvPr>
            <p:cNvSpPr/>
            <p:nvPr/>
          </p:nvSpPr>
          <p:spPr>
            <a:xfrm>
              <a:off x="11252485" y="1493803"/>
              <a:ext cx="390144" cy="585216"/>
            </a:xfrm>
            <a:custGeom>
              <a:avLst/>
              <a:gdLst>
                <a:gd name="connsiteX0" fmla="*/ 0 w 390144"/>
                <a:gd name="connsiteY0" fmla="*/ 591800 h 585215"/>
                <a:gd name="connsiteX1" fmla="*/ 392338 w 390144"/>
                <a:gd name="connsiteY1" fmla="*/ 0 h 585215"/>
                <a:gd name="connsiteX2" fmla="*/ 0 w 390144"/>
                <a:gd name="connsiteY2" fmla="*/ 591800 h 5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0144" h="585215">
                  <a:moveTo>
                    <a:pt x="0" y="591800"/>
                  </a:moveTo>
                  <a:lnTo>
                    <a:pt x="392338" y="0"/>
                  </a:lnTo>
                  <a:lnTo>
                    <a:pt x="0" y="59180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C85BA1A-AC36-4465-9B73-509A4B6CA4DB}"/>
                </a:ext>
              </a:extLst>
            </p:cNvPr>
            <p:cNvSpPr/>
            <p:nvPr/>
          </p:nvSpPr>
          <p:spPr>
            <a:xfrm>
              <a:off x="11227662" y="1493803"/>
              <a:ext cx="414528" cy="609600"/>
            </a:xfrm>
            <a:custGeom>
              <a:avLst/>
              <a:gdLst>
                <a:gd name="connsiteX0" fmla="*/ 4584 w 414528"/>
                <a:gd name="connsiteY0" fmla="*/ 578388 h 609599"/>
                <a:gd name="connsiteX1" fmla="*/ 417161 w 414528"/>
                <a:gd name="connsiteY1" fmla="*/ 0 h 609599"/>
                <a:gd name="connsiteX2" fmla="*/ 45061 w 414528"/>
                <a:gd name="connsiteY2" fmla="*/ 605211 h 609599"/>
                <a:gd name="connsiteX3" fmla="*/ 11655 w 414528"/>
                <a:gd name="connsiteY3" fmla="*/ 613257 h 609599"/>
                <a:gd name="connsiteX4" fmla="*/ 3608 w 414528"/>
                <a:gd name="connsiteY4" fmla="*/ 579852 h 609599"/>
                <a:gd name="connsiteX5" fmla="*/ 4584 w 414528"/>
                <a:gd name="connsiteY5" fmla="*/ 578388 h 60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4528" h="609599">
                  <a:moveTo>
                    <a:pt x="4584" y="578388"/>
                  </a:moveTo>
                  <a:lnTo>
                    <a:pt x="417161" y="0"/>
                  </a:lnTo>
                  <a:lnTo>
                    <a:pt x="45061" y="605211"/>
                  </a:lnTo>
                  <a:cubicBezTo>
                    <a:pt x="37990" y="616671"/>
                    <a:pt x="23115" y="620329"/>
                    <a:pt x="11655" y="613257"/>
                  </a:cubicBezTo>
                  <a:cubicBezTo>
                    <a:pt x="194" y="606186"/>
                    <a:pt x="-3463" y="591312"/>
                    <a:pt x="3608" y="579852"/>
                  </a:cubicBezTo>
                  <a:cubicBezTo>
                    <a:pt x="3852" y="579364"/>
                    <a:pt x="4340" y="578876"/>
                    <a:pt x="4584" y="578388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CE3BB0B-BC4B-469F-A024-9C6D0DAF7BCC}"/>
                </a:ext>
              </a:extLst>
            </p:cNvPr>
            <p:cNvSpPr/>
            <p:nvPr/>
          </p:nvSpPr>
          <p:spPr>
            <a:xfrm>
              <a:off x="10242123" y="998990"/>
              <a:ext cx="926592" cy="1901951"/>
            </a:xfrm>
            <a:custGeom>
              <a:avLst/>
              <a:gdLst>
                <a:gd name="connsiteX0" fmla="*/ 679715 w 926592"/>
                <a:gd name="connsiteY0" fmla="*/ 1863487 h 1901951"/>
                <a:gd name="connsiteX1" fmla="*/ 58898 w 926592"/>
                <a:gd name="connsiteY1" fmla="*/ 1738397 h 1901951"/>
                <a:gd name="connsiteX2" fmla="*/ 3303 w 926592"/>
                <a:gd name="connsiteY2" fmla="*/ 1646957 h 1901951"/>
                <a:gd name="connsiteX3" fmla="*/ 246655 w 926592"/>
                <a:gd name="connsiteY3" fmla="*/ 1278759 h 1901951"/>
                <a:gd name="connsiteX4" fmla="*/ 162042 w 926592"/>
                <a:gd name="connsiteY4" fmla="*/ 1099293 h 1901951"/>
                <a:gd name="connsiteX5" fmla="*/ 70359 w 926592"/>
                <a:gd name="connsiteY5" fmla="*/ 655992 h 1901951"/>
                <a:gd name="connsiteX6" fmla="*/ 212517 w 926592"/>
                <a:gd name="connsiteY6" fmla="*/ 218299 h 1901951"/>
                <a:gd name="connsiteX7" fmla="*/ 487813 w 926592"/>
                <a:gd name="connsiteY7" fmla="*/ 3720 h 1901951"/>
                <a:gd name="connsiteX8" fmla="*/ 640700 w 926592"/>
                <a:gd name="connsiteY8" fmla="*/ 177578 h 1901951"/>
                <a:gd name="connsiteX9" fmla="*/ 646552 w 926592"/>
                <a:gd name="connsiteY9" fmla="*/ 508225 h 1901951"/>
                <a:gd name="connsiteX10" fmla="*/ 637530 w 926592"/>
                <a:gd name="connsiteY10" fmla="*/ 654529 h 1901951"/>
                <a:gd name="connsiteX11" fmla="*/ 903804 w 926592"/>
                <a:gd name="connsiteY11" fmla="*/ 913974 h 1901951"/>
                <a:gd name="connsiteX12" fmla="*/ 821873 w 926592"/>
                <a:gd name="connsiteY12" fmla="*/ 1270469 h 1901951"/>
                <a:gd name="connsiteX13" fmla="*/ 764815 w 926592"/>
                <a:gd name="connsiteY13" fmla="*/ 1499190 h 1901951"/>
                <a:gd name="connsiteX14" fmla="*/ 807975 w 926592"/>
                <a:gd name="connsiteY14" fmla="*/ 1553323 h 1901951"/>
                <a:gd name="connsiteX15" fmla="*/ 679715 w 926592"/>
                <a:gd name="connsiteY15" fmla="*/ 1863487 h 190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26592" h="1901951">
                  <a:moveTo>
                    <a:pt x="679715" y="1863487"/>
                  </a:moveTo>
                  <a:cubicBezTo>
                    <a:pt x="503175" y="1997355"/>
                    <a:pt x="217150" y="1875435"/>
                    <a:pt x="58898" y="1738397"/>
                  </a:cubicBezTo>
                  <a:cubicBezTo>
                    <a:pt x="31344" y="1714501"/>
                    <a:pt x="10862" y="1682802"/>
                    <a:pt x="3303" y="1646957"/>
                  </a:cubicBezTo>
                  <a:cubicBezTo>
                    <a:pt x="-32786" y="1475050"/>
                    <a:pt x="238608" y="1432866"/>
                    <a:pt x="246655" y="1278759"/>
                  </a:cubicBezTo>
                  <a:cubicBezTo>
                    <a:pt x="250069" y="1211459"/>
                    <a:pt x="199350" y="1155376"/>
                    <a:pt x="162042" y="1099293"/>
                  </a:cubicBezTo>
                  <a:cubicBezTo>
                    <a:pt x="76698" y="971033"/>
                    <a:pt x="52314" y="808879"/>
                    <a:pt x="70359" y="655992"/>
                  </a:cubicBezTo>
                  <a:cubicBezTo>
                    <a:pt x="88403" y="502860"/>
                    <a:pt x="145705" y="357288"/>
                    <a:pt x="212517" y="218299"/>
                  </a:cubicBezTo>
                  <a:cubicBezTo>
                    <a:pt x="267137" y="104670"/>
                    <a:pt x="364673" y="-23590"/>
                    <a:pt x="487813" y="3720"/>
                  </a:cubicBezTo>
                  <a:cubicBezTo>
                    <a:pt x="566817" y="21276"/>
                    <a:pt x="617535" y="99793"/>
                    <a:pt x="640700" y="177578"/>
                  </a:cubicBezTo>
                  <a:cubicBezTo>
                    <a:pt x="672399" y="284380"/>
                    <a:pt x="667767" y="398985"/>
                    <a:pt x="646552" y="508225"/>
                  </a:cubicBezTo>
                  <a:cubicBezTo>
                    <a:pt x="637043" y="556505"/>
                    <a:pt x="624607" y="606980"/>
                    <a:pt x="637530" y="654529"/>
                  </a:cubicBezTo>
                  <a:cubicBezTo>
                    <a:pt x="670936" y="776205"/>
                    <a:pt x="841868" y="803759"/>
                    <a:pt x="903804" y="913974"/>
                  </a:cubicBezTo>
                  <a:cubicBezTo>
                    <a:pt x="966958" y="1025897"/>
                    <a:pt x="891612" y="1162204"/>
                    <a:pt x="821873" y="1270469"/>
                  </a:cubicBezTo>
                  <a:cubicBezTo>
                    <a:pt x="762133" y="1362884"/>
                    <a:pt x="725557" y="1420186"/>
                    <a:pt x="764815" y="1499190"/>
                  </a:cubicBezTo>
                  <a:cubicBezTo>
                    <a:pt x="775056" y="1520161"/>
                    <a:pt x="790418" y="1537961"/>
                    <a:pt x="807975" y="1553323"/>
                  </a:cubicBezTo>
                  <a:cubicBezTo>
                    <a:pt x="845526" y="1585510"/>
                    <a:pt x="915752" y="1684265"/>
                    <a:pt x="679715" y="186348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E1C8F0D-A063-47B6-892F-66B05134E56E}"/>
                </a:ext>
              </a:extLst>
            </p:cNvPr>
            <p:cNvSpPr/>
            <p:nvPr/>
          </p:nvSpPr>
          <p:spPr>
            <a:xfrm>
              <a:off x="10613136" y="1279712"/>
              <a:ext cx="146304" cy="1999487"/>
            </a:xfrm>
            <a:custGeom>
              <a:avLst/>
              <a:gdLst>
                <a:gd name="connsiteX0" fmla="*/ 56814 w 146304"/>
                <a:gd name="connsiteY0" fmla="*/ 0 h 1999487"/>
                <a:gd name="connsiteX1" fmla="*/ 0 w 146304"/>
                <a:gd name="connsiteY1" fmla="*/ 1999000 h 1999487"/>
                <a:gd name="connsiteX2" fmla="*/ 162885 w 146304"/>
                <a:gd name="connsiteY2" fmla="*/ 2013386 h 1999487"/>
                <a:gd name="connsiteX3" fmla="*/ 56814 w 146304"/>
                <a:gd name="connsiteY3" fmla="*/ 0 h 199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1999487">
                  <a:moveTo>
                    <a:pt x="56814" y="0"/>
                  </a:moveTo>
                  <a:cubicBezTo>
                    <a:pt x="56571" y="40965"/>
                    <a:pt x="0" y="1999000"/>
                    <a:pt x="0" y="1999000"/>
                  </a:cubicBezTo>
                  <a:lnTo>
                    <a:pt x="162885" y="2013386"/>
                  </a:lnTo>
                  <a:lnTo>
                    <a:pt x="56814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FEE0942-ED9A-4A38-B68F-4C4464C6F9E2}"/>
                </a:ext>
              </a:extLst>
            </p:cNvPr>
            <p:cNvSpPr/>
            <p:nvPr/>
          </p:nvSpPr>
          <p:spPr>
            <a:xfrm>
              <a:off x="10678877" y="2107548"/>
              <a:ext cx="365760" cy="341376"/>
            </a:xfrm>
            <a:custGeom>
              <a:avLst/>
              <a:gdLst>
                <a:gd name="connsiteX0" fmla="*/ 35940 w 365760"/>
                <a:gd name="connsiteY0" fmla="*/ 353812 h 341375"/>
                <a:gd name="connsiteX1" fmla="*/ 369513 w 365760"/>
                <a:gd name="connsiteY1" fmla="*/ 0 h 341375"/>
                <a:gd name="connsiteX2" fmla="*/ 6923 w 365760"/>
                <a:gd name="connsiteY2" fmla="*/ 324063 h 341375"/>
                <a:gd name="connsiteX3" fmla="*/ 5216 w 365760"/>
                <a:gd name="connsiteY3" fmla="*/ 353324 h 341375"/>
                <a:gd name="connsiteX4" fmla="*/ 34477 w 365760"/>
                <a:gd name="connsiteY4" fmla="*/ 355031 h 341375"/>
                <a:gd name="connsiteX5" fmla="*/ 35940 w 365760"/>
                <a:gd name="connsiteY5" fmla="*/ 353812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760" h="341375">
                  <a:moveTo>
                    <a:pt x="35940" y="353812"/>
                  </a:moveTo>
                  <a:lnTo>
                    <a:pt x="369513" y="0"/>
                  </a:lnTo>
                  <a:lnTo>
                    <a:pt x="6923" y="324063"/>
                  </a:lnTo>
                  <a:cubicBezTo>
                    <a:pt x="-1611" y="331622"/>
                    <a:pt x="-2343" y="344790"/>
                    <a:pt x="5216" y="353324"/>
                  </a:cubicBezTo>
                  <a:cubicBezTo>
                    <a:pt x="12775" y="361858"/>
                    <a:pt x="25943" y="362590"/>
                    <a:pt x="34477" y="355031"/>
                  </a:cubicBezTo>
                  <a:cubicBezTo>
                    <a:pt x="34965" y="354787"/>
                    <a:pt x="35452" y="354299"/>
                    <a:pt x="35940" y="353812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B0E740D-B463-4A25-B405-6A85B863E0EA}"/>
                </a:ext>
              </a:extLst>
            </p:cNvPr>
            <p:cNvSpPr/>
            <p:nvPr/>
          </p:nvSpPr>
          <p:spPr>
            <a:xfrm>
              <a:off x="10509991" y="1589389"/>
              <a:ext cx="146304" cy="268224"/>
            </a:xfrm>
            <a:custGeom>
              <a:avLst/>
              <a:gdLst>
                <a:gd name="connsiteX0" fmla="*/ 135088 w 146304"/>
                <a:gd name="connsiteY0" fmla="*/ 264566 h 268223"/>
                <a:gd name="connsiteX1" fmla="*/ 0 w 146304"/>
                <a:gd name="connsiteY1" fmla="*/ 0 h 268223"/>
                <a:gd name="connsiteX2" fmla="*/ 161666 w 146304"/>
                <a:gd name="connsiteY2" fmla="*/ 249204 h 268223"/>
                <a:gd name="connsiteX3" fmla="*/ 157033 w 146304"/>
                <a:gd name="connsiteY3" fmla="*/ 270418 h 268223"/>
                <a:gd name="connsiteX4" fmla="*/ 135819 w 146304"/>
                <a:gd name="connsiteY4" fmla="*/ 265785 h 268223"/>
                <a:gd name="connsiteX5" fmla="*/ 135088 w 146304"/>
                <a:gd name="connsiteY5" fmla="*/ 26456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304" h="268223">
                  <a:moveTo>
                    <a:pt x="135088" y="264566"/>
                  </a:moveTo>
                  <a:lnTo>
                    <a:pt x="0" y="0"/>
                  </a:lnTo>
                  <a:lnTo>
                    <a:pt x="161666" y="249204"/>
                  </a:lnTo>
                  <a:cubicBezTo>
                    <a:pt x="166299" y="256276"/>
                    <a:pt x="164349" y="265785"/>
                    <a:pt x="157033" y="270418"/>
                  </a:cubicBezTo>
                  <a:cubicBezTo>
                    <a:pt x="149962" y="275051"/>
                    <a:pt x="140452" y="273101"/>
                    <a:pt x="135819" y="265785"/>
                  </a:cubicBezTo>
                  <a:cubicBezTo>
                    <a:pt x="135575" y="265542"/>
                    <a:pt x="135332" y="265054"/>
                    <a:pt x="135088" y="264566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5D11EBE-9C74-421D-93F4-436FC96A4DA1}"/>
                </a:ext>
              </a:extLst>
            </p:cNvPr>
            <p:cNvSpPr/>
            <p:nvPr/>
          </p:nvSpPr>
          <p:spPr>
            <a:xfrm>
              <a:off x="10702869" y="1921742"/>
              <a:ext cx="316992" cy="463296"/>
            </a:xfrm>
            <a:custGeom>
              <a:avLst/>
              <a:gdLst>
                <a:gd name="connsiteX0" fmla="*/ 0 w 316992"/>
                <a:gd name="connsiteY0" fmla="*/ 486948 h 463295"/>
                <a:gd name="connsiteX1" fmla="*/ 322601 w 316992"/>
                <a:gd name="connsiteY1" fmla="*/ 0 h 463295"/>
                <a:gd name="connsiteX2" fmla="*/ 0 w 316992"/>
                <a:gd name="connsiteY2" fmla="*/ 486948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63295">
                  <a:moveTo>
                    <a:pt x="0" y="486948"/>
                  </a:moveTo>
                  <a:lnTo>
                    <a:pt x="322601" y="0"/>
                  </a:lnTo>
                  <a:lnTo>
                    <a:pt x="0" y="486948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C6FB0D0-F1D2-4E44-9CE4-D9B2E834751F}"/>
                </a:ext>
              </a:extLst>
            </p:cNvPr>
            <p:cNvSpPr/>
            <p:nvPr/>
          </p:nvSpPr>
          <p:spPr>
            <a:xfrm>
              <a:off x="4779796" y="1990749"/>
              <a:ext cx="1267968" cy="1316736"/>
            </a:xfrm>
            <a:custGeom>
              <a:avLst/>
              <a:gdLst>
                <a:gd name="connsiteX0" fmla="*/ 1273776 w 1267968"/>
                <a:gd name="connsiteY0" fmla="*/ 1317467 h 1316735"/>
                <a:gd name="connsiteX1" fmla="*/ 1063098 w 1267968"/>
                <a:gd name="connsiteY1" fmla="*/ 748101 h 1316735"/>
                <a:gd name="connsiteX2" fmla="*/ 775611 w 1267968"/>
                <a:gd name="connsiteY2" fmla="*/ 437936 h 1316735"/>
                <a:gd name="connsiteX3" fmla="*/ 542256 w 1267968"/>
                <a:gd name="connsiteY3" fmla="*/ 2682 h 1316735"/>
                <a:gd name="connsiteX4" fmla="*/ 308901 w 1267968"/>
                <a:gd name="connsiteY4" fmla="*/ 476219 h 1316735"/>
                <a:gd name="connsiteX5" fmla="*/ 55307 w 1267968"/>
                <a:gd name="connsiteY5" fmla="*/ 778825 h 1316735"/>
                <a:gd name="connsiteX6" fmla="*/ 63598 w 1267968"/>
                <a:gd name="connsiteY6" fmla="*/ 1317467 h 1316735"/>
                <a:gd name="connsiteX7" fmla="*/ 1273776 w 1267968"/>
                <a:gd name="connsiteY7" fmla="*/ 1317467 h 131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7968" h="1316735">
                  <a:moveTo>
                    <a:pt x="1273776" y="1317467"/>
                  </a:moveTo>
                  <a:cubicBezTo>
                    <a:pt x="1323763" y="975847"/>
                    <a:pt x="1204525" y="773216"/>
                    <a:pt x="1063098" y="748101"/>
                  </a:cubicBezTo>
                  <a:cubicBezTo>
                    <a:pt x="917526" y="722254"/>
                    <a:pt x="819502" y="669097"/>
                    <a:pt x="775611" y="437936"/>
                  </a:cubicBezTo>
                  <a:cubicBezTo>
                    <a:pt x="731720" y="206776"/>
                    <a:pt x="704653" y="-27798"/>
                    <a:pt x="542256" y="2682"/>
                  </a:cubicBezTo>
                  <a:cubicBezTo>
                    <a:pt x="379859" y="33162"/>
                    <a:pt x="322313" y="239451"/>
                    <a:pt x="308901" y="476219"/>
                  </a:cubicBezTo>
                  <a:cubicBezTo>
                    <a:pt x="295490" y="712988"/>
                    <a:pt x="193809" y="685922"/>
                    <a:pt x="55307" y="778825"/>
                  </a:cubicBezTo>
                  <a:cubicBezTo>
                    <a:pt x="-52957" y="851489"/>
                    <a:pt x="24340" y="1178235"/>
                    <a:pt x="63598" y="1317467"/>
                  </a:cubicBezTo>
                  <a:lnTo>
                    <a:pt x="1273776" y="1317467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33D0622-8C59-4EAA-9B42-E15CA9247C75}"/>
                </a:ext>
              </a:extLst>
            </p:cNvPr>
            <p:cNvSpPr/>
            <p:nvPr/>
          </p:nvSpPr>
          <p:spPr>
            <a:xfrm>
              <a:off x="4859098" y="2734948"/>
              <a:ext cx="1048512" cy="560832"/>
            </a:xfrm>
            <a:custGeom>
              <a:avLst/>
              <a:gdLst>
                <a:gd name="connsiteX0" fmla="*/ 1036953 w 1048512"/>
                <a:gd name="connsiteY0" fmla="*/ 309189 h 560831"/>
                <a:gd name="connsiteX1" fmla="*/ 730934 w 1048512"/>
                <a:gd name="connsiteY1" fmla="*/ 343327 h 560831"/>
                <a:gd name="connsiteX2" fmla="*/ 502700 w 1048512"/>
                <a:gd name="connsiteY2" fmla="*/ 0 h 560831"/>
                <a:gd name="connsiteX3" fmla="*/ 247399 w 1048512"/>
                <a:gd name="connsiteY3" fmla="*/ 380634 h 560831"/>
                <a:gd name="connsiteX4" fmla="*/ 42817 w 1048512"/>
                <a:gd name="connsiteY4" fmla="*/ 271882 h 560831"/>
                <a:gd name="connsiteX5" fmla="*/ 35502 w 1048512"/>
                <a:gd name="connsiteY5" fmla="*/ 573268 h 560831"/>
                <a:gd name="connsiteX6" fmla="*/ 994281 w 1048512"/>
                <a:gd name="connsiteY6" fmla="*/ 573268 h 560831"/>
                <a:gd name="connsiteX7" fmla="*/ 1036953 w 1048512"/>
                <a:gd name="connsiteY7" fmla="*/ 309189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8512" h="560831">
                  <a:moveTo>
                    <a:pt x="1036953" y="309189"/>
                  </a:moveTo>
                  <a:cubicBezTo>
                    <a:pt x="970873" y="263103"/>
                    <a:pt x="837492" y="355275"/>
                    <a:pt x="730934" y="343327"/>
                  </a:cubicBezTo>
                  <a:cubicBezTo>
                    <a:pt x="624376" y="331378"/>
                    <a:pt x="651442" y="0"/>
                    <a:pt x="502700" y="0"/>
                  </a:cubicBezTo>
                  <a:cubicBezTo>
                    <a:pt x="353957" y="0"/>
                    <a:pt x="365662" y="378927"/>
                    <a:pt x="247399" y="380634"/>
                  </a:cubicBezTo>
                  <a:cubicBezTo>
                    <a:pt x="128893" y="382341"/>
                    <a:pt x="139134" y="216530"/>
                    <a:pt x="42817" y="271882"/>
                  </a:cubicBezTo>
                  <a:cubicBezTo>
                    <a:pt x="-36674" y="317480"/>
                    <a:pt x="15020" y="507919"/>
                    <a:pt x="35502" y="573268"/>
                  </a:cubicBezTo>
                  <a:lnTo>
                    <a:pt x="994281" y="573268"/>
                  </a:lnTo>
                  <a:cubicBezTo>
                    <a:pt x="1030370" y="486461"/>
                    <a:pt x="1082308" y="341132"/>
                    <a:pt x="1036953" y="309189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2369F28-2489-4346-973C-A5F1BCE3C21A}"/>
                </a:ext>
              </a:extLst>
            </p:cNvPr>
            <p:cNvSpPr/>
            <p:nvPr/>
          </p:nvSpPr>
          <p:spPr>
            <a:xfrm>
              <a:off x="5334244" y="2164363"/>
              <a:ext cx="24384" cy="1121664"/>
            </a:xfrm>
            <a:custGeom>
              <a:avLst/>
              <a:gdLst>
                <a:gd name="connsiteX0" fmla="*/ 0 w 24384"/>
                <a:gd name="connsiteY0" fmla="*/ 0 h 1121663"/>
                <a:gd name="connsiteX1" fmla="*/ 7559 w 24384"/>
                <a:gd name="connsiteY1" fmla="*/ 1143853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0" y="0"/>
                  </a:moveTo>
                  <a:cubicBezTo>
                    <a:pt x="0" y="0"/>
                    <a:pt x="59009" y="677875"/>
                    <a:pt x="7559" y="114385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7744662-21B8-46B9-B4E6-518E324BAA69}"/>
                </a:ext>
              </a:extLst>
            </p:cNvPr>
            <p:cNvSpPr/>
            <p:nvPr/>
          </p:nvSpPr>
          <p:spPr>
            <a:xfrm>
              <a:off x="5344485" y="2209473"/>
              <a:ext cx="48768" cy="73152"/>
            </a:xfrm>
            <a:custGeom>
              <a:avLst/>
              <a:gdLst>
                <a:gd name="connsiteX0" fmla="*/ 68031 w 48768"/>
                <a:gd name="connsiteY0" fmla="*/ 0 h 73151"/>
                <a:gd name="connsiteX1" fmla="*/ 0 w 48768"/>
                <a:gd name="connsiteY1" fmla="*/ 95585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73151">
                  <a:moveTo>
                    <a:pt x="68031" y="0"/>
                  </a:moveTo>
                  <a:lnTo>
                    <a:pt x="0" y="9558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C3046117-8AD1-486C-A30D-28BA8A8BCFEB}"/>
                </a:ext>
              </a:extLst>
            </p:cNvPr>
            <p:cNvSpPr/>
            <p:nvPr/>
          </p:nvSpPr>
          <p:spPr>
            <a:xfrm>
              <a:off x="5214275" y="2268239"/>
              <a:ext cx="121920" cy="121920"/>
            </a:xfrm>
            <a:custGeom>
              <a:avLst/>
              <a:gdLst>
                <a:gd name="connsiteX0" fmla="*/ 0 w 121920"/>
                <a:gd name="connsiteY0" fmla="*/ 0 h 121919"/>
                <a:gd name="connsiteX1" fmla="*/ 135819 w 121920"/>
                <a:gd name="connsiteY1" fmla="*/ 130698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0" y="0"/>
                  </a:moveTo>
                  <a:lnTo>
                    <a:pt x="135819" y="13069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D3AC6B2-B7D4-4E91-92CB-C4FA6CAFEC99}"/>
                </a:ext>
              </a:extLst>
            </p:cNvPr>
            <p:cNvSpPr/>
            <p:nvPr/>
          </p:nvSpPr>
          <p:spPr>
            <a:xfrm>
              <a:off x="5358872" y="2441365"/>
              <a:ext cx="121920" cy="146304"/>
            </a:xfrm>
            <a:custGeom>
              <a:avLst/>
              <a:gdLst>
                <a:gd name="connsiteX0" fmla="*/ 143378 w 121920"/>
                <a:gd name="connsiteY0" fmla="*/ 0 h 146303"/>
                <a:gd name="connsiteX1" fmla="*/ 0 w 121920"/>
                <a:gd name="connsiteY1" fmla="*/ 15971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46303">
                  <a:moveTo>
                    <a:pt x="143378" y="0"/>
                  </a:moveTo>
                  <a:lnTo>
                    <a:pt x="0" y="15971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EAF0C85C-4F8F-4ED4-BF05-AA3A6D3B8A3D}"/>
                </a:ext>
              </a:extLst>
            </p:cNvPr>
            <p:cNvSpPr/>
            <p:nvPr/>
          </p:nvSpPr>
          <p:spPr>
            <a:xfrm>
              <a:off x="5143561" y="2521345"/>
              <a:ext cx="219456" cy="195072"/>
            </a:xfrm>
            <a:custGeom>
              <a:avLst/>
              <a:gdLst>
                <a:gd name="connsiteX0" fmla="*/ 0 w 219456"/>
                <a:gd name="connsiteY0" fmla="*/ 0 h 195071"/>
                <a:gd name="connsiteX1" fmla="*/ 219456 w 219456"/>
                <a:gd name="connsiteY1" fmla="*/ 21506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195071">
                  <a:moveTo>
                    <a:pt x="0" y="0"/>
                  </a:moveTo>
                  <a:lnTo>
                    <a:pt x="219456" y="21506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5A2A1A54-FD91-4D2E-A63A-CE16FC5C3B4C}"/>
                </a:ext>
              </a:extLst>
            </p:cNvPr>
            <p:cNvSpPr/>
            <p:nvPr/>
          </p:nvSpPr>
          <p:spPr>
            <a:xfrm>
              <a:off x="5363017" y="2628878"/>
              <a:ext cx="243840" cy="243840"/>
            </a:xfrm>
            <a:custGeom>
              <a:avLst/>
              <a:gdLst>
                <a:gd name="connsiteX0" fmla="*/ 259202 w 243840"/>
                <a:gd name="connsiteY0" fmla="*/ 0 h 243839"/>
                <a:gd name="connsiteX1" fmla="*/ 0 w 243840"/>
                <a:gd name="connsiteY1" fmla="*/ 250180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43839">
                  <a:moveTo>
                    <a:pt x="259202" y="0"/>
                  </a:moveTo>
                  <a:lnTo>
                    <a:pt x="0" y="25018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9067224-F95C-40F5-B055-EE400F9FB4CA}"/>
                </a:ext>
              </a:extLst>
            </p:cNvPr>
            <p:cNvSpPr/>
            <p:nvPr/>
          </p:nvSpPr>
          <p:spPr>
            <a:xfrm>
              <a:off x="5206716" y="2904417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52888 w 146304"/>
                <a:gd name="connsiteY1" fmla="*/ 15044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52888" y="15044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EC8E2B8-56BE-4D02-9676-FCA4851E9C1E}"/>
                </a:ext>
              </a:extLst>
            </p:cNvPr>
            <p:cNvSpPr/>
            <p:nvPr/>
          </p:nvSpPr>
          <p:spPr>
            <a:xfrm>
              <a:off x="5354970" y="2944407"/>
              <a:ext cx="195072" cy="195072"/>
            </a:xfrm>
            <a:custGeom>
              <a:avLst/>
              <a:gdLst>
                <a:gd name="connsiteX0" fmla="*/ 196535 w 195072"/>
                <a:gd name="connsiteY0" fmla="*/ 0 h 195071"/>
                <a:gd name="connsiteX1" fmla="*/ 0 w 195072"/>
                <a:gd name="connsiteY1" fmla="*/ 207995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95071">
                  <a:moveTo>
                    <a:pt x="196535" y="0"/>
                  </a:moveTo>
                  <a:lnTo>
                    <a:pt x="0" y="20799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61A13B3A-DBEB-41D4-BE4A-CA78BE76FF4E}"/>
                </a:ext>
              </a:extLst>
            </p:cNvPr>
            <p:cNvSpPr/>
            <p:nvPr/>
          </p:nvSpPr>
          <p:spPr>
            <a:xfrm>
              <a:off x="4965801" y="2878570"/>
              <a:ext cx="48768" cy="414528"/>
            </a:xfrm>
            <a:custGeom>
              <a:avLst/>
              <a:gdLst>
                <a:gd name="connsiteX0" fmla="*/ 0 w 48768"/>
                <a:gd name="connsiteY0" fmla="*/ 0 h 414527"/>
                <a:gd name="connsiteX1" fmla="*/ 68763 w 48768"/>
                <a:gd name="connsiteY1" fmla="*/ 429646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0" y="0"/>
                  </a:moveTo>
                  <a:cubicBezTo>
                    <a:pt x="0" y="0"/>
                    <a:pt x="59253" y="97292"/>
                    <a:pt x="68763" y="429646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7C4DF080-A1E1-41F2-B8D1-1C75028B6AFF}"/>
                </a:ext>
              </a:extLst>
            </p:cNvPr>
            <p:cNvSpPr/>
            <p:nvPr/>
          </p:nvSpPr>
          <p:spPr>
            <a:xfrm>
              <a:off x="5025786" y="3037554"/>
              <a:ext cx="73152" cy="121920"/>
            </a:xfrm>
            <a:custGeom>
              <a:avLst/>
              <a:gdLst>
                <a:gd name="connsiteX0" fmla="*/ 83637 w 73152"/>
                <a:gd name="connsiteY0" fmla="*/ 0 h 121919"/>
                <a:gd name="connsiteX1" fmla="*/ 0 w 73152"/>
                <a:gd name="connsiteY1" fmla="*/ 13776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83637" y="0"/>
                  </a:moveTo>
                  <a:lnTo>
                    <a:pt x="0" y="13776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005551B-923B-4B5E-AD19-CD11FE4D5475}"/>
                </a:ext>
              </a:extLst>
            </p:cNvPr>
            <p:cNvSpPr/>
            <p:nvPr/>
          </p:nvSpPr>
          <p:spPr>
            <a:xfrm>
              <a:off x="4848758" y="3132408"/>
              <a:ext cx="170688" cy="48768"/>
            </a:xfrm>
            <a:custGeom>
              <a:avLst/>
              <a:gdLst>
                <a:gd name="connsiteX0" fmla="*/ 0 w 170688"/>
                <a:gd name="connsiteY0" fmla="*/ 0 h 48767"/>
                <a:gd name="connsiteX1" fmla="*/ 179466 w 170688"/>
                <a:gd name="connsiteY1" fmla="*/ 6973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48767">
                  <a:moveTo>
                    <a:pt x="0" y="0"/>
                  </a:moveTo>
                  <a:lnTo>
                    <a:pt x="179466" y="697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4443C0B-E7CA-42E6-A5D5-094E6EC37ACD}"/>
                </a:ext>
              </a:extLst>
            </p:cNvPr>
            <p:cNvSpPr/>
            <p:nvPr/>
          </p:nvSpPr>
          <p:spPr>
            <a:xfrm>
              <a:off x="5773156" y="2953429"/>
              <a:ext cx="24384" cy="341376"/>
            </a:xfrm>
            <a:custGeom>
              <a:avLst/>
              <a:gdLst>
                <a:gd name="connsiteX0" fmla="*/ 39990 w 24384"/>
                <a:gd name="connsiteY0" fmla="*/ 0 h 341375"/>
                <a:gd name="connsiteX1" fmla="*/ 0 w 24384"/>
                <a:gd name="connsiteY1" fmla="*/ 35503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341375">
                  <a:moveTo>
                    <a:pt x="39990" y="0"/>
                  </a:moveTo>
                  <a:cubicBezTo>
                    <a:pt x="39990" y="0"/>
                    <a:pt x="9510" y="22433"/>
                    <a:pt x="0" y="355031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14A0746-2E42-434B-AEAB-C009BFABE55F}"/>
                </a:ext>
              </a:extLst>
            </p:cNvPr>
            <p:cNvSpPr/>
            <p:nvPr/>
          </p:nvSpPr>
          <p:spPr>
            <a:xfrm>
              <a:off x="5698541" y="3038042"/>
              <a:ext cx="73152" cy="121920"/>
            </a:xfrm>
            <a:custGeom>
              <a:avLst/>
              <a:gdLst>
                <a:gd name="connsiteX0" fmla="*/ 0 w 73152"/>
                <a:gd name="connsiteY0" fmla="*/ 0 h 121919"/>
                <a:gd name="connsiteX1" fmla="*/ 83393 w 73152"/>
                <a:gd name="connsiteY1" fmla="*/ 137282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0" y="0"/>
                  </a:moveTo>
                  <a:lnTo>
                    <a:pt x="83393" y="1372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0FFE069-3A26-43FF-9F0E-A02776B56884}"/>
                </a:ext>
              </a:extLst>
            </p:cNvPr>
            <p:cNvSpPr/>
            <p:nvPr/>
          </p:nvSpPr>
          <p:spPr>
            <a:xfrm>
              <a:off x="5779496" y="3153134"/>
              <a:ext cx="121920" cy="48768"/>
            </a:xfrm>
            <a:custGeom>
              <a:avLst/>
              <a:gdLst>
                <a:gd name="connsiteX0" fmla="*/ 126309 w 121920"/>
                <a:gd name="connsiteY0" fmla="*/ 0 h 48767"/>
                <a:gd name="connsiteX1" fmla="*/ 0 w 121920"/>
                <a:gd name="connsiteY1" fmla="*/ 49012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48767">
                  <a:moveTo>
                    <a:pt x="126309" y="0"/>
                  </a:moveTo>
                  <a:lnTo>
                    <a:pt x="0" y="4901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B45E805-F6F5-4BFE-82C6-7EE6B9534D32}"/>
                </a:ext>
              </a:extLst>
            </p:cNvPr>
            <p:cNvSpPr/>
            <p:nvPr/>
          </p:nvSpPr>
          <p:spPr>
            <a:xfrm>
              <a:off x="4211276" y="2396371"/>
              <a:ext cx="877824" cy="902208"/>
            </a:xfrm>
            <a:custGeom>
              <a:avLst/>
              <a:gdLst>
                <a:gd name="connsiteX0" fmla="*/ 882054 w 877824"/>
                <a:gd name="connsiteY0" fmla="*/ 911845 h 902207"/>
                <a:gd name="connsiteX1" fmla="*/ 736238 w 877824"/>
                <a:gd name="connsiteY1" fmla="*/ 517800 h 902207"/>
                <a:gd name="connsiteX2" fmla="*/ 537265 w 877824"/>
                <a:gd name="connsiteY2" fmla="*/ 303221 h 902207"/>
                <a:gd name="connsiteX3" fmla="*/ 375599 w 877824"/>
                <a:gd name="connsiteY3" fmla="*/ 1835 h 902207"/>
                <a:gd name="connsiteX4" fmla="*/ 213933 w 877824"/>
                <a:gd name="connsiteY4" fmla="*/ 329556 h 902207"/>
                <a:gd name="connsiteX5" fmla="*/ 38368 w 877824"/>
                <a:gd name="connsiteY5" fmla="*/ 539014 h 902207"/>
                <a:gd name="connsiteX6" fmla="*/ 43976 w 877824"/>
                <a:gd name="connsiteY6" fmla="*/ 911845 h 902207"/>
                <a:gd name="connsiteX7" fmla="*/ 882054 w 877824"/>
                <a:gd name="connsiteY7" fmla="*/ 911845 h 90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7824" h="902207">
                  <a:moveTo>
                    <a:pt x="882054" y="911845"/>
                  </a:moveTo>
                  <a:cubicBezTo>
                    <a:pt x="916680" y="675565"/>
                    <a:pt x="834262" y="535113"/>
                    <a:pt x="736238" y="517800"/>
                  </a:cubicBezTo>
                  <a:cubicBezTo>
                    <a:pt x="635532" y="500000"/>
                    <a:pt x="567745" y="462936"/>
                    <a:pt x="537265" y="303221"/>
                  </a:cubicBezTo>
                  <a:cubicBezTo>
                    <a:pt x="506785" y="143262"/>
                    <a:pt x="488009" y="-19135"/>
                    <a:pt x="375599" y="1835"/>
                  </a:cubicBezTo>
                  <a:cubicBezTo>
                    <a:pt x="263188" y="22805"/>
                    <a:pt x="223442" y="165695"/>
                    <a:pt x="213933" y="329556"/>
                  </a:cubicBezTo>
                  <a:cubicBezTo>
                    <a:pt x="204667" y="493416"/>
                    <a:pt x="134441" y="474641"/>
                    <a:pt x="38368" y="539014"/>
                  </a:cubicBezTo>
                  <a:cubicBezTo>
                    <a:pt x="-36735" y="589245"/>
                    <a:pt x="16910" y="815285"/>
                    <a:pt x="43976" y="911845"/>
                  </a:cubicBezTo>
                  <a:lnTo>
                    <a:pt x="882054" y="911845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073676D9-EF3C-4248-BE61-8F641AA494D3}"/>
                </a:ext>
              </a:extLst>
            </p:cNvPr>
            <p:cNvSpPr/>
            <p:nvPr/>
          </p:nvSpPr>
          <p:spPr>
            <a:xfrm>
              <a:off x="4272385" y="2911489"/>
              <a:ext cx="707136" cy="390144"/>
            </a:xfrm>
            <a:custGeom>
              <a:avLst/>
              <a:gdLst>
                <a:gd name="connsiteX0" fmla="*/ 718045 w 707136"/>
                <a:gd name="connsiteY0" fmla="*/ 214091 h 390143"/>
                <a:gd name="connsiteX1" fmla="*/ 506148 w 707136"/>
                <a:gd name="connsiteY1" fmla="*/ 237744 h 390143"/>
                <a:gd name="connsiteX2" fmla="*/ 348140 w 707136"/>
                <a:gd name="connsiteY2" fmla="*/ 0 h 390143"/>
                <a:gd name="connsiteX3" fmla="*/ 171356 w 707136"/>
                <a:gd name="connsiteY3" fmla="*/ 263347 h 390143"/>
                <a:gd name="connsiteX4" fmla="*/ 29684 w 707136"/>
                <a:gd name="connsiteY4" fmla="*/ 188000 h 390143"/>
                <a:gd name="connsiteX5" fmla="*/ 24564 w 707136"/>
                <a:gd name="connsiteY5" fmla="*/ 396484 h 390143"/>
                <a:gd name="connsiteX6" fmla="*/ 688052 w 707136"/>
                <a:gd name="connsiteY6" fmla="*/ 396484 h 390143"/>
                <a:gd name="connsiteX7" fmla="*/ 718045 w 707136"/>
                <a:gd name="connsiteY7" fmla="*/ 214091 h 390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136" h="390143">
                  <a:moveTo>
                    <a:pt x="718045" y="214091"/>
                  </a:moveTo>
                  <a:cubicBezTo>
                    <a:pt x="672447" y="182148"/>
                    <a:pt x="579788" y="246034"/>
                    <a:pt x="506148" y="237744"/>
                  </a:cubicBezTo>
                  <a:cubicBezTo>
                    <a:pt x="432508" y="229453"/>
                    <a:pt x="451040" y="0"/>
                    <a:pt x="348140" y="0"/>
                  </a:cubicBezTo>
                  <a:cubicBezTo>
                    <a:pt x="245239" y="0"/>
                    <a:pt x="253286" y="262128"/>
                    <a:pt x="171356" y="263347"/>
                  </a:cubicBezTo>
                  <a:cubicBezTo>
                    <a:pt x="89425" y="264566"/>
                    <a:pt x="96497" y="149718"/>
                    <a:pt x="29684" y="188000"/>
                  </a:cubicBezTo>
                  <a:cubicBezTo>
                    <a:pt x="-25423" y="219456"/>
                    <a:pt x="10421" y="351373"/>
                    <a:pt x="24564" y="396484"/>
                  </a:cubicBezTo>
                  <a:lnTo>
                    <a:pt x="688052" y="396484"/>
                  </a:lnTo>
                  <a:cubicBezTo>
                    <a:pt x="713656" y="336743"/>
                    <a:pt x="749500" y="236037"/>
                    <a:pt x="718045" y="214091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FA37BC60-4A42-4DD5-A8C8-87F15A52C4FD}"/>
                </a:ext>
              </a:extLst>
            </p:cNvPr>
            <p:cNvSpPr/>
            <p:nvPr/>
          </p:nvSpPr>
          <p:spPr>
            <a:xfrm>
              <a:off x="5664847" y="2225031"/>
              <a:ext cx="560832" cy="1170432"/>
            </a:xfrm>
            <a:custGeom>
              <a:avLst/>
              <a:gdLst>
                <a:gd name="connsiteX0" fmla="*/ 416766 w 560832"/>
                <a:gd name="connsiteY0" fmla="*/ 1142195 h 1170431"/>
                <a:gd name="connsiteX1" fmla="*/ 36132 w 560832"/>
                <a:gd name="connsiteY1" fmla="*/ 1065385 h 1170431"/>
                <a:gd name="connsiteX2" fmla="*/ 1994 w 560832"/>
                <a:gd name="connsiteY2" fmla="*/ 1009301 h 1170431"/>
                <a:gd name="connsiteX3" fmla="*/ 151225 w 560832"/>
                <a:gd name="connsiteY3" fmla="*/ 783750 h 1170431"/>
                <a:gd name="connsiteX4" fmla="*/ 99287 w 560832"/>
                <a:gd name="connsiteY4" fmla="*/ 673778 h 1170431"/>
                <a:gd name="connsiteX5" fmla="*/ 43203 w 560832"/>
                <a:gd name="connsiteY5" fmla="*/ 402140 h 1170431"/>
                <a:gd name="connsiteX6" fmla="*/ 130254 w 560832"/>
                <a:gd name="connsiteY6" fmla="*/ 133916 h 1170431"/>
                <a:gd name="connsiteX7" fmla="*/ 298992 w 560832"/>
                <a:gd name="connsiteY7" fmla="*/ 2243 h 1170431"/>
                <a:gd name="connsiteX8" fmla="*/ 392626 w 560832"/>
                <a:gd name="connsiteY8" fmla="*/ 108801 h 1170431"/>
                <a:gd name="connsiteX9" fmla="*/ 396284 w 560832"/>
                <a:gd name="connsiteY9" fmla="*/ 311432 h 1170431"/>
                <a:gd name="connsiteX10" fmla="*/ 390675 w 560832"/>
                <a:gd name="connsiteY10" fmla="*/ 401165 h 1170431"/>
                <a:gd name="connsiteX11" fmla="*/ 553804 w 560832"/>
                <a:gd name="connsiteY11" fmla="*/ 560148 h 1170431"/>
                <a:gd name="connsiteX12" fmla="*/ 503573 w 560832"/>
                <a:gd name="connsiteY12" fmla="*/ 778629 h 1170431"/>
                <a:gd name="connsiteX13" fmla="*/ 468460 w 560832"/>
                <a:gd name="connsiteY13" fmla="*/ 918837 h 1170431"/>
                <a:gd name="connsiteX14" fmla="*/ 495039 w 560832"/>
                <a:gd name="connsiteY14" fmla="*/ 951999 h 1170431"/>
                <a:gd name="connsiteX15" fmla="*/ 416766 w 560832"/>
                <a:gd name="connsiteY15" fmla="*/ 1142195 h 117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0832" h="1170431">
                  <a:moveTo>
                    <a:pt x="416766" y="1142195"/>
                  </a:moveTo>
                  <a:cubicBezTo>
                    <a:pt x="308501" y="1224368"/>
                    <a:pt x="133180" y="1149509"/>
                    <a:pt x="36132" y="1065385"/>
                  </a:cubicBezTo>
                  <a:cubicBezTo>
                    <a:pt x="19063" y="1050755"/>
                    <a:pt x="6627" y="1031247"/>
                    <a:pt x="1994" y="1009301"/>
                  </a:cubicBezTo>
                  <a:cubicBezTo>
                    <a:pt x="-19951" y="903963"/>
                    <a:pt x="146348" y="878116"/>
                    <a:pt x="151225" y="783750"/>
                  </a:cubicBezTo>
                  <a:cubicBezTo>
                    <a:pt x="153419" y="742541"/>
                    <a:pt x="122208" y="708159"/>
                    <a:pt x="99287" y="673778"/>
                  </a:cubicBezTo>
                  <a:cubicBezTo>
                    <a:pt x="46861" y="595261"/>
                    <a:pt x="31987" y="495775"/>
                    <a:pt x="43203" y="402140"/>
                  </a:cubicBezTo>
                  <a:cubicBezTo>
                    <a:pt x="54176" y="308262"/>
                    <a:pt x="89289" y="219016"/>
                    <a:pt x="130254" y="133916"/>
                  </a:cubicBezTo>
                  <a:cubicBezTo>
                    <a:pt x="163660" y="64178"/>
                    <a:pt x="223401" y="-14339"/>
                    <a:pt x="298992" y="2243"/>
                  </a:cubicBezTo>
                  <a:cubicBezTo>
                    <a:pt x="347516" y="12972"/>
                    <a:pt x="378483" y="61252"/>
                    <a:pt x="392626" y="108801"/>
                  </a:cubicBezTo>
                  <a:cubicBezTo>
                    <a:pt x="412133" y="174150"/>
                    <a:pt x="409207" y="244620"/>
                    <a:pt x="396284" y="311432"/>
                  </a:cubicBezTo>
                  <a:cubicBezTo>
                    <a:pt x="390432" y="341180"/>
                    <a:pt x="382873" y="371904"/>
                    <a:pt x="390675" y="401165"/>
                  </a:cubicBezTo>
                  <a:cubicBezTo>
                    <a:pt x="411158" y="475780"/>
                    <a:pt x="515765" y="492605"/>
                    <a:pt x="553804" y="560148"/>
                  </a:cubicBezTo>
                  <a:cubicBezTo>
                    <a:pt x="592575" y="628667"/>
                    <a:pt x="546245" y="712305"/>
                    <a:pt x="503573" y="778629"/>
                  </a:cubicBezTo>
                  <a:cubicBezTo>
                    <a:pt x="466997" y="835200"/>
                    <a:pt x="444564" y="870313"/>
                    <a:pt x="468460" y="918837"/>
                  </a:cubicBezTo>
                  <a:cubicBezTo>
                    <a:pt x="474800" y="931760"/>
                    <a:pt x="484066" y="942733"/>
                    <a:pt x="495039" y="951999"/>
                  </a:cubicBezTo>
                  <a:cubicBezTo>
                    <a:pt x="518448" y="971994"/>
                    <a:pt x="561363" y="1032467"/>
                    <a:pt x="416766" y="1142195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0D7743B7-0B89-449F-AB8A-6FE3EF370C4B}"/>
                </a:ext>
              </a:extLst>
            </p:cNvPr>
            <p:cNvSpPr/>
            <p:nvPr/>
          </p:nvSpPr>
          <p:spPr>
            <a:xfrm>
              <a:off x="5965381" y="2598302"/>
              <a:ext cx="365760" cy="780288"/>
            </a:xfrm>
            <a:custGeom>
              <a:avLst/>
              <a:gdLst>
                <a:gd name="connsiteX0" fmla="*/ 284727 w 365760"/>
                <a:gd name="connsiteY0" fmla="*/ 780140 h 780287"/>
                <a:gd name="connsiteX1" fmla="*/ 24793 w 365760"/>
                <a:gd name="connsiteY1" fmla="*/ 727715 h 780287"/>
                <a:gd name="connsiteX2" fmla="*/ 1384 w 365760"/>
                <a:gd name="connsiteY2" fmla="*/ 689432 h 780287"/>
                <a:gd name="connsiteX3" fmla="*/ 103310 w 365760"/>
                <a:gd name="connsiteY3" fmla="*/ 535325 h 780287"/>
                <a:gd name="connsiteX4" fmla="*/ 67709 w 365760"/>
                <a:gd name="connsiteY4" fmla="*/ 460223 h 780287"/>
                <a:gd name="connsiteX5" fmla="*/ 29426 w 365760"/>
                <a:gd name="connsiteY5" fmla="*/ 274660 h 780287"/>
                <a:gd name="connsiteX6" fmla="*/ 88923 w 365760"/>
                <a:gd name="connsiteY6" fmla="*/ 91537 h 780287"/>
                <a:gd name="connsiteX7" fmla="*/ 204015 w 365760"/>
                <a:gd name="connsiteY7" fmla="*/ 1560 h 780287"/>
                <a:gd name="connsiteX8" fmla="*/ 268145 w 365760"/>
                <a:gd name="connsiteY8" fmla="*/ 74224 h 780287"/>
                <a:gd name="connsiteX9" fmla="*/ 270584 w 365760"/>
                <a:gd name="connsiteY9" fmla="*/ 212725 h 780287"/>
                <a:gd name="connsiteX10" fmla="*/ 266926 w 365760"/>
                <a:gd name="connsiteY10" fmla="*/ 273929 h 780287"/>
                <a:gd name="connsiteX11" fmla="*/ 378361 w 365760"/>
                <a:gd name="connsiteY11" fmla="*/ 382438 h 780287"/>
                <a:gd name="connsiteX12" fmla="*/ 344224 w 365760"/>
                <a:gd name="connsiteY12" fmla="*/ 531668 h 780287"/>
                <a:gd name="connsiteX13" fmla="*/ 320327 w 365760"/>
                <a:gd name="connsiteY13" fmla="*/ 627497 h 780287"/>
                <a:gd name="connsiteX14" fmla="*/ 338371 w 365760"/>
                <a:gd name="connsiteY14" fmla="*/ 650174 h 780287"/>
                <a:gd name="connsiteX15" fmla="*/ 284727 w 365760"/>
                <a:gd name="connsiteY15" fmla="*/ 780140 h 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5760" h="780287">
                  <a:moveTo>
                    <a:pt x="284727" y="780140"/>
                  </a:moveTo>
                  <a:cubicBezTo>
                    <a:pt x="210843" y="836224"/>
                    <a:pt x="91118" y="785017"/>
                    <a:pt x="24793" y="727715"/>
                  </a:cubicBezTo>
                  <a:cubicBezTo>
                    <a:pt x="13088" y="717718"/>
                    <a:pt x="4554" y="704550"/>
                    <a:pt x="1384" y="689432"/>
                  </a:cubicBezTo>
                  <a:cubicBezTo>
                    <a:pt x="-13734" y="617499"/>
                    <a:pt x="99896" y="599699"/>
                    <a:pt x="103310" y="535325"/>
                  </a:cubicBezTo>
                  <a:cubicBezTo>
                    <a:pt x="104773" y="507040"/>
                    <a:pt x="83559" y="483631"/>
                    <a:pt x="67709" y="460223"/>
                  </a:cubicBezTo>
                  <a:cubicBezTo>
                    <a:pt x="31864" y="406578"/>
                    <a:pt x="21867" y="338546"/>
                    <a:pt x="29426" y="274660"/>
                  </a:cubicBezTo>
                  <a:cubicBezTo>
                    <a:pt x="36985" y="210530"/>
                    <a:pt x="60881" y="149570"/>
                    <a:pt x="88923" y="91537"/>
                  </a:cubicBezTo>
                  <a:cubicBezTo>
                    <a:pt x="111844" y="43988"/>
                    <a:pt x="152565" y="-9901"/>
                    <a:pt x="204015" y="1560"/>
                  </a:cubicBezTo>
                  <a:cubicBezTo>
                    <a:pt x="237177" y="8875"/>
                    <a:pt x="258392" y="41793"/>
                    <a:pt x="268145" y="74224"/>
                  </a:cubicBezTo>
                  <a:cubicBezTo>
                    <a:pt x="281312" y="118847"/>
                    <a:pt x="279362" y="166883"/>
                    <a:pt x="270584" y="212725"/>
                  </a:cubicBezTo>
                  <a:cubicBezTo>
                    <a:pt x="266682" y="232964"/>
                    <a:pt x="261318" y="253934"/>
                    <a:pt x="266926" y="273929"/>
                  </a:cubicBezTo>
                  <a:cubicBezTo>
                    <a:pt x="280825" y="324891"/>
                    <a:pt x="352514" y="336352"/>
                    <a:pt x="378361" y="382438"/>
                  </a:cubicBezTo>
                  <a:cubicBezTo>
                    <a:pt x="404695" y="429255"/>
                    <a:pt x="373241" y="486313"/>
                    <a:pt x="344224" y="531668"/>
                  </a:cubicBezTo>
                  <a:cubicBezTo>
                    <a:pt x="319351" y="570438"/>
                    <a:pt x="303989" y="594335"/>
                    <a:pt x="320327" y="627497"/>
                  </a:cubicBezTo>
                  <a:cubicBezTo>
                    <a:pt x="324716" y="636275"/>
                    <a:pt x="331056" y="643834"/>
                    <a:pt x="338371" y="650174"/>
                  </a:cubicBezTo>
                  <a:cubicBezTo>
                    <a:pt x="354221" y="663829"/>
                    <a:pt x="383726" y="705282"/>
                    <a:pt x="284727" y="780140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A796208-A4FD-4A10-A031-DB2F990278B3}"/>
                </a:ext>
              </a:extLst>
            </p:cNvPr>
            <p:cNvSpPr/>
            <p:nvPr/>
          </p:nvSpPr>
          <p:spPr>
            <a:xfrm>
              <a:off x="191414" y="2824823"/>
              <a:ext cx="609600" cy="195072"/>
            </a:xfrm>
            <a:custGeom>
              <a:avLst/>
              <a:gdLst>
                <a:gd name="connsiteX0" fmla="*/ 0 w 609600"/>
                <a:gd name="connsiteY0" fmla="*/ 205172 h 195071"/>
                <a:gd name="connsiteX1" fmla="*/ 618622 w 609600"/>
                <a:gd name="connsiteY1" fmla="*/ 52528 h 195071"/>
                <a:gd name="connsiteX2" fmla="*/ 0 w 609600"/>
                <a:gd name="connsiteY2" fmla="*/ 205172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95071">
                  <a:moveTo>
                    <a:pt x="0" y="205172"/>
                  </a:moveTo>
                  <a:cubicBezTo>
                    <a:pt x="0" y="205172"/>
                    <a:pt x="563514" y="-125231"/>
                    <a:pt x="618622" y="52528"/>
                  </a:cubicBezTo>
                  <a:cubicBezTo>
                    <a:pt x="681777" y="256135"/>
                    <a:pt x="0" y="205172"/>
                    <a:pt x="0" y="20517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27FBC5B-7A8C-490C-8395-03639401E643}"/>
                </a:ext>
              </a:extLst>
            </p:cNvPr>
            <p:cNvSpPr/>
            <p:nvPr/>
          </p:nvSpPr>
          <p:spPr>
            <a:xfrm>
              <a:off x="0" y="2546216"/>
              <a:ext cx="146304" cy="463296"/>
            </a:xfrm>
            <a:custGeom>
              <a:avLst/>
              <a:gdLst>
                <a:gd name="connsiteX0" fmla="*/ 147036 w 146304"/>
                <a:gd name="connsiteY0" fmla="*/ 472562 h 463295"/>
                <a:gd name="connsiteX1" fmla="*/ 0 w 146304"/>
                <a:gd name="connsiteY1" fmla="*/ 0 h 463295"/>
                <a:gd name="connsiteX2" fmla="*/ 0 w 146304"/>
                <a:gd name="connsiteY2" fmla="*/ 334305 h 463295"/>
                <a:gd name="connsiteX3" fmla="*/ 147036 w 146304"/>
                <a:gd name="connsiteY3" fmla="*/ 472562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463295">
                  <a:moveTo>
                    <a:pt x="147036" y="472562"/>
                  </a:moveTo>
                  <a:cubicBezTo>
                    <a:pt x="138501" y="368198"/>
                    <a:pt x="82418" y="135087"/>
                    <a:pt x="0" y="0"/>
                  </a:cubicBezTo>
                  <a:lnTo>
                    <a:pt x="0" y="334305"/>
                  </a:lnTo>
                  <a:cubicBezTo>
                    <a:pt x="78029" y="414284"/>
                    <a:pt x="147036" y="472562"/>
                    <a:pt x="147036" y="47256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C393DB7F-9E1E-4254-8726-CE53449BFCFC}"/>
                </a:ext>
              </a:extLst>
            </p:cNvPr>
            <p:cNvSpPr/>
            <p:nvPr/>
          </p:nvSpPr>
          <p:spPr>
            <a:xfrm>
              <a:off x="407944" y="2478785"/>
              <a:ext cx="609600" cy="146304"/>
            </a:xfrm>
            <a:custGeom>
              <a:avLst/>
              <a:gdLst>
                <a:gd name="connsiteX0" fmla="*/ 0 w 609600"/>
                <a:gd name="connsiteY0" fmla="*/ 132293 h 146303"/>
                <a:gd name="connsiteX1" fmla="*/ 611063 w 609600"/>
                <a:gd name="connsiteY1" fmla="*/ 61823 h 146303"/>
                <a:gd name="connsiteX2" fmla="*/ 0 w 609600"/>
                <a:gd name="connsiteY2" fmla="*/ 132293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46303">
                  <a:moveTo>
                    <a:pt x="0" y="132293"/>
                  </a:moveTo>
                  <a:cubicBezTo>
                    <a:pt x="0" y="132293"/>
                    <a:pt x="575462" y="-110572"/>
                    <a:pt x="611063" y="61823"/>
                  </a:cubicBezTo>
                  <a:cubicBezTo>
                    <a:pt x="649590" y="249580"/>
                    <a:pt x="0" y="132293"/>
                    <a:pt x="0" y="13229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A13CFDCF-1EEE-4326-887A-1524655799D2}"/>
                </a:ext>
              </a:extLst>
            </p:cNvPr>
            <p:cNvSpPr/>
            <p:nvPr/>
          </p:nvSpPr>
          <p:spPr>
            <a:xfrm>
              <a:off x="244" y="2097015"/>
              <a:ext cx="365760" cy="487680"/>
            </a:xfrm>
            <a:custGeom>
              <a:avLst/>
              <a:gdLst>
                <a:gd name="connsiteX0" fmla="*/ 372344 w 365760"/>
                <a:gd name="connsiteY0" fmla="*/ 510649 h 487679"/>
                <a:gd name="connsiteX1" fmla="*/ 26579 w 365760"/>
                <a:gd name="connsiteY1" fmla="*/ 12240 h 487679"/>
                <a:gd name="connsiteX2" fmla="*/ 0 w 365760"/>
                <a:gd name="connsiteY2" fmla="*/ 29796 h 487679"/>
                <a:gd name="connsiteX3" fmla="*/ 0 w 365760"/>
                <a:gd name="connsiteY3" fmla="*/ 157081 h 487679"/>
                <a:gd name="connsiteX4" fmla="*/ 372344 w 365760"/>
                <a:gd name="connsiteY4" fmla="*/ 510649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0" h="487679">
                  <a:moveTo>
                    <a:pt x="372344" y="510649"/>
                  </a:moveTo>
                  <a:cubicBezTo>
                    <a:pt x="372344" y="510649"/>
                    <a:pt x="244815" y="-92611"/>
                    <a:pt x="26579" y="12240"/>
                  </a:cubicBezTo>
                  <a:cubicBezTo>
                    <a:pt x="15850" y="17361"/>
                    <a:pt x="7071" y="23213"/>
                    <a:pt x="0" y="29796"/>
                  </a:cubicBezTo>
                  <a:lnTo>
                    <a:pt x="0" y="157081"/>
                  </a:lnTo>
                  <a:cubicBezTo>
                    <a:pt x="84856" y="310212"/>
                    <a:pt x="372344" y="510649"/>
                    <a:pt x="372344" y="510649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A8A49B75-BBFE-49D4-BB4A-235CDB7EAADB}"/>
                </a:ext>
              </a:extLst>
            </p:cNvPr>
            <p:cNvSpPr/>
            <p:nvPr/>
          </p:nvSpPr>
          <p:spPr>
            <a:xfrm>
              <a:off x="596920" y="2084476"/>
              <a:ext cx="585216" cy="170688"/>
            </a:xfrm>
            <a:custGeom>
              <a:avLst/>
              <a:gdLst>
                <a:gd name="connsiteX0" fmla="*/ 0 w 585216"/>
                <a:gd name="connsiteY0" fmla="*/ 171327 h 170687"/>
                <a:gd name="connsiteX1" fmla="*/ 591068 w 585216"/>
                <a:gd name="connsiteY1" fmla="*/ 45993 h 170687"/>
                <a:gd name="connsiteX2" fmla="*/ 0 w 585216"/>
                <a:gd name="connsiteY2" fmla="*/ 17132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5216" h="170687">
                  <a:moveTo>
                    <a:pt x="0" y="171327"/>
                  </a:moveTo>
                  <a:cubicBezTo>
                    <a:pt x="99243" y="92079"/>
                    <a:pt x="573999" y="-82998"/>
                    <a:pt x="591068" y="45993"/>
                  </a:cubicBezTo>
                  <a:cubicBezTo>
                    <a:pt x="620817" y="270326"/>
                    <a:pt x="0" y="171327"/>
                    <a:pt x="0" y="17132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48FDE24C-E24A-489C-9754-4552040B29DC}"/>
                </a:ext>
              </a:extLst>
            </p:cNvPr>
            <p:cNvSpPr/>
            <p:nvPr/>
          </p:nvSpPr>
          <p:spPr>
            <a:xfrm>
              <a:off x="167209" y="1738921"/>
              <a:ext cx="365760" cy="487680"/>
            </a:xfrm>
            <a:custGeom>
              <a:avLst/>
              <a:gdLst>
                <a:gd name="connsiteX0" fmla="*/ 376798 w 365760"/>
                <a:gd name="connsiteY0" fmla="*/ 504446 h 487679"/>
                <a:gd name="connsiteX1" fmla="*/ 40543 w 365760"/>
                <a:gd name="connsiteY1" fmla="*/ 7988 h 487679"/>
                <a:gd name="connsiteX2" fmla="*/ 376798 w 365760"/>
                <a:gd name="connsiteY2" fmla="*/ 504446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760" h="487679">
                  <a:moveTo>
                    <a:pt x="376798" y="504446"/>
                  </a:moveTo>
                  <a:cubicBezTo>
                    <a:pt x="316326" y="293524"/>
                    <a:pt x="154904" y="-57361"/>
                    <a:pt x="40543" y="7988"/>
                  </a:cubicBezTo>
                  <a:cubicBezTo>
                    <a:pt x="-146970" y="115521"/>
                    <a:pt x="376798" y="504446"/>
                    <a:pt x="376798" y="504446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B898F5EF-97B6-4904-B33F-5B209395F35A}"/>
                </a:ext>
              </a:extLst>
            </p:cNvPr>
            <p:cNvSpPr/>
            <p:nvPr/>
          </p:nvSpPr>
          <p:spPr>
            <a:xfrm>
              <a:off x="353830" y="1431609"/>
              <a:ext cx="316992" cy="438912"/>
            </a:xfrm>
            <a:custGeom>
              <a:avLst/>
              <a:gdLst>
                <a:gd name="connsiteX0" fmla="*/ 333799 w 316992"/>
                <a:gd name="connsiteY0" fmla="*/ 455020 h 438911"/>
                <a:gd name="connsiteX1" fmla="*/ 26073 w 316992"/>
                <a:gd name="connsiteY1" fmla="*/ 6354 h 438911"/>
                <a:gd name="connsiteX2" fmla="*/ 333799 w 316992"/>
                <a:gd name="connsiteY2" fmla="*/ 455020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38911">
                  <a:moveTo>
                    <a:pt x="333799" y="455020"/>
                  </a:moveTo>
                  <a:cubicBezTo>
                    <a:pt x="321119" y="267507"/>
                    <a:pt x="162623" y="-48753"/>
                    <a:pt x="26073" y="6354"/>
                  </a:cubicBezTo>
                  <a:cubicBezTo>
                    <a:pt x="-110478" y="61706"/>
                    <a:pt x="333799" y="455020"/>
                    <a:pt x="333799" y="455020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61599FB-0944-4664-8E21-034AE1B8DFC6}"/>
                </a:ext>
              </a:extLst>
            </p:cNvPr>
            <p:cNvSpPr/>
            <p:nvPr/>
          </p:nvSpPr>
          <p:spPr>
            <a:xfrm>
              <a:off x="742493" y="1294120"/>
              <a:ext cx="243840" cy="536448"/>
            </a:xfrm>
            <a:custGeom>
              <a:avLst/>
              <a:gdLst>
                <a:gd name="connsiteX0" fmla="*/ 0 w 243840"/>
                <a:gd name="connsiteY0" fmla="*/ 548618 h 536447"/>
                <a:gd name="connsiteX1" fmla="*/ 203363 w 243840"/>
                <a:gd name="connsiteY1" fmla="*/ 6075 h 536447"/>
                <a:gd name="connsiteX2" fmla="*/ 0 w 243840"/>
                <a:gd name="connsiteY2" fmla="*/ 548618 h 536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840" h="536447">
                  <a:moveTo>
                    <a:pt x="0" y="548618"/>
                  </a:moveTo>
                  <a:cubicBezTo>
                    <a:pt x="0" y="548618"/>
                    <a:pt x="385267" y="79470"/>
                    <a:pt x="203363" y="6075"/>
                  </a:cubicBezTo>
                  <a:cubicBezTo>
                    <a:pt x="21702" y="-67321"/>
                    <a:pt x="0" y="548618"/>
                    <a:pt x="0" y="548618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31FCE595-85F5-475D-9A64-3E2D664ECA6D}"/>
                </a:ext>
              </a:extLst>
            </p:cNvPr>
            <p:cNvSpPr/>
            <p:nvPr/>
          </p:nvSpPr>
          <p:spPr>
            <a:xfrm>
              <a:off x="10973" y="1484781"/>
              <a:ext cx="853440" cy="1804416"/>
            </a:xfrm>
            <a:custGeom>
              <a:avLst/>
              <a:gdLst>
                <a:gd name="connsiteX0" fmla="*/ 868314 w 853440"/>
                <a:gd name="connsiteY0" fmla="*/ 0 h 1804415"/>
                <a:gd name="connsiteX1" fmla="*/ 0 w 853440"/>
                <a:gd name="connsiteY1" fmla="*/ 1818558 h 180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3440" h="1804415">
                  <a:moveTo>
                    <a:pt x="868314" y="0"/>
                  </a:moveTo>
                  <a:cubicBezTo>
                    <a:pt x="868314" y="0"/>
                    <a:pt x="618866" y="787603"/>
                    <a:pt x="0" y="1818558"/>
                  </a:cubicBez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C69363A-7713-46FC-A840-2D83D4CCDB18}"/>
                </a:ext>
              </a:extLst>
            </p:cNvPr>
            <p:cNvSpPr/>
            <p:nvPr/>
          </p:nvSpPr>
          <p:spPr>
            <a:xfrm>
              <a:off x="710062" y="1760934"/>
              <a:ext cx="536448" cy="170688"/>
            </a:xfrm>
            <a:custGeom>
              <a:avLst/>
              <a:gdLst>
                <a:gd name="connsiteX0" fmla="*/ 0 w 536448"/>
                <a:gd name="connsiteY0" fmla="*/ 159833 h 170687"/>
                <a:gd name="connsiteX1" fmla="*/ 554004 w 536448"/>
                <a:gd name="connsiteY1" fmla="*/ 44009 h 170687"/>
                <a:gd name="connsiteX2" fmla="*/ 0 w 536448"/>
                <a:gd name="connsiteY2" fmla="*/ 159833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6448" h="170687">
                  <a:moveTo>
                    <a:pt x="0" y="159833"/>
                  </a:moveTo>
                  <a:cubicBezTo>
                    <a:pt x="0" y="159833"/>
                    <a:pt x="504505" y="-101320"/>
                    <a:pt x="554004" y="44009"/>
                  </a:cubicBezTo>
                  <a:cubicBezTo>
                    <a:pt x="614721" y="223475"/>
                    <a:pt x="0" y="159833"/>
                    <a:pt x="0" y="15983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802BFF8-E76C-446A-ABCA-EF2F1FA6564D}"/>
                </a:ext>
              </a:extLst>
            </p:cNvPr>
            <p:cNvSpPr/>
            <p:nvPr/>
          </p:nvSpPr>
          <p:spPr>
            <a:xfrm>
              <a:off x="485973" y="1573051"/>
              <a:ext cx="609600" cy="341376"/>
            </a:xfrm>
            <a:custGeom>
              <a:avLst/>
              <a:gdLst>
                <a:gd name="connsiteX0" fmla="*/ 624962 w 609600"/>
                <a:gd name="connsiteY0" fmla="*/ 265542 h 341375"/>
                <a:gd name="connsiteX1" fmla="*/ 224089 w 609600"/>
                <a:gd name="connsiteY1" fmla="*/ 347716 h 341375"/>
                <a:gd name="connsiteX2" fmla="*/ 0 w 609600"/>
                <a:gd name="connsiteY2" fmla="*/ 0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341375">
                  <a:moveTo>
                    <a:pt x="624962" y="265542"/>
                  </a:moveTo>
                  <a:lnTo>
                    <a:pt x="224089" y="347716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C0F2BE2-A079-4D86-8847-21325865BC4E}"/>
                </a:ext>
              </a:extLst>
            </p:cNvPr>
            <p:cNvSpPr/>
            <p:nvPr/>
          </p:nvSpPr>
          <p:spPr>
            <a:xfrm>
              <a:off x="295290" y="1881021"/>
              <a:ext cx="707136" cy="365760"/>
            </a:xfrm>
            <a:custGeom>
              <a:avLst/>
              <a:gdLst>
                <a:gd name="connsiteX0" fmla="*/ 728838 w 707136"/>
                <a:gd name="connsiteY0" fmla="*/ 297241 h 365759"/>
                <a:gd name="connsiteX1" fmla="*/ 262128 w 707136"/>
                <a:gd name="connsiteY1" fmla="*/ 381853 h 365759"/>
                <a:gd name="connsiteX2" fmla="*/ 0 w 707136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7136" h="365759">
                  <a:moveTo>
                    <a:pt x="728838" y="297241"/>
                  </a:moveTo>
                  <a:lnTo>
                    <a:pt x="262128" y="381853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1234FE09-4B52-4D2A-B491-9360C32B6BDC}"/>
                </a:ext>
              </a:extLst>
            </p:cNvPr>
            <p:cNvSpPr/>
            <p:nvPr/>
          </p:nvSpPr>
          <p:spPr>
            <a:xfrm>
              <a:off x="125578" y="2238003"/>
              <a:ext cx="682752" cy="365760"/>
            </a:xfrm>
            <a:custGeom>
              <a:avLst/>
              <a:gdLst>
                <a:gd name="connsiteX0" fmla="*/ 698602 w 682752"/>
                <a:gd name="connsiteY0" fmla="*/ 328209 h 365759"/>
                <a:gd name="connsiteX1" fmla="*/ 260177 w 682752"/>
                <a:gd name="connsiteY1" fmla="*/ 375514 h 365759"/>
                <a:gd name="connsiteX2" fmla="*/ 0 w 682752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365759">
                  <a:moveTo>
                    <a:pt x="698602" y="328209"/>
                  </a:moveTo>
                  <a:lnTo>
                    <a:pt x="260177" y="375514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D0BCA38-7759-4F7E-97FC-F2938E8291C7}"/>
                </a:ext>
              </a:extLst>
            </p:cNvPr>
            <p:cNvSpPr/>
            <p:nvPr/>
          </p:nvSpPr>
          <p:spPr>
            <a:xfrm>
              <a:off x="16093" y="2777620"/>
              <a:ext cx="682752" cy="268224"/>
            </a:xfrm>
            <a:custGeom>
              <a:avLst/>
              <a:gdLst>
                <a:gd name="connsiteX0" fmla="*/ 691043 w 682752"/>
                <a:gd name="connsiteY0" fmla="*/ 131674 h 268223"/>
                <a:gd name="connsiteX1" fmla="*/ 157521 w 682752"/>
                <a:gd name="connsiteY1" fmla="*/ 286268 h 268223"/>
                <a:gd name="connsiteX2" fmla="*/ 0 w 682752"/>
                <a:gd name="connsiteY2" fmla="*/ 0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268223">
                  <a:moveTo>
                    <a:pt x="691043" y="131674"/>
                  </a:moveTo>
                  <a:lnTo>
                    <a:pt x="157521" y="286268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C3B1C37-22D9-4A34-BBB9-1B6003D209BC}"/>
                </a:ext>
              </a:extLst>
            </p:cNvPr>
            <p:cNvSpPr/>
            <p:nvPr/>
          </p:nvSpPr>
          <p:spPr>
            <a:xfrm>
              <a:off x="2573243" y="781059"/>
              <a:ext cx="3438144" cy="1463040"/>
            </a:xfrm>
            <a:custGeom>
              <a:avLst/>
              <a:gdLst>
                <a:gd name="connsiteX0" fmla="*/ 0 w 3438144"/>
                <a:gd name="connsiteY0" fmla="*/ 1480352 h 1463039"/>
                <a:gd name="connsiteX1" fmla="*/ 3443265 w 3438144"/>
                <a:gd name="connsiteY1" fmla="*/ 0 h 1463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8144" h="1463039">
                  <a:moveTo>
                    <a:pt x="0" y="1480352"/>
                  </a:moveTo>
                  <a:cubicBezTo>
                    <a:pt x="925861" y="611063"/>
                    <a:pt x="3397179" y="596189"/>
                    <a:pt x="3443265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A20314E8-2C41-4E96-B569-F28204586BD5}"/>
                </a:ext>
              </a:extLst>
            </p:cNvPr>
            <p:cNvSpPr/>
            <p:nvPr/>
          </p:nvSpPr>
          <p:spPr>
            <a:xfrm>
              <a:off x="4338889" y="814953"/>
              <a:ext cx="2365248" cy="1024128"/>
            </a:xfrm>
            <a:custGeom>
              <a:avLst/>
              <a:gdLst>
                <a:gd name="connsiteX0" fmla="*/ 0 w 2365248"/>
                <a:gd name="connsiteY0" fmla="*/ 1030224 h 1024127"/>
                <a:gd name="connsiteX1" fmla="*/ 2375246 w 2365248"/>
                <a:gd name="connsiteY1" fmla="*/ 0 h 102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65248" h="1024127">
                  <a:moveTo>
                    <a:pt x="0" y="1030224"/>
                  </a:moveTo>
                  <a:cubicBezTo>
                    <a:pt x="1150681" y="1014374"/>
                    <a:pt x="1727850" y="813206"/>
                    <a:pt x="2375246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59D1BFEC-B02C-422D-9117-3B35D766CFE2}"/>
                </a:ext>
              </a:extLst>
            </p:cNvPr>
            <p:cNvSpPr/>
            <p:nvPr/>
          </p:nvSpPr>
          <p:spPr>
            <a:xfrm>
              <a:off x="8535131" y="360923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3886 h 195071"/>
                <a:gd name="connsiteX2" fmla="*/ 198242 w 195072"/>
                <a:gd name="connsiteY2" fmla="*/ 98999 h 195071"/>
                <a:gd name="connsiteX3" fmla="*/ 134112 w 195072"/>
                <a:gd name="connsiteY3" fmla="*/ 134112 h 195071"/>
                <a:gd name="connsiteX4" fmla="*/ 98999 w 195072"/>
                <a:gd name="connsiteY4" fmla="*/ 198242 h 195071"/>
                <a:gd name="connsiteX5" fmla="*/ 64130 w 195072"/>
                <a:gd name="connsiteY5" fmla="*/ 134112 h 195071"/>
                <a:gd name="connsiteX6" fmla="*/ 0 w 195072"/>
                <a:gd name="connsiteY6" fmla="*/ 98999 h 195071"/>
                <a:gd name="connsiteX7" fmla="*/ 64130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3886"/>
                  </a:lnTo>
                  <a:lnTo>
                    <a:pt x="198242" y="98999"/>
                  </a:lnTo>
                  <a:lnTo>
                    <a:pt x="134112" y="134112"/>
                  </a:lnTo>
                  <a:lnTo>
                    <a:pt x="98999" y="198242"/>
                  </a:lnTo>
                  <a:lnTo>
                    <a:pt x="64130" y="134112"/>
                  </a:lnTo>
                  <a:lnTo>
                    <a:pt x="0" y="98999"/>
                  </a:lnTo>
                  <a:lnTo>
                    <a:pt x="64130" y="63886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59755722-B20C-4910-AD39-077AEA29EC00}"/>
                </a:ext>
              </a:extLst>
            </p:cNvPr>
            <p:cNvSpPr/>
            <p:nvPr/>
          </p:nvSpPr>
          <p:spPr>
            <a:xfrm>
              <a:off x="956097" y="9306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4130 h 195071"/>
                <a:gd name="connsiteX2" fmla="*/ 198242 w 195072"/>
                <a:gd name="connsiteY2" fmla="*/ 99243 h 195071"/>
                <a:gd name="connsiteX3" fmla="*/ 134112 w 195072"/>
                <a:gd name="connsiteY3" fmla="*/ 134356 h 195071"/>
                <a:gd name="connsiteX4" fmla="*/ 98999 w 195072"/>
                <a:gd name="connsiteY4" fmla="*/ 198242 h 195071"/>
                <a:gd name="connsiteX5" fmla="*/ 64130 w 195072"/>
                <a:gd name="connsiteY5" fmla="*/ 134356 h 195071"/>
                <a:gd name="connsiteX6" fmla="*/ 0 w 195072"/>
                <a:gd name="connsiteY6" fmla="*/ 99243 h 195071"/>
                <a:gd name="connsiteX7" fmla="*/ 64130 w 195072"/>
                <a:gd name="connsiteY7" fmla="*/ 64130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4130"/>
                  </a:lnTo>
                  <a:lnTo>
                    <a:pt x="198242" y="99243"/>
                  </a:lnTo>
                  <a:lnTo>
                    <a:pt x="134112" y="134356"/>
                  </a:lnTo>
                  <a:lnTo>
                    <a:pt x="98999" y="198242"/>
                  </a:lnTo>
                  <a:lnTo>
                    <a:pt x="64130" y="134356"/>
                  </a:lnTo>
                  <a:lnTo>
                    <a:pt x="0" y="99243"/>
                  </a:lnTo>
                  <a:lnTo>
                    <a:pt x="64130" y="64130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81D18C9-ECA0-4A34-B35D-BCEAA01DFDA7}"/>
                </a:ext>
              </a:extLst>
            </p:cNvPr>
            <p:cNvSpPr/>
            <p:nvPr/>
          </p:nvSpPr>
          <p:spPr>
            <a:xfrm>
              <a:off x="2900477" y="1127312"/>
              <a:ext cx="292608" cy="292608"/>
            </a:xfrm>
            <a:custGeom>
              <a:avLst/>
              <a:gdLst>
                <a:gd name="connsiteX0" fmla="*/ 150937 w 292608"/>
                <a:gd name="connsiteY0" fmla="*/ 0 h 292607"/>
                <a:gd name="connsiteX1" fmla="*/ 204338 w 292608"/>
                <a:gd name="connsiteY1" fmla="*/ 97780 h 292607"/>
                <a:gd name="connsiteX2" fmla="*/ 301874 w 292608"/>
                <a:gd name="connsiteY2" fmla="*/ 150937 h 292607"/>
                <a:gd name="connsiteX3" fmla="*/ 204338 w 292608"/>
                <a:gd name="connsiteY3" fmla="*/ 204338 h 292607"/>
                <a:gd name="connsiteX4" fmla="*/ 150937 w 292608"/>
                <a:gd name="connsiteY4" fmla="*/ 301874 h 292607"/>
                <a:gd name="connsiteX5" fmla="*/ 97536 w 292608"/>
                <a:gd name="connsiteY5" fmla="*/ 204338 h 292607"/>
                <a:gd name="connsiteX6" fmla="*/ 0 w 292608"/>
                <a:gd name="connsiteY6" fmla="*/ 150937 h 292607"/>
                <a:gd name="connsiteX7" fmla="*/ 97536 w 292608"/>
                <a:gd name="connsiteY7" fmla="*/ 97780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608" h="292607">
                  <a:moveTo>
                    <a:pt x="150937" y="0"/>
                  </a:moveTo>
                  <a:lnTo>
                    <a:pt x="204338" y="97780"/>
                  </a:lnTo>
                  <a:lnTo>
                    <a:pt x="301874" y="150937"/>
                  </a:lnTo>
                  <a:lnTo>
                    <a:pt x="204338" y="204338"/>
                  </a:lnTo>
                  <a:lnTo>
                    <a:pt x="150937" y="301874"/>
                  </a:lnTo>
                  <a:lnTo>
                    <a:pt x="97536" y="204338"/>
                  </a:lnTo>
                  <a:lnTo>
                    <a:pt x="0" y="150937"/>
                  </a:lnTo>
                  <a:lnTo>
                    <a:pt x="97536" y="97780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ABCB4FD1-9965-46F9-8916-6E8532F6B3C1}"/>
                </a:ext>
              </a:extLst>
            </p:cNvPr>
            <p:cNvSpPr/>
            <p:nvPr/>
          </p:nvSpPr>
          <p:spPr>
            <a:xfrm>
              <a:off x="6842882" y="1924425"/>
              <a:ext cx="195072" cy="195072"/>
            </a:xfrm>
            <a:custGeom>
              <a:avLst/>
              <a:gdLst>
                <a:gd name="connsiteX0" fmla="*/ 102169 w 195072"/>
                <a:gd name="connsiteY0" fmla="*/ 0 h 195071"/>
                <a:gd name="connsiteX1" fmla="*/ 138257 w 195072"/>
                <a:gd name="connsiteY1" fmla="*/ 66081 h 195071"/>
                <a:gd name="connsiteX2" fmla="*/ 204338 w 195072"/>
                <a:gd name="connsiteY2" fmla="*/ 102169 h 195071"/>
                <a:gd name="connsiteX3" fmla="*/ 138257 w 195072"/>
                <a:gd name="connsiteY3" fmla="*/ 138257 h 195071"/>
                <a:gd name="connsiteX4" fmla="*/ 102169 w 195072"/>
                <a:gd name="connsiteY4" fmla="*/ 204338 h 195071"/>
                <a:gd name="connsiteX5" fmla="*/ 66080 w 195072"/>
                <a:gd name="connsiteY5" fmla="*/ 138257 h 195071"/>
                <a:gd name="connsiteX6" fmla="*/ 0 w 195072"/>
                <a:gd name="connsiteY6" fmla="*/ 102169 h 195071"/>
                <a:gd name="connsiteX7" fmla="*/ 66080 w 195072"/>
                <a:gd name="connsiteY7" fmla="*/ 66081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102169" y="0"/>
                  </a:moveTo>
                  <a:lnTo>
                    <a:pt x="138257" y="66081"/>
                  </a:lnTo>
                  <a:lnTo>
                    <a:pt x="204338" y="102169"/>
                  </a:lnTo>
                  <a:lnTo>
                    <a:pt x="138257" y="138257"/>
                  </a:lnTo>
                  <a:lnTo>
                    <a:pt x="102169" y="204338"/>
                  </a:lnTo>
                  <a:lnTo>
                    <a:pt x="66080" y="138257"/>
                  </a:lnTo>
                  <a:lnTo>
                    <a:pt x="0" y="102169"/>
                  </a:lnTo>
                  <a:lnTo>
                    <a:pt x="66080" y="66081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94F8D03D-7B12-433F-9497-B6E4EA7E34CD}"/>
                </a:ext>
              </a:extLst>
            </p:cNvPr>
            <p:cNvSpPr/>
            <p:nvPr/>
          </p:nvSpPr>
          <p:spPr>
            <a:xfrm>
              <a:off x="4904354" y="207999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7 w 97536"/>
                <a:gd name="connsiteY1" fmla="*/ 31699 h 97535"/>
                <a:gd name="connsiteX2" fmla="*/ 97536 w 97536"/>
                <a:gd name="connsiteY2" fmla="*/ 48768 h 97535"/>
                <a:gd name="connsiteX3" fmla="*/ 65837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699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7" y="31699"/>
                  </a:lnTo>
                  <a:lnTo>
                    <a:pt x="97536" y="48768"/>
                  </a:lnTo>
                  <a:lnTo>
                    <a:pt x="65837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699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F28B539-DBDC-4BD5-89AF-27CA0D0C36AD}"/>
                </a:ext>
              </a:extLst>
            </p:cNvPr>
            <p:cNvSpPr/>
            <p:nvPr/>
          </p:nvSpPr>
          <p:spPr>
            <a:xfrm>
              <a:off x="8252765" y="-9164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6 w 97536"/>
                <a:gd name="connsiteY1" fmla="*/ 31455 h 97535"/>
                <a:gd name="connsiteX2" fmla="*/ 97536 w 97536"/>
                <a:gd name="connsiteY2" fmla="*/ 48768 h 97535"/>
                <a:gd name="connsiteX3" fmla="*/ 65836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6" y="31455"/>
                  </a:lnTo>
                  <a:lnTo>
                    <a:pt x="97536" y="48768"/>
                  </a:lnTo>
                  <a:lnTo>
                    <a:pt x="65836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455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90E6826-7FF2-42F0-B938-D9F0FE3F8F63}"/>
                </a:ext>
              </a:extLst>
            </p:cNvPr>
            <p:cNvSpPr/>
            <p:nvPr/>
          </p:nvSpPr>
          <p:spPr>
            <a:xfrm>
              <a:off x="4430817" y="559165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6080 w 97536"/>
                <a:gd name="connsiteY1" fmla="*/ 31455 h 97535"/>
                <a:gd name="connsiteX2" fmla="*/ 97536 w 97536"/>
                <a:gd name="connsiteY2" fmla="*/ 48768 h 97535"/>
                <a:gd name="connsiteX3" fmla="*/ 66080 w 97536"/>
                <a:gd name="connsiteY3" fmla="*/ 65837 h 97535"/>
                <a:gd name="connsiteX4" fmla="*/ 48768 w 97536"/>
                <a:gd name="connsiteY4" fmla="*/ 97536 h 97535"/>
                <a:gd name="connsiteX5" fmla="*/ 31699 w 97536"/>
                <a:gd name="connsiteY5" fmla="*/ 65837 h 97535"/>
                <a:gd name="connsiteX6" fmla="*/ 0 w 97536"/>
                <a:gd name="connsiteY6" fmla="*/ 48768 h 97535"/>
                <a:gd name="connsiteX7" fmla="*/ 31699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6080" y="31455"/>
                  </a:lnTo>
                  <a:lnTo>
                    <a:pt x="97536" y="48768"/>
                  </a:lnTo>
                  <a:lnTo>
                    <a:pt x="66080" y="65837"/>
                  </a:lnTo>
                  <a:lnTo>
                    <a:pt x="48768" y="97536"/>
                  </a:lnTo>
                  <a:lnTo>
                    <a:pt x="31699" y="65837"/>
                  </a:lnTo>
                  <a:lnTo>
                    <a:pt x="0" y="48768"/>
                  </a:lnTo>
                  <a:lnTo>
                    <a:pt x="31699" y="31455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74F0CF91-E4DF-49E9-9C4C-A886D7B959EA}"/>
                </a:ext>
              </a:extLst>
            </p:cNvPr>
            <p:cNvSpPr/>
            <p:nvPr/>
          </p:nvSpPr>
          <p:spPr>
            <a:xfrm>
              <a:off x="10607771" y="402132"/>
              <a:ext cx="195072" cy="195072"/>
            </a:xfrm>
            <a:custGeom>
              <a:avLst/>
              <a:gdLst>
                <a:gd name="connsiteX0" fmla="*/ 98755 w 195072"/>
                <a:gd name="connsiteY0" fmla="*/ 0 h 195071"/>
                <a:gd name="connsiteX1" fmla="*/ 133625 w 195072"/>
                <a:gd name="connsiteY1" fmla="*/ 63886 h 195071"/>
                <a:gd name="connsiteX2" fmla="*/ 197511 w 195072"/>
                <a:gd name="connsiteY2" fmla="*/ 98755 h 195071"/>
                <a:gd name="connsiteX3" fmla="*/ 133625 w 195072"/>
                <a:gd name="connsiteY3" fmla="*/ 133868 h 195071"/>
                <a:gd name="connsiteX4" fmla="*/ 98755 w 195072"/>
                <a:gd name="connsiteY4" fmla="*/ 197754 h 195071"/>
                <a:gd name="connsiteX5" fmla="*/ 63886 w 195072"/>
                <a:gd name="connsiteY5" fmla="*/ 133868 h 195071"/>
                <a:gd name="connsiteX6" fmla="*/ 0 w 195072"/>
                <a:gd name="connsiteY6" fmla="*/ 98755 h 195071"/>
                <a:gd name="connsiteX7" fmla="*/ 63886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755" y="0"/>
                  </a:moveTo>
                  <a:lnTo>
                    <a:pt x="133625" y="63886"/>
                  </a:lnTo>
                  <a:lnTo>
                    <a:pt x="197511" y="98755"/>
                  </a:lnTo>
                  <a:lnTo>
                    <a:pt x="133625" y="133868"/>
                  </a:lnTo>
                  <a:lnTo>
                    <a:pt x="98755" y="197754"/>
                  </a:lnTo>
                  <a:lnTo>
                    <a:pt x="63886" y="133868"/>
                  </a:lnTo>
                  <a:lnTo>
                    <a:pt x="0" y="98755"/>
                  </a:lnTo>
                  <a:lnTo>
                    <a:pt x="63886" y="63886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83F48F-DFCB-4F62-817C-DC39CB442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762" y="6453188"/>
            <a:ext cx="2743200" cy="268287"/>
          </a:xfrm>
        </p:spPr>
        <p:txBody>
          <a:bodyPr/>
          <a:lstStyle/>
          <a:p>
            <a:fld id="{E0BDCBD0-93B5-4B61-86F8-939F02C82BA8}" type="slidenum">
              <a:rPr lang="en-US" b="0" smtClean="0"/>
              <a:pPr/>
              <a:t>15</a:t>
            </a:fld>
            <a:endParaRPr lang="en-US" b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6DDCA62-0250-4BBC-9642-364177A6B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7497" y="164242"/>
            <a:ext cx="12192000" cy="1768851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струкция к работе с 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hoot! </a:t>
            </a:r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E49967D6-5ACE-425B-802E-9CB2DDD8C28D}"/>
              </a:ext>
            </a:extLst>
          </p:cNvPr>
          <p:cNvGrpSpPr/>
          <p:nvPr/>
        </p:nvGrpSpPr>
        <p:grpSpPr>
          <a:xfrm rot="1328355">
            <a:off x="7542189" y="457667"/>
            <a:ext cx="227287" cy="227287"/>
            <a:chOff x="13389778" y="2334193"/>
            <a:chExt cx="351340" cy="351340"/>
          </a:xfrm>
        </p:grpSpPr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3F3D4A40-7EE3-4F55-8403-DE56E6D414B4}"/>
                </a:ext>
              </a:extLst>
            </p:cNvPr>
            <p:cNvSpPr/>
            <p:nvPr/>
          </p:nvSpPr>
          <p:spPr>
            <a:xfrm>
              <a:off x="13389778" y="2334193"/>
              <a:ext cx="351340" cy="351340"/>
            </a:xfrm>
            <a:custGeom>
              <a:avLst/>
              <a:gdLst>
                <a:gd name="connsiteX0" fmla="*/ 353529 w 351339"/>
                <a:gd name="connsiteY0" fmla="*/ 141219 h 351339"/>
                <a:gd name="connsiteX1" fmla="*/ 216339 w 351339"/>
                <a:gd name="connsiteY1" fmla="*/ 353529 h 351339"/>
                <a:gd name="connsiteX2" fmla="*/ 4030 w 351339"/>
                <a:gd name="connsiteY2" fmla="*/ 216339 h 351339"/>
                <a:gd name="connsiteX3" fmla="*/ 141219 w 351339"/>
                <a:gd name="connsiteY3" fmla="*/ 4030 h 351339"/>
                <a:gd name="connsiteX4" fmla="*/ 353529 w 351339"/>
                <a:gd name="connsiteY4" fmla="*/ 141219 h 351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339" h="351339">
                  <a:moveTo>
                    <a:pt x="353529" y="141219"/>
                  </a:moveTo>
                  <a:cubicBezTo>
                    <a:pt x="374275" y="237754"/>
                    <a:pt x="312874" y="332783"/>
                    <a:pt x="216339" y="353529"/>
                  </a:cubicBezTo>
                  <a:cubicBezTo>
                    <a:pt x="119804" y="374275"/>
                    <a:pt x="24775" y="312874"/>
                    <a:pt x="4030" y="216339"/>
                  </a:cubicBezTo>
                  <a:cubicBezTo>
                    <a:pt x="-16716" y="119804"/>
                    <a:pt x="44685" y="24775"/>
                    <a:pt x="141219" y="4030"/>
                  </a:cubicBezTo>
                  <a:cubicBezTo>
                    <a:pt x="237754" y="-16716"/>
                    <a:pt x="332783" y="44685"/>
                    <a:pt x="353529" y="141219"/>
                  </a:cubicBezTo>
                  <a:close/>
                </a:path>
              </a:pathLst>
            </a:custGeom>
            <a:solidFill>
              <a:srgbClr val="DB2828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F88D5018-2CD4-4C89-9DE0-421776886AC3}"/>
                </a:ext>
              </a:extLst>
            </p:cNvPr>
            <p:cNvSpPr/>
            <p:nvPr/>
          </p:nvSpPr>
          <p:spPr>
            <a:xfrm>
              <a:off x="13463556" y="2429170"/>
              <a:ext cx="200765" cy="184035"/>
            </a:xfrm>
            <a:custGeom>
              <a:avLst/>
              <a:gdLst>
                <a:gd name="connsiteX0" fmla="*/ 127002 w 200765"/>
                <a:gd name="connsiteY0" fmla="*/ 185607 h 184035"/>
                <a:gd name="connsiteX1" fmla="*/ 11896 w 200765"/>
                <a:gd name="connsiteY1" fmla="*/ 38379 h 184035"/>
                <a:gd name="connsiteX2" fmla="*/ 100233 w 200765"/>
                <a:gd name="connsiteY2" fmla="*/ 61132 h 184035"/>
                <a:gd name="connsiteX3" fmla="*/ 171505 w 200765"/>
                <a:gd name="connsiteY3" fmla="*/ 4081 h 184035"/>
                <a:gd name="connsiteX4" fmla="*/ 127002 w 200765"/>
                <a:gd name="connsiteY4" fmla="*/ 185607 h 18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65" h="184035">
                  <a:moveTo>
                    <a:pt x="127002" y="185607"/>
                  </a:moveTo>
                  <a:cubicBezTo>
                    <a:pt x="13569" y="162686"/>
                    <a:pt x="-21063" y="71840"/>
                    <a:pt x="11896" y="38379"/>
                  </a:cubicBezTo>
                  <a:cubicBezTo>
                    <a:pt x="56232" y="-6459"/>
                    <a:pt x="100233" y="61132"/>
                    <a:pt x="100233" y="61132"/>
                  </a:cubicBezTo>
                  <a:cubicBezTo>
                    <a:pt x="100233" y="61132"/>
                    <a:pt x="112613" y="-18672"/>
                    <a:pt x="171505" y="4081"/>
                  </a:cubicBezTo>
                  <a:cubicBezTo>
                    <a:pt x="215171" y="21146"/>
                    <a:pt x="221027" y="118016"/>
                    <a:pt x="127002" y="185607"/>
                  </a:cubicBezTo>
                  <a:close/>
                </a:path>
              </a:pathLst>
            </a:custGeom>
            <a:solidFill>
              <a:srgbClr val="FFFFFF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040E740-7DF7-461A-BC93-90356ACDCD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0" b="1"/>
          <a:stretch/>
        </p:blipFill>
        <p:spPr>
          <a:xfrm>
            <a:off x="1039435" y="1417776"/>
            <a:ext cx="4019299" cy="517494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D541A571-9DDC-4AAF-9D6A-4B0AB6C3B4F8}"/>
              </a:ext>
            </a:extLst>
          </p:cNvPr>
          <p:cNvSpPr txBox="1"/>
          <p:nvPr/>
        </p:nvSpPr>
        <p:spPr>
          <a:xfrm>
            <a:off x="5521513" y="4096539"/>
            <a:ext cx="61495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того, чтобы помочь детям в использовании данной игровой обучающей платформы, учащимся была дана подробная инструкция к работе с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ahoot!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A0F64D-0EA2-41EB-BC1E-C409EBE13CD6}"/>
              </a:ext>
            </a:extLst>
          </p:cNvPr>
          <p:cNvSpPr txBox="1"/>
          <p:nvPr/>
        </p:nvSpPr>
        <p:spPr>
          <a:xfrm>
            <a:off x="5550042" y="4929680"/>
            <a:ext cx="61495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обные пошаговые инструкции были сделаны для работы с образовательными онлайн-платформами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deouroki.net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РЭШ, Решу ЕГЭ, </a:t>
            </a:r>
            <a:r>
              <a:rPr lang="ru-RU" sz="16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ЯКласс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504859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C3D389DE-932E-4A70-BA48-9FD418050C67}"/>
              </a:ext>
            </a:extLst>
          </p:cNvPr>
          <p:cNvSpPr/>
          <p:nvPr/>
        </p:nvSpPr>
        <p:spPr>
          <a:xfrm>
            <a:off x="2131365" y="245075"/>
            <a:ext cx="79248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Интерактивная тетрадь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kysmart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4E8DB45-15BF-42B1-A5AB-0A441B49CD7E}"/>
              </a:ext>
            </a:extLst>
          </p:cNvPr>
          <p:cNvGrpSpPr/>
          <p:nvPr/>
        </p:nvGrpSpPr>
        <p:grpSpPr>
          <a:xfrm flipH="1">
            <a:off x="2532769" y="2590864"/>
            <a:ext cx="4356531" cy="1212983"/>
            <a:chOff x="1209676" y="-11126947"/>
            <a:chExt cx="10492578" cy="2921436"/>
          </a:xfrm>
        </p:grpSpPr>
        <p:sp>
          <p:nvSpPr>
            <p:cNvPr id="58" name="Freeform 6">
              <a:extLst>
                <a:ext uri="{FF2B5EF4-FFF2-40B4-BE49-F238E27FC236}">
                  <a16:creationId xmlns:a16="http://schemas.microsoft.com/office/drawing/2014/main" id="{B944E552-E342-43AB-924E-0EA10FA7D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676" y="-11126947"/>
              <a:ext cx="10492578" cy="1659578"/>
            </a:xfrm>
            <a:custGeom>
              <a:avLst/>
              <a:gdLst>
                <a:gd name="T0" fmla="*/ 1542 w 1542"/>
                <a:gd name="T1" fmla="*/ 29 h 244"/>
                <a:gd name="T2" fmla="*/ 1542 w 1542"/>
                <a:gd name="T3" fmla="*/ 34 h 244"/>
                <a:gd name="T4" fmla="*/ 1512 w 1542"/>
                <a:gd name="T5" fmla="*/ 63 h 244"/>
                <a:gd name="T6" fmla="*/ 608 w 1542"/>
                <a:gd name="T7" fmla="*/ 63 h 244"/>
                <a:gd name="T8" fmla="*/ 582 w 1542"/>
                <a:gd name="T9" fmla="*/ 92 h 244"/>
                <a:gd name="T10" fmla="*/ 582 w 1542"/>
                <a:gd name="T11" fmla="*/ 94 h 244"/>
                <a:gd name="T12" fmla="*/ 611 w 1542"/>
                <a:gd name="T13" fmla="*/ 123 h 244"/>
                <a:gd name="T14" fmla="*/ 1045 w 1542"/>
                <a:gd name="T15" fmla="*/ 123 h 244"/>
                <a:gd name="T16" fmla="*/ 1074 w 1542"/>
                <a:gd name="T17" fmla="*/ 152 h 244"/>
                <a:gd name="T18" fmla="*/ 1074 w 1542"/>
                <a:gd name="T19" fmla="*/ 157 h 244"/>
                <a:gd name="T20" fmla="*/ 1047 w 1542"/>
                <a:gd name="T21" fmla="*/ 186 h 244"/>
                <a:gd name="T22" fmla="*/ 1045 w 1542"/>
                <a:gd name="T23" fmla="*/ 186 h 244"/>
                <a:gd name="T24" fmla="*/ 986 w 1542"/>
                <a:gd name="T25" fmla="*/ 186 h 244"/>
                <a:gd name="T26" fmla="*/ 961 w 1542"/>
                <a:gd name="T27" fmla="*/ 214 h 244"/>
                <a:gd name="T28" fmla="*/ 961 w 1542"/>
                <a:gd name="T29" fmla="*/ 216 h 244"/>
                <a:gd name="T30" fmla="*/ 989 w 1542"/>
                <a:gd name="T31" fmla="*/ 243 h 244"/>
                <a:gd name="T32" fmla="*/ 998 w 1542"/>
                <a:gd name="T33" fmla="*/ 243 h 244"/>
                <a:gd name="T34" fmla="*/ 998 w 1542"/>
                <a:gd name="T35" fmla="*/ 244 h 244"/>
                <a:gd name="T36" fmla="*/ 415 w 1542"/>
                <a:gd name="T37" fmla="*/ 244 h 244"/>
                <a:gd name="T38" fmla="*/ 442 w 1542"/>
                <a:gd name="T39" fmla="*/ 216 h 244"/>
                <a:gd name="T40" fmla="*/ 442 w 1542"/>
                <a:gd name="T41" fmla="*/ 214 h 244"/>
                <a:gd name="T42" fmla="*/ 417 w 1542"/>
                <a:gd name="T43" fmla="*/ 186 h 244"/>
                <a:gd name="T44" fmla="*/ 79 w 1542"/>
                <a:gd name="T45" fmla="*/ 186 h 244"/>
                <a:gd name="T46" fmla="*/ 50 w 1542"/>
                <a:gd name="T47" fmla="*/ 157 h 244"/>
                <a:gd name="T48" fmla="*/ 50 w 1542"/>
                <a:gd name="T49" fmla="*/ 152 h 244"/>
                <a:gd name="T50" fmla="*/ 79 w 1542"/>
                <a:gd name="T51" fmla="*/ 123 h 244"/>
                <a:gd name="T52" fmla="*/ 150 w 1542"/>
                <a:gd name="T53" fmla="*/ 123 h 244"/>
                <a:gd name="T54" fmla="*/ 179 w 1542"/>
                <a:gd name="T55" fmla="*/ 94 h 244"/>
                <a:gd name="T56" fmla="*/ 179 w 1542"/>
                <a:gd name="T57" fmla="*/ 92 h 244"/>
                <a:gd name="T58" fmla="*/ 153 w 1542"/>
                <a:gd name="T59" fmla="*/ 63 h 244"/>
                <a:gd name="T60" fmla="*/ 29 w 1542"/>
                <a:gd name="T61" fmla="*/ 63 h 244"/>
                <a:gd name="T62" fmla="*/ 26 w 1542"/>
                <a:gd name="T63" fmla="*/ 63 h 244"/>
                <a:gd name="T64" fmla="*/ 0 w 1542"/>
                <a:gd name="T65" fmla="*/ 34 h 244"/>
                <a:gd name="T66" fmla="*/ 0 w 1542"/>
                <a:gd name="T67" fmla="*/ 29 h 244"/>
                <a:gd name="T68" fmla="*/ 29 w 1542"/>
                <a:gd name="T69" fmla="*/ 0 h 244"/>
                <a:gd name="T70" fmla="*/ 1512 w 1542"/>
                <a:gd name="T71" fmla="*/ 0 h 244"/>
                <a:gd name="T72" fmla="*/ 1542 w 1542"/>
                <a:gd name="T73" fmla="*/ 2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42" h="244">
                  <a:moveTo>
                    <a:pt x="1542" y="29"/>
                  </a:moveTo>
                  <a:cubicBezTo>
                    <a:pt x="1542" y="34"/>
                    <a:pt x="1542" y="34"/>
                    <a:pt x="1542" y="34"/>
                  </a:cubicBezTo>
                  <a:cubicBezTo>
                    <a:pt x="1542" y="50"/>
                    <a:pt x="1528" y="63"/>
                    <a:pt x="1512" y="63"/>
                  </a:cubicBezTo>
                  <a:cubicBezTo>
                    <a:pt x="608" y="63"/>
                    <a:pt x="608" y="63"/>
                    <a:pt x="608" y="63"/>
                  </a:cubicBezTo>
                  <a:cubicBezTo>
                    <a:pt x="593" y="64"/>
                    <a:pt x="582" y="77"/>
                    <a:pt x="582" y="92"/>
                  </a:cubicBezTo>
                  <a:cubicBezTo>
                    <a:pt x="582" y="94"/>
                    <a:pt x="582" y="94"/>
                    <a:pt x="582" y="94"/>
                  </a:cubicBezTo>
                  <a:cubicBezTo>
                    <a:pt x="582" y="110"/>
                    <a:pt x="595" y="123"/>
                    <a:pt x="611" y="123"/>
                  </a:cubicBezTo>
                  <a:cubicBezTo>
                    <a:pt x="1045" y="123"/>
                    <a:pt x="1045" y="123"/>
                    <a:pt x="1045" y="123"/>
                  </a:cubicBezTo>
                  <a:cubicBezTo>
                    <a:pt x="1061" y="123"/>
                    <a:pt x="1074" y="136"/>
                    <a:pt x="1074" y="152"/>
                  </a:cubicBezTo>
                  <a:cubicBezTo>
                    <a:pt x="1074" y="157"/>
                    <a:pt x="1074" y="157"/>
                    <a:pt x="1074" y="157"/>
                  </a:cubicBezTo>
                  <a:cubicBezTo>
                    <a:pt x="1074" y="173"/>
                    <a:pt x="1062" y="185"/>
                    <a:pt x="1047" y="186"/>
                  </a:cubicBezTo>
                  <a:cubicBezTo>
                    <a:pt x="1046" y="186"/>
                    <a:pt x="1046" y="186"/>
                    <a:pt x="1045" y="186"/>
                  </a:cubicBezTo>
                  <a:cubicBezTo>
                    <a:pt x="986" y="186"/>
                    <a:pt x="986" y="186"/>
                    <a:pt x="986" y="186"/>
                  </a:cubicBezTo>
                  <a:cubicBezTo>
                    <a:pt x="972" y="188"/>
                    <a:pt x="961" y="199"/>
                    <a:pt x="961" y="214"/>
                  </a:cubicBezTo>
                  <a:cubicBezTo>
                    <a:pt x="961" y="216"/>
                    <a:pt x="961" y="216"/>
                    <a:pt x="961" y="216"/>
                  </a:cubicBezTo>
                  <a:cubicBezTo>
                    <a:pt x="961" y="231"/>
                    <a:pt x="973" y="243"/>
                    <a:pt x="989" y="243"/>
                  </a:cubicBezTo>
                  <a:cubicBezTo>
                    <a:pt x="998" y="243"/>
                    <a:pt x="998" y="243"/>
                    <a:pt x="998" y="243"/>
                  </a:cubicBezTo>
                  <a:cubicBezTo>
                    <a:pt x="998" y="244"/>
                    <a:pt x="998" y="244"/>
                    <a:pt x="998" y="244"/>
                  </a:cubicBezTo>
                  <a:cubicBezTo>
                    <a:pt x="415" y="244"/>
                    <a:pt x="415" y="244"/>
                    <a:pt x="415" y="244"/>
                  </a:cubicBezTo>
                  <a:cubicBezTo>
                    <a:pt x="430" y="244"/>
                    <a:pt x="442" y="231"/>
                    <a:pt x="442" y="216"/>
                  </a:cubicBezTo>
                  <a:cubicBezTo>
                    <a:pt x="442" y="214"/>
                    <a:pt x="442" y="214"/>
                    <a:pt x="442" y="214"/>
                  </a:cubicBezTo>
                  <a:cubicBezTo>
                    <a:pt x="442" y="199"/>
                    <a:pt x="431" y="188"/>
                    <a:pt x="417" y="186"/>
                  </a:cubicBezTo>
                  <a:cubicBezTo>
                    <a:pt x="79" y="186"/>
                    <a:pt x="79" y="186"/>
                    <a:pt x="79" y="186"/>
                  </a:cubicBezTo>
                  <a:cubicBezTo>
                    <a:pt x="63" y="186"/>
                    <a:pt x="50" y="173"/>
                    <a:pt x="50" y="157"/>
                  </a:cubicBezTo>
                  <a:cubicBezTo>
                    <a:pt x="50" y="152"/>
                    <a:pt x="50" y="152"/>
                    <a:pt x="50" y="152"/>
                  </a:cubicBezTo>
                  <a:cubicBezTo>
                    <a:pt x="50" y="136"/>
                    <a:pt x="63" y="123"/>
                    <a:pt x="79" y="123"/>
                  </a:cubicBezTo>
                  <a:cubicBezTo>
                    <a:pt x="150" y="123"/>
                    <a:pt x="150" y="123"/>
                    <a:pt x="150" y="123"/>
                  </a:cubicBezTo>
                  <a:cubicBezTo>
                    <a:pt x="166" y="123"/>
                    <a:pt x="179" y="110"/>
                    <a:pt x="179" y="94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77"/>
                    <a:pt x="168" y="64"/>
                    <a:pt x="153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8" y="63"/>
                    <a:pt x="27" y="63"/>
                    <a:pt x="26" y="63"/>
                  </a:cubicBezTo>
                  <a:cubicBezTo>
                    <a:pt x="11" y="61"/>
                    <a:pt x="0" y="49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512" y="0"/>
                    <a:pt x="1512" y="0"/>
                    <a:pt x="1512" y="0"/>
                  </a:cubicBezTo>
                  <a:cubicBezTo>
                    <a:pt x="1528" y="0"/>
                    <a:pt x="1542" y="13"/>
                    <a:pt x="1542" y="29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7">
              <a:extLst>
                <a:ext uri="{FF2B5EF4-FFF2-40B4-BE49-F238E27FC236}">
                  <a16:creationId xmlns:a16="http://schemas.microsoft.com/office/drawing/2014/main" id="{7CF02321-02EB-4952-A352-9D06FD93D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688" y="-9467369"/>
              <a:ext cx="8048408" cy="1261858"/>
            </a:xfrm>
            <a:custGeom>
              <a:avLst/>
              <a:gdLst>
                <a:gd name="T0" fmla="*/ 29 w 1183"/>
                <a:gd name="T1" fmla="*/ 0 h 186"/>
                <a:gd name="T2" fmla="*/ 1153 w 1183"/>
                <a:gd name="T3" fmla="*/ 0 h 186"/>
                <a:gd name="T4" fmla="*/ 1183 w 1183"/>
                <a:gd name="T5" fmla="*/ 29 h 186"/>
                <a:gd name="T6" fmla="*/ 1183 w 1183"/>
                <a:gd name="T7" fmla="*/ 34 h 186"/>
                <a:gd name="T8" fmla="*/ 1153 w 1183"/>
                <a:gd name="T9" fmla="*/ 63 h 186"/>
                <a:gd name="T10" fmla="*/ 710 w 1183"/>
                <a:gd name="T11" fmla="*/ 63 h 186"/>
                <a:gd name="T12" fmla="*/ 685 w 1183"/>
                <a:gd name="T13" fmla="*/ 90 h 186"/>
                <a:gd name="T14" fmla="*/ 685 w 1183"/>
                <a:gd name="T15" fmla="*/ 95 h 186"/>
                <a:gd name="T16" fmla="*/ 712 w 1183"/>
                <a:gd name="T17" fmla="*/ 123 h 186"/>
                <a:gd name="T18" fmla="*/ 716 w 1183"/>
                <a:gd name="T19" fmla="*/ 123 h 186"/>
                <a:gd name="T20" fmla="*/ 716 w 1183"/>
                <a:gd name="T21" fmla="*/ 123 h 186"/>
                <a:gd name="T22" fmla="*/ 818 w 1183"/>
                <a:gd name="T23" fmla="*/ 123 h 186"/>
                <a:gd name="T24" fmla="*/ 847 w 1183"/>
                <a:gd name="T25" fmla="*/ 152 h 186"/>
                <a:gd name="T26" fmla="*/ 847 w 1183"/>
                <a:gd name="T27" fmla="*/ 157 h 186"/>
                <a:gd name="T28" fmla="*/ 818 w 1183"/>
                <a:gd name="T29" fmla="*/ 186 h 186"/>
                <a:gd name="T30" fmla="*/ 222 w 1183"/>
                <a:gd name="T31" fmla="*/ 186 h 186"/>
                <a:gd name="T32" fmla="*/ 193 w 1183"/>
                <a:gd name="T33" fmla="*/ 157 h 186"/>
                <a:gd name="T34" fmla="*/ 193 w 1183"/>
                <a:gd name="T35" fmla="*/ 152 h 186"/>
                <a:gd name="T36" fmla="*/ 222 w 1183"/>
                <a:gd name="T37" fmla="*/ 123 h 186"/>
                <a:gd name="T38" fmla="*/ 279 w 1183"/>
                <a:gd name="T39" fmla="*/ 123 h 186"/>
                <a:gd name="T40" fmla="*/ 279 w 1183"/>
                <a:gd name="T41" fmla="*/ 123 h 186"/>
                <a:gd name="T42" fmla="*/ 293 w 1183"/>
                <a:gd name="T43" fmla="*/ 123 h 186"/>
                <a:gd name="T44" fmla="*/ 320 w 1183"/>
                <a:gd name="T45" fmla="*/ 95 h 186"/>
                <a:gd name="T46" fmla="*/ 320 w 1183"/>
                <a:gd name="T47" fmla="*/ 90 h 186"/>
                <a:gd name="T48" fmla="*/ 295 w 1183"/>
                <a:gd name="T49" fmla="*/ 63 h 186"/>
                <a:gd name="T50" fmla="*/ 29 w 1183"/>
                <a:gd name="T51" fmla="*/ 63 h 186"/>
                <a:gd name="T52" fmla="*/ 0 w 1183"/>
                <a:gd name="T53" fmla="*/ 34 h 186"/>
                <a:gd name="T54" fmla="*/ 0 w 1183"/>
                <a:gd name="T55" fmla="*/ 29 h 186"/>
                <a:gd name="T56" fmla="*/ 29 w 1183"/>
                <a:gd name="T5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3" h="186">
                  <a:moveTo>
                    <a:pt x="29" y="0"/>
                  </a:moveTo>
                  <a:cubicBezTo>
                    <a:pt x="1153" y="0"/>
                    <a:pt x="1153" y="0"/>
                    <a:pt x="1153" y="0"/>
                  </a:cubicBezTo>
                  <a:cubicBezTo>
                    <a:pt x="1169" y="0"/>
                    <a:pt x="1183" y="13"/>
                    <a:pt x="1183" y="29"/>
                  </a:cubicBezTo>
                  <a:cubicBezTo>
                    <a:pt x="1183" y="34"/>
                    <a:pt x="1183" y="34"/>
                    <a:pt x="1183" y="34"/>
                  </a:cubicBezTo>
                  <a:cubicBezTo>
                    <a:pt x="1183" y="50"/>
                    <a:pt x="1169" y="63"/>
                    <a:pt x="1153" y="63"/>
                  </a:cubicBezTo>
                  <a:cubicBezTo>
                    <a:pt x="710" y="63"/>
                    <a:pt x="710" y="63"/>
                    <a:pt x="710" y="63"/>
                  </a:cubicBezTo>
                  <a:cubicBezTo>
                    <a:pt x="696" y="64"/>
                    <a:pt x="685" y="76"/>
                    <a:pt x="685" y="90"/>
                  </a:cubicBezTo>
                  <a:cubicBezTo>
                    <a:pt x="685" y="95"/>
                    <a:pt x="685" y="95"/>
                    <a:pt x="685" y="95"/>
                  </a:cubicBezTo>
                  <a:cubicBezTo>
                    <a:pt x="685" y="110"/>
                    <a:pt x="697" y="123"/>
                    <a:pt x="712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818" y="123"/>
                    <a:pt x="818" y="123"/>
                    <a:pt x="818" y="123"/>
                  </a:cubicBezTo>
                  <a:cubicBezTo>
                    <a:pt x="834" y="123"/>
                    <a:pt x="847" y="136"/>
                    <a:pt x="847" y="152"/>
                  </a:cubicBezTo>
                  <a:cubicBezTo>
                    <a:pt x="847" y="157"/>
                    <a:pt x="847" y="157"/>
                    <a:pt x="847" y="157"/>
                  </a:cubicBezTo>
                  <a:cubicBezTo>
                    <a:pt x="847" y="173"/>
                    <a:pt x="834" y="186"/>
                    <a:pt x="818" y="186"/>
                  </a:cubicBezTo>
                  <a:cubicBezTo>
                    <a:pt x="222" y="186"/>
                    <a:pt x="222" y="186"/>
                    <a:pt x="222" y="186"/>
                  </a:cubicBezTo>
                  <a:cubicBezTo>
                    <a:pt x="206" y="186"/>
                    <a:pt x="193" y="173"/>
                    <a:pt x="193" y="157"/>
                  </a:cubicBezTo>
                  <a:cubicBezTo>
                    <a:pt x="193" y="152"/>
                    <a:pt x="193" y="152"/>
                    <a:pt x="193" y="152"/>
                  </a:cubicBezTo>
                  <a:cubicBezTo>
                    <a:pt x="193" y="136"/>
                    <a:pt x="206" y="123"/>
                    <a:pt x="222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93" y="123"/>
                    <a:pt x="293" y="123"/>
                    <a:pt x="293" y="123"/>
                  </a:cubicBezTo>
                  <a:cubicBezTo>
                    <a:pt x="308" y="123"/>
                    <a:pt x="320" y="110"/>
                    <a:pt x="320" y="95"/>
                  </a:cubicBezTo>
                  <a:cubicBezTo>
                    <a:pt x="320" y="90"/>
                    <a:pt x="320" y="90"/>
                    <a:pt x="320" y="90"/>
                  </a:cubicBezTo>
                  <a:cubicBezTo>
                    <a:pt x="320" y="76"/>
                    <a:pt x="309" y="64"/>
                    <a:pt x="295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8">
              <a:extLst>
                <a:ext uri="{FF2B5EF4-FFF2-40B4-BE49-F238E27FC236}">
                  <a16:creationId xmlns:a16="http://schemas.microsoft.com/office/drawing/2014/main" id="{A17FAD6E-9C69-4A05-ABD3-36A1BB53F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2969" y="-10291734"/>
              <a:ext cx="1446255" cy="430262"/>
            </a:xfrm>
            <a:custGeom>
              <a:avLst/>
              <a:gdLst>
                <a:gd name="T0" fmla="*/ 184 w 213"/>
                <a:gd name="T1" fmla="*/ 63 h 63"/>
                <a:gd name="T2" fmla="*/ 30 w 213"/>
                <a:gd name="T3" fmla="*/ 63 h 63"/>
                <a:gd name="T4" fmla="*/ 0 w 213"/>
                <a:gd name="T5" fmla="*/ 34 h 63"/>
                <a:gd name="T6" fmla="*/ 0 w 213"/>
                <a:gd name="T7" fmla="*/ 29 h 63"/>
                <a:gd name="T8" fmla="*/ 30 w 213"/>
                <a:gd name="T9" fmla="*/ 0 h 63"/>
                <a:gd name="T10" fmla="*/ 184 w 213"/>
                <a:gd name="T11" fmla="*/ 0 h 63"/>
                <a:gd name="T12" fmla="*/ 213 w 213"/>
                <a:gd name="T13" fmla="*/ 29 h 63"/>
                <a:gd name="T14" fmla="*/ 213 w 213"/>
                <a:gd name="T15" fmla="*/ 34 h 63"/>
                <a:gd name="T16" fmla="*/ 184 w 213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" h="63">
                  <a:moveTo>
                    <a:pt x="184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00" y="0"/>
                    <a:pt x="213" y="13"/>
                    <a:pt x="213" y="29"/>
                  </a:cubicBezTo>
                  <a:cubicBezTo>
                    <a:pt x="213" y="34"/>
                    <a:pt x="213" y="34"/>
                    <a:pt x="213" y="34"/>
                  </a:cubicBezTo>
                  <a:cubicBezTo>
                    <a:pt x="213" y="50"/>
                    <a:pt x="200" y="63"/>
                    <a:pt x="184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9">
              <a:extLst>
                <a:ext uri="{FF2B5EF4-FFF2-40B4-BE49-F238E27FC236}">
                  <a16:creationId xmlns:a16="http://schemas.microsoft.com/office/drawing/2014/main" id="{C08B6B22-336A-4BE6-90DC-840CD7A1C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657" y="-8632157"/>
              <a:ext cx="1442640" cy="426645"/>
            </a:xfrm>
            <a:custGeom>
              <a:avLst/>
              <a:gdLst>
                <a:gd name="T0" fmla="*/ 183 w 212"/>
                <a:gd name="T1" fmla="*/ 63 h 63"/>
                <a:gd name="T2" fmla="*/ 29 w 212"/>
                <a:gd name="T3" fmla="*/ 63 h 63"/>
                <a:gd name="T4" fmla="*/ 0 w 212"/>
                <a:gd name="T5" fmla="*/ 34 h 63"/>
                <a:gd name="T6" fmla="*/ 0 w 212"/>
                <a:gd name="T7" fmla="*/ 29 h 63"/>
                <a:gd name="T8" fmla="*/ 29 w 212"/>
                <a:gd name="T9" fmla="*/ 0 h 63"/>
                <a:gd name="T10" fmla="*/ 183 w 212"/>
                <a:gd name="T11" fmla="*/ 0 h 63"/>
                <a:gd name="T12" fmla="*/ 212 w 212"/>
                <a:gd name="T13" fmla="*/ 29 h 63"/>
                <a:gd name="T14" fmla="*/ 212 w 212"/>
                <a:gd name="T15" fmla="*/ 34 h 63"/>
                <a:gd name="T16" fmla="*/ 183 w 212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63">
                  <a:moveTo>
                    <a:pt x="183" y="63"/>
                  </a:move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99" y="0"/>
                    <a:pt x="212" y="13"/>
                    <a:pt x="212" y="29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50"/>
                    <a:pt x="199" y="63"/>
                    <a:pt x="183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24DA4C3-BB23-4CE0-8CBE-7C41D1A4FE48}"/>
              </a:ext>
            </a:extLst>
          </p:cNvPr>
          <p:cNvGrpSpPr/>
          <p:nvPr/>
        </p:nvGrpSpPr>
        <p:grpSpPr>
          <a:xfrm flipH="1">
            <a:off x="4856762" y="4513681"/>
            <a:ext cx="4356531" cy="1212983"/>
            <a:chOff x="1209676" y="-11126947"/>
            <a:chExt cx="10492578" cy="2921436"/>
          </a:xfrm>
        </p:grpSpPr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id="{61244E90-EAC6-40BD-9277-A1FB9BB8B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676" y="-11126947"/>
              <a:ext cx="10492578" cy="1659578"/>
            </a:xfrm>
            <a:custGeom>
              <a:avLst/>
              <a:gdLst>
                <a:gd name="T0" fmla="*/ 1542 w 1542"/>
                <a:gd name="T1" fmla="*/ 29 h 244"/>
                <a:gd name="T2" fmla="*/ 1542 w 1542"/>
                <a:gd name="T3" fmla="*/ 34 h 244"/>
                <a:gd name="T4" fmla="*/ 1512 w 1542"/>
                <a:gd name="T5" fmla="*/ 63 h 244"/>
                <a:gd name="T6" fmla="*/ 608 w 1542"/>
                <a:gd name="T7" fmla="*/ 63 h 244"/>
                <a:gd name="T8" fmla="*/ 582 w 1542"/>
                <a:gd name="T9" fmla="*/ 92 h 244"/>
                <a:gd name="T10" fmla="*/ 582 w 1542"/>
                <a:gd name="T11" fmla="*/ 94 h 244"/>
                <a:gd name="T12" fmla="*/ 611 w 1542"/>
                <a:gd name="T13" fmla="*/ 123 h 244"/>
                <a:gd name="T14" fmla="*/ 1045 w 1542"/>
                <a:gd name="T15" fmla="*/ 123 h 244"/>
                <a:gd name="T16" fmla="*/ 1074 w 1542"/>
                <a:gd name="T17" fmla="*/ 152 h 244"/>
                <a:gd name="T18" fmla="*/ 1074 w 1542"/>
                <a:gd name="T19" fmla="*/ 157 h 244"/>
                <a:gd name="T20" fmla="*/ 1047 w 1542"/>
                <a:gd name="T21" fmla="*/ 186 h 244"/>
                <a:gd name="T22" fmla="*/ 1045 w 1542"/>
                <a:gd name="T23" fmla="*/ 186 h 244"/>
                <a:gd name="T24" fmla="*/ 986 w 1542"/>
                <a:gd name="T25" fmla="*/ 186 h 244"/>
                <a:gd name="T26" fmla="*/ 961 w 1542"/>
                <a:gd name="T27" fmla="*/ 214 h 244"/>
                <a:gd name="T28" fmla="*/ 961 w 1542"/>
                <a:gd name="T29" fmla="*/ 216 h 244"/>
                <a:gd name="T30" fmla="*/ 989 w 1542"/>
                <a:gd name="T31" fmla="*/ 243 h 244"/>
                <a:gd name="T32" fmla="*/ 998 w 1542"/>
                <a:gd name="T33" fmla="*/ 243 h 244"/>
                <a:gd name="T34" fmla="*/ 998 w 1542"/>
                <a:gd name="T35" fmla="*/ 244 h 244"/>
                <a:gd name="T36" fmla="*/ 415 w 1542"/>
                <a:gd name="T37" fmla="*/ 244 h 244"/>
                <a:gd name="T38" fmla="*/ 442 w 1542"/>
                <a:gd name="T39" fmla="*/ 216 h 244"/>
                <a:gd name="T40" fmla="*/ 442 w 1542"/>
                <a:gd name="T41" fmla="*/ 214 h 244"/>
                <a:gd name="T42" fmla="*/ 417 w 1542"/>
                <a:gd name="T43" fmla="*/ 186 h 244"/>
                <a:gd name="T44" fmla="*/ 79 w 1542"/>
                <a:gd name="T45" fmla="*/ 186 h 244"/>
                <a:gd name="T46" fmla="*/ 50 w 1542"/>
                <a:gd name="T47" fmla="*/ 157 h 244"/>
                <a:gd name="T48" fmla="*/ 50 w 1542"/>
                <a:gd name="T49" fmla="*/ 152 h 244"/>
                <a:gd name="T50" fmla="*/ 79 w 1542"/>
                <a:gd name="T51" fmla="*/ 123 h 244"/>
                <a:gd name="T52" fmla="*/ 150 w 1542"/>
                <a:gd name="T53" fmla="*/ 123 h 244"/>
                <a:gd name="T54" fmla="*/ 179 w 1542"/>
                <a:gd name="T55" fmla="*/ 94 h 244"/>
                <a:gd name="T56" fmla="*/ 179 w 1542"/>
                <a:gd name="T57" fmla="*/ 92 h 244"/>
                <a:gd name="T58" fmla="*/ 153 w 1542"/>
                <a:gd name="T59" fmla="*/ 63 h 244"/>
                <a:gd name="T60" fmla="*/ 29 w 1542"/>
                <a:gd name="T61" fmla="*/ 63 h 244"/>
                <a:gd name="T62" fmla="*/ 26 w 1542"/>
                <a:gd name="T63" fmla="*/ 63 h 244"/>
                <a:gd name="T64" fmla="*/ 0 w 1542"/>
                <a:gd name="T65" fmla="*/ 34 h 244"/>
                <a:gd name="T66" fmla="*/ 0 w 1542"/>
                <a:gd name="T67" fmla="*/ 29 h 244"/>
                <a:gd name="T68" fmla="*/ 29 w 1542"/>
                <a:gd name="T69" fmla="*/ 0 h 244"/>
                <a:gd name="T70" fmla="*/ 1512 w 1542"/>
                <a:gd name="T71" fmla="*/ 0 h 244"/>
                <a:gd name="T72" fmla="*/ 1542 w 1542"/>
                <a:gd name="T73" fmla="*/ 2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42" h="244">
                  <a:moveTo>
                    <a:pt x="1542" y="29"/>
                  </a:moveTo>
                  <a:cubicBezTo>
                    <a:pt x="1542" y="34"/>
                    <a:pt x="1542" y="34"/>
                    <a:pt x="1542" y="34"/>
                  </a:cubicBezTo>
                  <a:cubicBezTo>
                    <a:pt x="1542" y="50"/>
                    <a:pt x="1528" y="63"/>
                    <a:pt x="1512" y="63"/>
                  </a:cubicBezTo>
                  <a:cubicBezTo>
                    <a:pt x="608" y="63"/>
                    <a:pt x="608" y="63"/>
                    <a:pt x="608" y="63"/>
                  </a:cubicBezTo>
                  <a:cubicBezTo>
                    <a:pt x="593" y="64"/>
                    <a:pt x="582" y="77"/>
                    <a:pt x="582" y="92"/>
                  </a:cubicBezTo>
                  <a:cubicBezTo>
                    <a:pt x="582" y="94"/>
                    <a:pt x="582" y="94"/>
                    <a:pt x="582" y="94"/>
                  </a:cubicBezTo>
                  <a:cubicBezTo>
                    <a:pt x="582" y="110"/>
                    <a:pt x="595" y="123"/>
                    <a:pt x="611" y="123"/>
                  </a:cubicBezTo>
                  <a:cubicBezTo>
                    <a:pt x="1045" y="123"/>
                    <a:pt x="1045" y="123"/>
                    <a:pt x="1045" y="123"/>
                  </a:cubicBezTo>
                  <a:cubicBezTo>
                    <a:pt x="1061" y="123"/>
                    <a:pt x="1074" y="136"/>
                    <a:pt x="1074" y="152"/>
                  </a:cubicBezTo>
                  <a:cubicBezTo>
                    <a:pt x="1074" y="157"/>
                    <a:pt x="1074" y="157"/>
                    <a:pt x="1074" y="157"/>
                  </a:cubicBezTo>
                  <a:cubicBezTo>
                    <a:pt x="1074" y="173"/>
                    <a:pt x="1062" y="185"/>
                    <a:pt x="1047" y="186"/>
                  </a:cubicBezTo>
                  <a:cubicBezTo>
                    <a:pt x="1046" y="186"/>
                    <a:pt x="1046" y="186"/>
                    <a:pt x="1045" y="186"/>
                  </a:cubicBezTo>
                  <a:cubicBezTo>
                    <a:pt x="986" y="186"/>
                    <a:pt x="986" y="186"/>
                    <a:pt x="986" y="186"/>
                  </a:cubicBezTo>
                  <a:cubicBezTo>
                    <a:pt x="972" y="188"/>
                    <a:pt x="961" y="199"/>
                    <a:pt x="961" y="214"/>
                  </a:cubicBezTo>
                  <a:cubicBezTo>
                    <a:pt x="961" y="216"/>
                    <a:pt x="961" y="216"/>
                    <a:pt x="961" y="216"/>
                  </a:cubicBezTo>
                  <a:cubicBezTo>
                    <a:pt x="961" y="231"/>
                    <a:pt x="973" y="243"/>
                    <a:pt x="989" y="243"/>
                  </a:cubicBezTo>
                  <a:cubicBezTo>
                    <a:pt x="998" y="243"/>
                    <a:pt x="998" y="243"/>
                    <a:pt x="998" y="243"/>
                  </a:cubicBezTo>
                  <a:cubicBezTo>
                    <a:pt x="998" y="244"/>
                    <a:pt x="998" y="244"/>
                    <a:pt x="998" y="244"/>
                  </a:cubicBezTo>
                  <a:cubicBezTo>
                    <a:pt x="415" y="244"/>
                    <a:pt x="415" y="244"/>
                    <a:pt x="415" y="244"/>
                  </a:cubicBezTo>
                  <a:cubicBezTo>
                    <a:pt x="430" y="244"/>
                    <a:pt x="442" y="231"/>
                    <a:pt x="442" y="216"/>
                  </a:cubicBezTo>
                  <a:cubicBezTo>
                    <a:pt x="442" y="214"/>
                    <a:pt x="442" y="214"/>
                    <a:pt x="442" y="214"/>
                  </a:cubicBezTo>
                  <a:cubicBezTo>
                    <a:pt x="442" y="199"/>
                    <a:pt x="431" y="188"/>
                    <a:pt x="417" y="186"/>
                  </a:cubicBezTo>
                  <a:cubicBezTo>
                    <a:pt x="79" y="186"/>
                    <a:pt x="79" y="186"/>
                    <a:pt x="79" y="186"/>
                  </a:cubicBezTo>
                  <a:cubicBezTo>
                    <a:pt x="63" y="186"/>
                    <a:pt x="50" y="173"/>
                    <a:pt x="50" y="157"/>
                  </a:cubicBezTo>
                  <a:cubicBezTo>
                    <a:pt x="50" y="152"/>
                    <a:pt x="50" y="152"/>
                    <a:pt x="50" y="152"/>
                  </a:cubicBezTo>
                  <a:cubicBezTo>
                    <a:pt x="50" y="136"/>
                    <a:pt x="63" y="123"/>
                    <a:pt x="79" y="123"/>
                  </a:cubicBezTo>
                  <a:cubicBezTo>
                    <a:pt x="150" y="123"/>
                    <a:pt x="150" y="123"/>
                    <a:pt x="150" y="123"/>
                  </a:cubicBezTo>
                  <a:cubicBezTo>
                    <a:pt x="166" y="123"/>
                    <a:pt x="179" y="110"/>
                    <a:pt x="179" y="94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77"/>
                    <a:pt x="168" y="64"/>
                    <a:pt x="153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8" y="63"/>
                    <a:pt x="27" y="63"/>
                    <a:pt x="26" y="63"/>
                  </a:cubicBezTo>
                  <a:cubicBezTo>
                    <a:pt x="11" y="61"/>
                    <a:pt x="0" y="49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512" y="0"/>
                    <a:pt x="1512" y="0"/>
                    <a:pt x="1512" y="0"/>
                  </a:cubicBezTo>
                  <a:cubicBezTo>
                    <a:pt x="1528" y="0"/>
                    <a:pt x="1542" y="13"/>
                    <a:pt x="1542" y="29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7DC12752-E422-46F1-8E02-A75818B9A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688" y="-9467369"/>
              <a:ext cx="8048408" cy="1261858"/>
            </a:xfrm>
            <a:custGeom>
              <a:avLst/>
              <a:gdLst>
                <a:gd name="T0" fmla="*/ 29 w 1183"/>
                <a:gd name="T1" fmla="*/ 0 h 186"/>
                <a:gd name="T2" fmla="*/ 1153 w 1183"/>
                <a:gd name="T3" fmla="*/ 0 h 186"/>
                <a:gd name="T4" fmla="*/ 1183 w 1183"/>
                <a:gd name="T5" fmla="*/ 29 h 186"/>
                <a:gd name="T6" fmla="*/ 1183 w 1183"/>
                <a:gd name="T7" fmla="*/ 34 h 186"/>
                <a:gd name="T8" fmla="*/ 1153 w 1183"/>
                <a:gd name="T9" fmla="*/ 63 h 186"/>
                <a:gd name="T10" fmla="*/ 710 w 1183"/>
                <a:gd name="T11" fmla="*/ 63 h 186"/>
                <a:gd name="T12" fmla="*/ 685 w 1183"/>
                <a:gd name="T13" fmla="*/ 90 h 186"/>
                <a:gd name="T14" fmla="*/ 685 w 1183"/>
                <a:gd name="T15" fmla="*/ 95 h 186"/>
                <a:gd name="T16" fmla="*/ 712 w 1183"/>
                <a:gd name="T17" fmla="*/ 123 h 186"/>
                <a:gd name="T18" fmla="*/ 716 w 1183"/>
                <a:gd name="T19" fmla="*/ 123 h 186"/>
                <a:gd name="T20" fmla="*/ 716 w 1183"/>
                <a:gd name="T21" fmla="*/ 123 h 186"/>
                <a:gd name="T22" fmla="*/ 818 w 1183"/>
                <a:gd name="T23" fmla="*/ 123 h 186"/>
                <a:gd name="T24" fmla="*/ 847 w 1183"/>
                <a:gd name="T25" fmla="*/ 152 h 186"/>
                <a:gd name="T26" fmla="*/ 847 w 1183"/>
                <a:gd name="T27" fmla="*/ 157 h 186"/>
                <a:gd name="T28" fmla="*/ 818 w 1183"/>
                <a:gd name="T29" fmla="*/ 186 h 186"/>
                <a:gd name="T30" fmla="*/ 222 w 1183"/>
                <a:gd name="T31" fmla="*/ 186 h 186"/>
                <a:gd name="T32" fmla="*/ 193 w 1183"/>
                <a:gd name="T33" fmla="*/ 157 h 186"/>
                <a:gd name="T34" fmla="*/ 193 w 1183"/>
                <a:gd name="T35" fmla="*/ 152 h 186"/>
                <a:gd name="T36" fmla="*/ 222 w 1183"/>
                <a:gd name="T37" fmla="*/ 123 h 186"/>
                <a:gd name="T38" fmla="*/ 279 w 1183"/>
                <a:gd name="T39" fmla="*/ 123 h 186"/>
                <a:gd name="T40" fmla="*/ 279 w 1183"/>
                <a:gd name="T41" fmla="*/ 123 h 186"/>
                <a:gd name="T42" fmla="*/ 293 w 1183"/>
                <a:gd name="T43" fmla="*/ 123 h 186"/>
                <a:gd name="T44" fmla="*/ 320 w 1183"/>
                <a:gd name="T45" fmla="*/ 95 h 186"/>
                <a:gd name="T46" fmla="*/ 320 w 1183"/>
                <a:gd name="T47" fmla="*/ 90 h 186"/>
                <a:gd name="T48" fmla="*/ 295 w 1183"/>
                <a:gd name="T49" fmla="*/ 63 h 186"/>
                <a:gd name="T50" fmla="*/ 29 w 1183"/>
                <a:gd name="T51" fmla="*/ 63 h 186"/>
                <a:gd name="T52" fmla="*/ 0 w 1183"/>
                <a:gd name="T53" fmla="*/ 34 h 186"/>
                <a:gd name="T54" fmla="*/ 0 w 1183"/>
                <a:gd name="T55" fmla="*/ 29 h 186"/>
                <a:gd name="T56" fmla="*/ 29 w 1183"/>
                <a:gd name="T5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3" h="186">
                  <a:moveTo>
                    <a:pt x="29" y="0"/>
                  </a:moveTo>
                  <a:cubicBezTo>
                    <a:pt x="1153" y="0"/>
                    <a:pt x="1153" y="0"/>
                    <a:pt x="1153" y="0"/>
                  </a:cubicBezTo>
                  <a:cubicBezTo>
                    <a:pt x="1169" y="0"/>
                    <a:pt x="1183" y="13"/>
                    <a:pt x="1183" y="29"/>
                  </a:cubicBezTo>
                  <a:cubicBezTo>
                    <a:pt x="1183" y="34"/>
                    <a:pt x="1183" y="34"/>
                    <a:pt x="1183" y="34"/>
                  </a:cubicBezTo>
                  <a:cubicBezTo>
                    <a:pt x="1183" y="50"/>
                    <a:pt x="1169" y="63"/>
                    <a:pt x="1153" y="63"/>
                  </a:cubicBezTo>
                  <a:cubicBezTo>
                    <a:pt x="710" y="63"/>
                    <a:pt x="710" y="63"/>
                    <a:pt x="710" y="63"/>
                  </a:cubicBezTo>
                  <a:cubicBezTo>
                    <a:pt x="696" y="64"/>
                    <a:pt x="685" y="76"/>
                    <a:pt x="685" y="90"/>
                  </a:cubicBezTo>
                  <a:cubicBezTo>
                    <a:pt x="685" y="95"/>
                    <a:pt x="685" y="95"/>
                    <a:pt x="685" y="95"/>
                  </a:cubicBezTo>
                  <a:cubicBezTo>
                    <a:pt x="685" y="110"/>
                    <a:pt x="697" y="123"/>
                    <a:pt x="712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818" y="123"/>
                    <a:pt x="818" y="123"/>
                    <a:pt x="818" y="123"/>
                  </a:cubicBezTo>
                  <a:cubicBezTo>
                    <a:pt x="834" y="123"/>
                    <a:pt x="847" y="136"/>
                    <a:pt x="847" y="152"/>
                  </a:cubicBezTo>
                  <a:cubicBezTo>
                    <a:pt x="847" y="157"/>
                    <a:pt x="847" y="157"/>
                    <a:pt x="847" y="157"/>
                  </a:cubicBezTo>
                  <a:cubicBezTo>
                    <a:pt x="847" y="173"/>
                    <a:pt x="834" y="186"/>
                    <a:pt x="818" y="186"/>
                  </a:cubicBezTo>
                  <a:cubicBezTo>
                    <a:pt x="222" y="186"/>
                    <a:pt x="222" y="186"/>
                    <a:pt x="222" y="186"/>
                  </a:cubicBezTo>
                  <a:cubicBezTo>
                    <a:pt x="206" y="186"/>
                    <a:pt x="193" y="173"/>
                    <a:pt x="193" y="157"/>
                  </a:cubicBezTo>
                  <a:cubicBezTo>
                    <a:pt x="193" y="152"/>
                    <a:pt x="193" y="152"/>
                    <a:pt x="193" y="152"/>
                  </a:cubicBezTo>
                  <a:cubicBezTo>
                    <a:pt x="193" y="136"/>
                    <a:pt x="206" y="123"/>
                    <a:pt x="222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93" y="123"/>
                    <a:pt x="293" y="123"/>
                    <a:pt x="293" y="123"/>
                  </a:cubicBezTo>
                  <a:cubicBezTo>
                    <a:pt x="308" y="123"/>
                    <a:pt x="320" y="110"/>
                    <a:pt x="320" y="95"/>
                  </a:cubicBezTo>
                  <a:cubicBezTo>
                    <a:pt x="320" y="90"/>
                    <a:pt x="320" y="90"/>
                    <a:pt x="320" y="90"/>
                  </a:cubicBezTo>
                  <a:cubicBezTo>
                    <a:pt x="320" y="76"/>
                    <a:pt x="309" y="64"/>
                    <a:pt x="295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3CB4EC3E-533F-4676-8A58-B65F7ABBF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2969" y="-10291734"/>
              <a:ext cx="1446255" cy="430262"/>
            </a:xfrm>
            <a:custGeom>
              <a:avLst/>
              <a:gdLst>
                <a:gd name="T0" fmla="*/ 184 w 213"/>
                <a:gd name="T1" fmla="*/ 63 h 63"/>
                <a:gd name="T2" fmla="*/ 30 w 213"/>
                <a:gd name="T3" fmla="*/ 63 h 63"/>
                <a:gd name="T4" fmla="*/ 0 w 213"/>
                <a:gd name="T5" fmla="*/ 34 h 63"/>
                <a:gd name="T6" fmla="*/ 0 w 213"/>
                <a:gd name="T7" fmla="*/ 29 h 63"/>
                <a:gd name="T8" fmla="*/ 30 w 213"/>
                <a:gd name="T9" fmla="*/ 0 h 63"/>
                <a:gd name="T10" fmla="*/ 184 w 213"/>
                <a:gd name="T11" fmla="*/ 0 h 63"/>
                <a:gd name="T12" fmla="*/ 213 w 213"/>
                <a:gd name="T13" fmla="*/ 29 h 63"/>
                <a:gd name="T14" fmla="*/ 213 w 213"/>
                <a:gd name="T15" fmla="*/ 34 h 63"/>
                <a:gd name="T16" fmla="*/ 184 w 213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" h="63">
                  <a:moveTo>
                    <a:pt x="184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00" y="0"/>
                    <a:pt x="213" y="13"/>
                    <a:pt x="213" y="29"/>
                  </a:cubicBezTo>
                  <a:cubicBezTo>
                    <a:pt x="213" y="34"/>
                    <a:pt x="213" y="34"/>
                    <a:pt x="213" y="34"/>
                  </a:cubicBezTo>
                  <a:cubicBezTo>
                    <a:pt x="213" y="50"/>
                    <a:pt x="200" y="63"/>
                    <a:pt x="184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734C838C-F2F6-43B5-985F-5F07B0B80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657" y="-8632157"/>
              <a:ext cx="1442640" cy="426645"/>
            </a:xfrm>
            <a:custGeom>
              <a:avLst/>
              <a:gdLst>
                <a:gd name="T0" fmla="*/ 183 w 212"/>
                <a:gd name="T1" fmla="*/ 63 h 63"/>
                <a:gd name="T2" fmla="*/ 29 w 212"/>
                <a:gd name="T3" fmla="*/ 63 h 63"/>
                <a:gd name="T4" fmla="*/ 0 w 212"/>
                <a:gd name="T5" fmla="*/ 34 h 63"/>
                <a:gd name="T6" fmla="*/ 0 w 212"/>
                <a:gd name="T7" fmla="*/ 29 h 63"/>
                <a:gd name="T8" fmla="*/ 29 w 212"/>
                <a:gd name="T9" fmla="*/ 0 h 63"/>
                <a:gd name="T10" fmla="*/ 183 w 212"/>
                <a:gd name="T11" fmla="*/ 0 h 63"/>
                <a:gd name="T12" fmla="*/ 212 w 212"/>
                <a:gd name="T13" fmla="*/ 29 h 63"/>
                <a:gd name="T14" fmla="*/ 212 w 212"/>
                <a:gd name="T15" fmla="*/ 34 h 63"/>
                <a:gd name="T16" fmla="*/ 183 w 212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63">
                  <a:moveTo>
                    <a:pt x="183" y="63"/>
                  </a:move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99" y="0"/>
                    <a:pt x="212" y="13"/>
                    <a:pt x="212" y="29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50"/>
                    <a:pt x="199" y="63"/>
                    <a:pt x="183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15" name="Freeform: Shape 214">
            <a:extLst>
              <a:ext uri="{FF2B5EF4-FFF2-40B4-BE49-F238E27FC236}">
                <a16:creationId xmlns:a16="http://schemas.microsoft.com/office/drawing/2014/main" id="{C35E906F-45E1-45EA-93A8-CE89E7C15A4F}"/>
              </a:ext>
            </a:extLst>
          </p:cNvPr>
          <p:cNvSpPr>
            <a:spLocks/>
          </p:cNvSpPr>
          <p:nvPr/>
        </p:nvSpPr>
        <p:spPr bwMode="auto">
          <a:xfrm flipV="1">
            <a:off x="3650193" y="3195608"/>
            <a:ext cx="4887606" cy="2515355"/>
          </a:xfrm>
          <a:custGeom>
            <a:avLst/>
            <a:gdLst>
              <a:gd name="connsiteX0" fmla="*/ 101363 w 4887606"/>
              <a:gd name="connsiteY0" fmla="*/ 2515355 h 2515355"/>
              <a:gd name="connsiteX1" fmla="*/ 4786243 w 4887606"/>
              <a:gd name="connsiteY1" fmla="*/ 2515355 h 2515355"/>
              <a:gd name="connsiteX2" fmla="*/ 4887606 w 4887606"/>
              <a:gd name="connsiteY2" fmla="*/ 2414444 h 2515355"/>
              <a:gd name="connsiteX3" fmla="*/ 4786243 w 4887606"/>
              <a:gd name="connsiteY3" fmla="*/ 2316686 h 2515355"/>
              <a:gd name="connsiteX4" fmla="*/ 4777093 w 4887606"/>
              <a:gd name="connsiteY4" fmla="*/ 2316686 h 2515355"/>
              <a:gd name="connsiteX5" fmla="*/ 4764700 w 4887606"/>
              <a:gd name="connsiteY5" fmla="*/ 2316686 h 2515355"/>
              <a:gd name="connsiteX6" fmla="*/ 4764700 w 4887606"/>
              <a:gd name="connsiteY6" fmla="*/ 2304009 h 2515355"/>
              <a:gd name="connsiteX7" fmla="*/ 2442119 w 4887606"/>
              <a:gd name="connsiteY7" fmla="*/ 0 h 2515355"/>
              <a:gd name="connsiteX8" fmla="*/ 119538 w 4887606"/>
              <a:gd name="connsiteY8" fmla="*/ 2304009 h 2515355"/>
              <a:gd name="connsiteX9" fmla="*/ 119538 w 4887606"/>
              <a:gd name="connsiteY9" fmla="*/ 2316686 h 2515355"/>
              <a:gd name="connsiteX10" fmla="*/ 101363 w 4887606"/>
              <a:gd name="connsiteY10" fmla="*/ 2316686 h 2515355"/>
              <a:gd name="connsiteX11" fmla="*/ 0 w 4887606"/>
              <a:gd name="connsiteY11" fmla="*/ 2414444 h 2515355"/>
              <a:gd name="connsiteX12" fmla="*/ 101363 w 4887606"/>
              <a:gd name="connsiteY12" fmla="*/ 2515355 h 251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87606" h="2515355">
                <a:moveTo>
                  <a:pt x="101363" y="2515355"/>
                </a:moveTo>
                <a:cubicBezTo>
                  <a:pt x="101363" y="2515355"/>
                  <a:pt x="101363" y="2515355"/>
                  <a:pt x="4786243" y="2515355"/>
                </a:cubicBezTo>
                <a:cubicBezTo>
                  <a:pt x="4840092" y="2515355"/>
                  <a:pt x="4887606" y="2471206"/>
                  <a:pt x="4887606" y="2414444"/>
                </a:cubicBezTo>
                <a:cubicBezTo>
                  <a:pt x="4887606" y="2360835"/>
                  <a:pt x="4840092" y="2316686"/>
                  <a:pt x="4786243" y="2316686"/>
                </a:cubicBezTo>
                <a:cubicBezTo>
                  <a:pt x="4786243" y="2316686"/>
                  <a:pt x="4786243" y="2316686"/>
                  <a:pt x="4777093" y="2316686"/>
                </a:cubicBezTo>
                <a:lnTo>
                  <a:pt x="4764700" y="2316686"/>
                </a:lnTo>
                <a:cubicBezTo>
                  <a:pt x="4764700" y="2316686"/>
                  <a:pt x="4764700" y="2316686"/>
                  <a:pt x="4764700" y="2304009"/>
                </a:cubicBezTo>
                <a:cubicBezTo>
                  <a:pt x="4764700" y="1033160"/>
                  <a:pt x="3725401" y="0"/>
                  <a:pt x="2442119" y="0"/>
                </a:cubicBezTo>
                <a:cubicBezTo>
                  <a:pt x="1158838" y="0"/>
                  <a:pt x="119538" y="1033160"/>
                  <a:pt x="119538" y="2304009"/>
                </a:cubicBezTo>
                <a:cubicBezTo>
                  <a:pt x="119538" y="2304009"/>
                  <a:pt x="119538" y="2304009"/>
                  <a:pt x="119538" y="2316686"/>
                </a:cubicBezTo>
                <a:lnTo>
                  <a:pt x="101363" y="2316686"/>
                </a:lnTo>
                <a:cubicBezTo>
                  <a:pt x="44346" y="2316686"/>
                  <a:pt x="0" y="2360835"/>
                  <a:pt x="0" y="2414444"/>
                </a:cubicBezTo>
                <a:cubicBezTo>
                  <a:pt x="0" y="2471206"/>
                  <a:pt x="44346" y="2515355"/>
                  <a:pt x="101363" y="2515355"/>
                </a:cubicBezTo>
                <a:close/>
              </a:path>
            </a:pathLst>
          </a:custGeom>
          <a:gradFill>
            <a:gsLst>
              <a:gs pos="50000">
                <a:schemeClr val="accent2"/>
              </a:gs>
              <a:gs pos="0">
                <a:srgbClr val="3B40A3"/>
              </a:gs>
              <a:gs pos="100000">
                <a:srgbClr val="6F35A1"/>
              </a:gs>
            </a:gsLst>
            <a:lin ang="2700000" scaled="0"/>
          </a:gra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18" name="Freeform: Shape 617">
            <a:extLst>
              <a:ext uri="{FF2B5EF4-FFF2-40B4-BE49-F238E27FC236}">
                <a16:creationId xmlns:a16="http://schemas.microsoft.com/office/drawing/2014/main" id="{7C42A87E-90A7-492A-BB27-68AD9C613E57}"/>
              </a:ext>
            </a:extLst>
          </p:cNvPr>
          <p:cNvSpPr>
            <a:spLocks/>
          </p:cNvSpPr>
          <p:nvPr/>
        </p:nvSpPr>
        <p:spPr bwMode="auto">
          <a:xfrm flipV="1">
            <a:off x="3650193" y="3195608"/>
            <a:ext cx="4490166" cy="2081738"/>
          </a:xfrm>
          <a:custGeom>
            <a:avLst/>
            <a:gdLst>
              <a:gd name="connsiteX0" fmla="*/ 108446 w 4803915"/>
              <a:gd name="connsiteY0" fmla="*/ 2227201 h 2227201"/>
              <a:gd name="connsiteX1" fmla="*/ 4665315 w 4803915"/>
              <a:gd name="connsiteY1" fmla="*/ 2227201 h 2227201"/>
              <a:gd name="connsiteX2" fmla="*/ 4803915 w 4803915"/>
              <a:gd name="connsiteY2" fmla="*/ 2227201 h 2227201"/>
              <a:gd name="connsiteX3" fmla="*/ 4803205 w 4803915"/>
              <a:gd name="connsiteY3" fmla="*/ 2213258 h 2227201"/>
              <a:gd name="connsiteX4" fmla="*/ 2331157 w 4803915"/>
              <a:gd name="connsiteY4" fmla="*/ 0 h 2227201"/>
              <a:gd name="connsiteX5" fmla="*/ 413518 w 4803915"/>
              <a:gd name="connsiteY5" fmla="*/ 897752 h 2227201"/>
              <a:gd name="connsiteX6" fmla="*/ 356596 w 4803915"/>
              <a:gd name="connsiteY6" fmla="*/ 973300 h 2227201"/>
              <a:gd name="connsiteX7" fmla="*/ 323081 w 4803915"/>
              <a:gd name="connsiteY7" fmla="*/ 1042328 h 2227201"/>
              <a:gd name="connsiteX8" fmla="*/ 127891 w 4803915"/>
              <a:gd name="connsiteY8" fmla="*/ 2001088 h 2227201"/>
              <a:gd name="connsiteX9" fmla="*/ 127891 w 4803915"/>
              <a:gd name="connsiteY9" fmla="*/ 2014650 h 2227201"/>
              <a:gd name="connsiteX10" fmla="*/ 108446 w 4803915"/>
              <a:gd name="connsiteY10" fmla="*/ 2014650 h 2227201"/>
              <a:gd name="connsiteX11" fmla="*/ 0 w 4803915"/>
              <a:gd name="connsiteY11" fmla="*/ 2119239 h 2227201"/>
              <a:gd name="connsiteX12" fmla="*/ 108446 w 4803915"/>
              <a:gd name="connsiteY12" fmla="*/ 2227201 h 2227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3915" h="2227201">
                <a:moveTo>
                  <a:pt x="108446" y="2227201"/>
                </a:moveTo>
                <a:cubicBezTo>
                  <a:pt x="108446" y="2227201"/>
                  <a:pt x="108446" y="2227201"/>
                  <a:pt x="4665315" y="2227201"/>
                </a:cubicBezTo>
                <a:lnTo>
                  <a:pt x="4803915" y="2227201"/>
                </a:lnTo>
                <a:lnTo>
                  <a:pt x="4803205" y="2213258"/>
                </a:lnTo>
                <a:cubicBezTo>
                  <a:pt x="4676018" y="971502"/>
                  <a:pt x="3618298" y="0"/>
                  <a:pt x="2331157" y="0"/>
                </a:cubicBezTo>
                <a:cubicBezTo>
                  <a:pt x="1558872" y="0"/>
                  <a:pt x="869179" y="349741"/>
                  <a:pt x="413518" y="897752"/>
                </a:cubicBezTo>
                <a:lnTo>
                  <a:pt x="356596" y="973300"/>
                </a:lnTo>
                <a:lnTo>
                  <a:pt x="323081" y="1042328"/>
                </a:lnTo>
                <a:cubicBezTo>
                  <a:pt x="197386" y="1337156"/>
                  <a:pt x="127891" y="1661175"/>
                  <a:pt x="127891" y="2001088"/>
                </a:cubicBezTo>
                <a:cubicBezTo>
                  <a:pt x="127891" y="2001088"/>
                  <a:pt x="127891" y="2001088"/>
                  <a:pt x="127891" y="2014650"/>
                </a:cubicBezTo>
                <a:lnTo>
                  <a:pt x="108446" y="2014650"/>
                </a:lnTo>
                <a:cubicBezTo>
                  <a:pt x="47445" y="2014650"/>
                  <a:pt x="0" y="2061884"/>
                  <a:pt x="0" y="2119239"/>
                </a:cubicBezTo>
                <a:cubicBezTo>
                  <a:pt x="0" y="2179968"/>
                  <a:pt x="47445" y="2227201"/>
                  <a:pt x="108446" y="2227201"/>
                </a:cubicBezTo>
                <a:close/>
              </a:path>
            </a:pathLst>
          </a:custGeom>
          <a:solidFill>
            <a:schemeClr val="accent2">
              <a:lumMod val="50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38" name="Group 737">
            <a:extLst>
              <a:ext uri="{FF2B5EF4-FFF2-40B4-BE49-F238E27FC236}">
                <a16:creationId xmlns:a16="http://schemas.microsoft.com/office/drawing/2014/main" id="{D0AB1BC9-464C-47B1-901A-7748FFEEDCFB}"/>
              </a:ext>
            </a:extLst>
          </p:cNvPr>
          <p:cNvGrpSpPr/>
          <p:nvPr/>
        </p:nvGrpSpPr>
        <p:grpSpPr>
          <a:xfrm>
            <a:off x="3543743" y="1601845"/>
            <a:ext cx="4591915" cy="3571600"/>
            <a:chOff x="3543743" y="1684677"/>
            <a:chExt cx="4591915" cy="3571600"/>
          </a:xfrm>
        </p:grpSpPr>
        <p:grpSp>
          <p:nvGrpSpPr>
            <p:cNvPr id="510" name="Group 509">
              <a:extLst>
                <a:ext uri="{FF2B5EF4-FFF2-40B4-BE49-F238E27FC236}">
                  <a16:creationId xmlns:a16="http://schemas.microsoft.com/office/drawing/2014/main" id="{DC053A91-5356-45FA-AFC0-2277A2D9705F}"/>
                </a:ext>
              </a:extLst>
            </p:cNvPr>
            <p:cNvGrpSpPr/>
            <p:nvPr/>
          </p:nvGrpSpPr>
          <p:grpSpPr>
            <a:xfrm flipH="1">
              <a:off x="5638235" y="1684677"/>
              <a:ext cx="2497423" cy="1665740"/>
              <a:chOff x="-8774112" y="9498970"/>
              <a:chExt cx="4995863" cy="3332162"/>
            </a:xfrm>
          </p:grpSpPr>
          <p:grpSp>
            <p:nvGrpSpPr>
              <p:cNvPr id="511" name="Group 510">
                <a:extLst>
                  <a:ext uri="{FF2B5EF4-FFF2-40B4-BE49-F238E27FC236}">
                    <a16:creationId xmlns:a16="http://schemas.microsoft.com/office/drawing/2014/main" id="{4939101C-35B4-4A9A-8645-E49A75031DD6}"/>
                  </a:ext>
                </a:extLst>
              </p:cNvPr>
              <p:cNvGrpSpPr/>
              <p:nvPr/>
            </p:nvGrpSpPr>
            <p:grpSpPr>
              <a:xfrm>
                <a:off x="-6958012" y="9586283"/>
                <a:ext cx="339726" cy="1454149"/>
                <a:chOff x="-6958012" y="9586283"/>
                <a:chExt cx="339726" cy="1454149"/>
              </a:xfrm>
              <a:solidFill>
                <a:schemeClr val="accent4">
                  <a:lumMod val="50000"/>
                </a:schemeClr>
              </a:solidFill>
            </p:grpSpPr>
            <p:sp>
              <p:nvSpPr>
                <p:cNvPr id="586" name="Freeform 19">
                  <a:extLst>
                    <a:ext uri="{FF2B5EF4-FFF2-40B4-BE49-F238E27FC236}">
                      <a16:creationId xmlns:a16="http://schemas.microsoft.com/office/drawing/2014/main" id="{3A01AEE3-D848-4257-8910-26F7D5FFD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880224" y="9586283"/>
                  <a:ext cx="111125" cy="209550"/>
                </a:xfrm>
                <a:custGeom>
                  <a:avLst/>
                  <a:gdLst>
                    <a:gd name="T0" fmla="*/ 28 w 46"/>
                    <a:gd name="T1" fmla="*/ 86 h 86"/>
                    <a:gd name="T2" fmla="*/ 2 w 46"/>
                    <a:gd name="T3" fmla="*/ 34 h 86"/>
                    <a:gd name="T4" fmla="*/ 19 w 46"/>
                    <a:gd name="T5" fmla="*/ 1 h 86"/>
                    <a:gd name="T6" fmla="*/ 43 w 46"/>
                    <a:gd name="T7" fmla="*/ 29 h 86"/>
                    <a:gd name="T8" fmla="*/ 28 w 46"/>
                    <a:gd name="T9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6" h="86">
                      <a:moveTo>
                        <a:pt x="28" y="86"/>
                      </a:moveTo>
                      <a:cubicBezTo>
                        <a:pt x="28" y="86"/>
                        <a:pt x="5" y="64"/>
                        <a:pt x="2" y="34"/>
                      </a:cubicBezTo>
                      <a:cubicBezTo>
                        <a:pt x="0" y="22"/>
                        <a:pt x="8" y="2"/>
                        <a:pt x="19" y="1"/>
                      </a:cubicBezTo>
                      <a:cubicBezTo>
                        <a:pt x="30" y="0"/>
                        <a:pt x="41" y="13"/>
                        <a:pt x="43" y="29"/>
                      </a:cubicBezTo>
                      <a:cubicBezTo>
                        <a:pt x="46" y="59"/>
                        <a:pt x="28" y="86"/>
                        <a:pt x="28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7" name="Freeform 20">
                  <a:extLst>
                    <a:ext uri="{FF2B5EF4-FFF2-40B4-BE49-F238E27FC236}">
                      <a16:creationId xmlns:a16="http://schemas.microsoft.com/office/drawing/2014/main" id="{FFFDF4DC-A4CE-43C5-AE51-4CCEDA1CC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88149" y="9768845"/>
                  <a:ext cx="138113" cy="149225"/>
                </a:xfrm>
                <a:custGeom>
                  <a:avLst/>
                  <a:gdLst>
                    <a:gd name="T0" fmla="*/ 0 w 57"/>
                    <a:gd name="T1" fmla="*/ 62 h 62"/>
                    <a:gd name="T2" fmla="*/ 18 w 57"/>
                    <a:gd name="T3" fmla="*/ 14 h 62"/>
                    <a:gd name="T4" fmla="*/ 49 w 57"/>
                    <a:gd name="T5" fmla="*/ 7 h 62"/>
                    <a:gd name="T6" fmla="*/ 45 w 57"/>
                    <a:gd name="T7" fmla="*/ 38 h 62"/>
                    <a:gd name="T8" fmla="*/ 0 w 57"/>
                    <a:gd name="T9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62">
                      <a:moveTo>
                        <a:pt x="0" y="62"/>
                      </a:moveTo>
                      <a:cubicBezTo>
                        <a:pt x="0" y="62"/>
                        <a:pt x="0" y="33"/>
                        <a:pt x="18" y="14"/>
                      </a:cubicBezTo>
                      <a:cubicBezTo>
                        <a:pt x="24" y="6"/>
                        <a:pt x="41" y="0"/>
                        <a:pt x="49" y="7"/>
                      </a:cubicBezTo>
                      <a:cubicBezTo>
                        <a:pt x="57" y="13"/>
                        <a:pt x="55" y="28"/>
                        <a:pt x="45" y="38"/>
                      </a:cubicBezTo>
                      <a:cubicBezTo>
                        <a:pt x="28" y="58"/>
                        <a:pt x="0" y="62"/>
                        <a:pt x="0" y="6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8" name="Freeform 21">
                  <a:extLst>
                    <a:ext uri="{FF2B5EF4-FFF2-40B4-BE49-F238E27FC236}">
                      <a16:creationId xmlns:a16="http://schemas.microsoft.com/office/drawing/2014/main" id="{21B6E8C6-869A-4AAA-A006-91A583A09E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91324" y="9964108"/>
                  <a:ext cx="173038" cy="117475"/>
                </a:xfrm>
                <a:custGeom>
                  <a:avLst/>
                  <a:gdLst>
                    <a:gd name="T0" fmla="*/ 0 w 71"/>
                    <a:gd name="T1" fmla="*/ 40 h 48"/>
                    <a:gd name="T2" fmla="*/ 36 w 71"/>
                    <a:gd name="T3" fmla="*/ 4 h 48"/>
                    <a:gd name="T4" fmla="*/ 67 w 71"/>
                    <a:gd name="T5" fmla="*/ 10 h 48"/>
                    <a:gd name="T6" fmla="*/ 51 w 71"/>
                    <a:gd name="T7" fmla="*/ 38 h 48"/>
                    <a:gd name="T8" fmla="*/ 0 w 71"/>
                    <a:gd name="T9" fmla="*/ 4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1" h="48">
                      <a:moveTo>
                        <a:pt x="0" y="40"/>
                      </a:moveTo>
                      <a:cubicBezTo>
                        <a:pt x="0" y="40"/>
                        <a:pt x="12" y="15"/>
                        <a:pt x="36" y="4"/>
                      </a:cubicBezTo>
                      <a:cubicBezTo>
                        <a:pt x="45" y="0"/>
                        <a:pt x="63" y="1"/>
                        <a:pt x="67" y="10"/>
                      </a:cubicBezTo>
                      <a:cubicBezTo>
                        <a:pt x="71" y="20"/>
                        <a:pt x="64" y="32"/>
                        <a:pt x="51" y="38"/>
                      </a:cubicBezTo>
                      <a:cubicBezTo>
                        <a:pt x="27" y="48"/>
                        <a:pt x="0" y="40"/>
                        <a:pt x="0" y="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9" name="Freeform 22">
                  <a:extLst>
                    <a:ext uri="{FF2B5EF4-FFF2-40B4-BE49-F238E27FC236}">
                      <a16:creationId xmlns:a16="http://schemas.microsoft.com/office/drawing/2014/main" id="{FE814CE9-83BA-42A1-99AB-0969D82DE9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58012" y="9814883"/>
                  <a:ext cx="166688" cy="114300"/>
                </a:xfrm>
                <a:custGeom>
                  <a:avLst/>
                  <a:gdLst>
                    <a:gd name="T0" fmla="*/ 69 w 69"/>
                    <a:gd name="T1" fmla="*/ 44 h 47"/>
                    <a:gd name="T2" fmla="*/ 20 w 69"/>
                    <a:gd name="T3" fmla="*/ 34 h 47"/>
                    <a:gd name="T4" fmla="*/ 5 w 69"/>
                    <a:gd name="T5" fmla="*/ 8 h 47"/>
                    <a:gd name="T6" fmla="*/ 35 w 69"/>
                    <a:gd name="T7" fmla="*/ 7 h 47"/>
                    <a:gd name="T8" fmla="*/ 69 w 69"/>
                    <a:gd name="T9" fmla="*/ 44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47">
                      <a:moveTo>
                        <a:pt x="69" y="44"/>
                      </a:moveTo>
                      <a:cubicBezTo>
                        <a:pt x="69" y="44"/>
                        <a:pt x="43" y="47"/>
                        <a:pt x="20" y="34"/>
                      </a:cubicBezTo>
                      <a:cubicBezTo>
                        <a:pt x="11" y="29"/>
                        <a:pt x="0" y="15"/>
                        <a:pt x="5" y="8"/>
                      </a:cubicBezTo>
                      <a:cubicBezTo>
                        <a:pt x="9" y="0"/>
                        <a:pt x="23" y="0"/>
                        <a:pt x="35" y="7"/>
                      </a:cubicBezTo>
                      <a:cubicBezTo>
                        <a:pt x="58" y="20"/>
                        <a:pt x="69" y="44"/>
                        <a:pt x="69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0" name="Freeform 23">
                  <a:extLst>
                    <a:ext uri="{FF2B5EF4-FFF2-40B4-BE49-F238E27FC236}">
                      <a16:creationId xmlns:a16="http://schemas.microsoft.com/office/drawing/2014/main" id="{04A3F82F-9804-4332-A526-D76C5F9E9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48487" y="9954583"/>
                  <a:ext cx="165100" cy="117475"/>
                </a:xfrm>
                <a:custGeom>
                  <a:avLst/>
                  <a:gdLst>
                    <a:gd name="T0" fmla="*/ 68 w 68"/>
                    <a:gd name="T1" fmla="*/ 44 h 48"/>
                    <a:gd name="T2" fmla="*/ 19 w 68"/>
                    <a:gd name="T3" fmla="*/ 35 h 48"/>
                    <a:gd name="T4" fmla="*/ 4 w 68"/>
                    <a:gd name="T5" fmla="*/ 8 h 48"/>
                    <a:gd name="T6" fmla="*/ 35 w 68"/>
                    <a:gd name="T7" fmla="*/ 7 h 48"/>
                    <a:gd name="T8" fmla="*/ 68 w 68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48">
                      <a:moveTo>
                        <a:pt x="68" y="44"/>
                      </a:moveTo>
                      <a:cubicBezTo>
                        <a:pt x="68" y="44"/>
                        <a:pt x="42" y="48"/>
                        <a:pt x="19" y="35"/>
                      </a:cubicBezTo>
                      <a:cubicBezTo>
                        <a:pt x="11" y="30"/>
                        <a:pt x="0" y="15"/>
                        <a:pt x="4" y="8"/>
                      </a:cubicBezTo>
                      <a:cubicBezTo>
                        <a:pt x="9" y="0"/>
                        <a:pt x="23" y="0"/>
                        <a:pt x="35" y="7"/>
                      </a:cubicBezTo>
                      <a:cubicBezTo>
                        <a:pt x="58" y="20"/>
                        <a:pt x="68" y="44"/>
                        <a:pt x="68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1" name="Freeform 24">
                  <a:extLst>
                    <a:ext uri="{FF2B5EF4-FFF2-40B4-BE49-F238E27FC236}">
                      <a16:creationId xmlns:a16="http://schemas.microsoft.com/office/drawing/2014/main" id="{D58106B7-99EA-4F04-BF70-F554331958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35787" y="10165720"/>
                  <a:ext cx="130175" cy="104775"/>
                </a:xfrm>
                <a:custGeom>
                  <a:avLst/>
                  <a:gdLst>
                    <a:gd name="T0" fmla="*/ 54 w 54"/>
                    <a:gd name="T1" fmla="*/ 37 h 43"/>
                    <a:gd name="T2" fmla="*/ 14 w 54"/>
                    <a:gd name="T3" fmla="*/ 33 h 43"/>
                    <a:gd name="T4" fmla="*/ 5 w 54"/>
                    <a:gd name="T5" fmla="*/ 9 h 43"/>
                    <a:gd name="T6" fmla="*/ 30 w 54"/>
                    <a:gd name="T7" fmla="*/ 5 h 43"/>
                    <a:gd name="T8" fmla="*/ 54 w 54"/>
                    <a:gd name="T9" fmla="*/ 37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" h="43">
                      <a:moveTo>
                        <a:pt x="54" y="37"/>
                      </a:moveTo>
                      <a:cubicBezTo>
                        <a:pt x="54" y="37"/>
                        <a:pt x="32" y="43"/>
                        <a:pt x="14" y="33"/>
                      </a:cubicBezTo>
                      <a:cubicBezTo>
                        <a:pt x="8" y="29"/>
                        <a:pt x="0" y="17"/>
                        <a:pt x="5" y="9"/>
                      </a:cubicBezTo>
                      <a:cubicBezTo>
                        <a:pt x="9" y="1"/>
                        <a:pt x="21" y="0"/>
                        <a:pt x="30" y="5"/>
                      </a:cubicBezTo>
                      <a:cubicBezTo>
                        <a:pt x="48" y="15"/>
                        <a:pt x="54" y="37"/>
                        <a:pt x="54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2" name="Freeform 25">
                  <a:extLst>
                    <a:ext uri="{FF2B5EF4-FFF2-40B4-BE49-F238E27FC236}">
                      <a16:creationId xmlns:a16="http://schemas.microsoft.com/office/drawing/2014/main" id="{03B46727-6D10-40E6-9299-D8D3EB8D7A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97674" y="10160958"/>
                  <a:ext cx="133350" cy="100012"/>
                </a:xfrm>
                <a:custGeom>
                  <a:avLst/>
                  <a:gdLst>
                    <a:gd name="T0" fmla="*/ 0 w 55"/>
                    <a:gd name="T1" fmla="*/ 39 h 41"/>
                    <a:gd name="T2" fmla="*/ 26 w 55"/>
                    <a:gd name="T3" fmla="*/ 7 h 41"/>
                    <a:gd name="T4" fmla="*/ 51 w 55"/>
                    <a:gd name="T5" fmla="*/ 7 h 41"/>
                    <a:gd name="T6" fmla="*/ 40 w 55"/>
                    <a:gd name="T7" fmla="*/ 29 h 41"/>
                    <a:gd name="T8" fmla="*/ 0 w 55"/>
                    <a:gd name="T9" fmla="*/ 39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5" h="41">
                      <a:moveTo>
                        <a:pt x="0" y="39"/>
                      </a:moveTo>
                      <a:cubicBezTo>
                        <a:pt x="0" y="39"/>
                        <a:pt x="8" y="18"/>
                        <a:pt x="26" y="7"/>
                      </a:cubicBezTo>
                      <a:cubicBezTo>
                        <a:pt x="32" y="3"/>
                        <a:pt x="47" y="0"/>
                        <a:pt x="51" y="7"/>
                      </a:cubicBezTo>
                      <a:cubicBezTo>
                        <a:pt x="55" y="13"/>
                        <a:pt x="49" y="23"/>
                        <a:pt x="40" y="29"/>
                      </a:cubicBezTo>
                      <a:cubicBezTo>
                        <a:pt x="22" y="41"/>
                        <a:pt x="0" y="39"/>
                        <a:pt x="0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3" name="Freeform 26">
                  <a:extLst>
                    <a:ext uri="{FF2B5EF4-FFF2-40B4-BE49-F238E27FC236}">
                      <a16:creationId xmlns:a16="http://schemas.microsoft.com/office/drawing/2014/main" id="{94BCB61E-0EA6-43F7-959B-ED4BCDE463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892924" y="9759320"/>
                  <a:ext cx="192088" cy="1281112"/>
                </a:xfrm>
                <a:custGeom>
                  <a:avLst/>
                  <a:gdLst>
                    <a:gd name="T0" fmla="*/ 67 w 79"/>
                    <a:gd name="T1" fmla="*/ 527 h 529"/>
                    <a:gd name="T2" fmla="*/ 79 w 79"/>
                    <a:gd name="T3" fmla="*/ 528 h 529"/>
                    <a:gd name="T4" fmla="*/ 78 w 79"/>
                    <a:gd name="T5" fmla="*/ 523 h 529"/>
                    <a:gd name="T6" fmla="*/ 78 w 79"/>
                    <a:gd name="T7" fmla="*/ 526 h 529"/>
                    <a:gd name="T8" fmla="*/ 78 w 79"/>
                    <a:gd name="T9" fmla="*/ 523 h 529"/>
                    <a:gd name="T10" fmla="*/ 52 w 79"/>
                    <a:gd name="T11" fmla="*/ 512 h 529"/>
                    <a:gd name="T12" fmla="*/ 24 w 79"/>
                    <a:gd name="T13" fmla="*/ 434 h 529"/>
                    <a:gd name="T14" fmla="*/ 37 w 79"/>
                    <a:gd name="T15" fmla="*/ 222 h 529"/>
                    <a:gd name="T16" fmla="*/ 37 w 79"/>
                    <a:gd name="T17" fmla="*/ 25 h 529"/>
                    <a:gd name="T18" fmla="*/ 34 w 79"/>
                    <a:gd name="T19" fmla="*/ 0 h 529"/>
                    <a:gd name="T20" fmla="*/ 28 w 79"/>
                    <a:gd name="T21" fmla="*/ 0 h 529"/>
                    <a:gd name="T22" fmla="*/ 32 w 79"/>
                    <a:gd name="T23" fmla="*/ 26 h 529"/>
                    <a:gd name="T24" fmla="*/ 32 w 79"/>
                    <a:gd name="T25" fmla="*/ 221 h 529"/>
                    <a:gd name="T26" fmla="*/ 49 w 79"/>
                    <a:gd name="T27" fmla="*/ 516 h 529"/>
                    <a:gd name="T28" fmla="*/ 67 w 79"/>
                    <a:gd name="T29" fmla="*/ 527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9" h="529">
                      <a:moveTo>
                        <a:pt x="67" y="527"/>
                      </a:moveTo>
                      <a:cubicBezTo>
                        <a:pt x="74" y="529"/>
                        <a:pt x="78" y="528"/>
                        <a:pt x="79" y="528"/>
                      </a:cubicBezTo>
                      <a:cubicBezTo>
                        <a:pt x="78" y="523"/>
                        <a:pt x="78" y="523"/>
                        <a:pt x="78" y="523"/>
                      </a:cubicBezTo>
                      <a:cubicBezTo>
                        <a:pt x="78" y="526"/>
                        <a:pt x="78" y="526"/>
                        <a:pt x="78" y="526"/>
                      </a:cubicBezTo>
                      <a:cubicBezTo>
                        <a:pt x="78" y="523"/>
                        <a:pt x="78" y="523"/>
                        <a:pt x="78" y="523"/>
                      </a:cubicBezTo>
                      <a:cubicBezTo>
                        <a:pt x="77" y="523"/>
                        <a:pt x="65" y="525"/>
                        <a:pt x="52" y="512"/>
                      </a:cubicBezTo>
                      <a:cubicBezTo>
                        <a:pt x="38" y="498"/>
                        <a:pt x="29" y="471"/>
                        <a:pt x="24" y="434"/>
                      </a:cubicBezTo>
                      <a:cubicBezTo>
                        <a:pt x="18" y="382"/>
                        <a:pt x="23" y="311"/>
                        <a:pt x="37" y="222"/>
                      </a:cubicBezTo>
                      <a:cubicBezTo>
                        <a:pt x="54" y="118"/>
                        <a:pt x="44" y="62"/>
                        <a:pt x="37" y="25"/>
                      </a:cubicBezTo>
                      <a:cubicBezTo>
                        <a:pt x="36" y="15"/>
                        <a:pt x="34" y="7"/>
                        <a:pt x="34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9" y="8"/>
                        <a:pt x="30" y="16"/>
                        <a:pt x="32" y="26"/>
                      </a:cubicBezTo>
                      <a:cubicBezTo>
                        <a:pt x="39" y="63"/>
                        <a:pt x="49" y="118"/>
                        <a:pt x="32" y="221"/>
                      </a:cubicBezTo>
                      <a:cubicBezTo>
                        <a:pt x="0" y="419"/>
                        <a:pt x="23" y="491"/>
                        <a:pt x="49" y="516"/>
                      </a:cubicBezTo>
                      <a:cubicBezTo>
                        <a:pt x="56" y="523"/>
                        <a:pt x="62" y="526"/>
                        <a:pt x="67" y="52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12" name="Freeform 39">
                <a:extLst>
                  <a:ext uri="{FF2B5EF4-FFF2-40B4-BE49-F238E27FC236}">
                    <a16:creationId xmlns:a16="http://schemas.microsoft.com/office/drawing/2014/main" id="{AAB8358D-9C8B-419D-865D-86497B39D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774112" y="11537320"/>
                <a:ext cx="2605088" cy="1165225"/>
              </a:xfrm>
              <a:custGeom>
                <a:avLst/>
                <a:gdLst>
                  <a:gd name="T0" fmla="*/ 1019 w 1076"/>
                  <a:gd name="T1" fmla="*/ 433 h 481"/>
                  <a:gd name="T2" fmla="*/ 596 w 1076"/>
                  <a:gd name="T3" fmla="*/ 49 h 481"/>
                  <a:gd name="T4" fmla="*/ 737 w 1076"/>
                  <a:gd name="T5" fmla="*/ 305 h 481"/>
                  <a:gd name="T6" fmla="*/ 531 w 1076"/>
                  <a:gd name="T7" fmla="*/ 165 h 481"/>
                  <a:gd name="T8" fmla="*/ 469 w 1076"/>
                  <a:gd name="T9" fmla="*/ 307 h 481"/>
                  <a:gd name="T10" fmla="*/ 382 w 1076"/>
                  <a:gd name="T11" fmla="*/ 234 h 481"/>
                  <a:gd name="T12" fmla="*/ 277 w 1076"/>
                  <a:gd name="T13" fmla="*/ 320 h 481"/>
                  <a:gd name="T14" fmla="*/ 579 w 1076"/>
                  <a:gd name="T15" fmla="*/ 375 h 481"/>
                  <a:gd name="T16" fmla="*/ 100 w 1076"/>
                  <a:gd name="T17" fmla="*/ 344 h 481"/>
                  <a:gd name="T18" fmla="*/ 1019 w 1076"/>
                  <a:gd name="T19" fmla="*/ 433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6" h="481">
                    <a:moveTo>
                      <a:pt x="1019" y="433"/>
                    </a:moveTo>
                    <a:cubicBezTo>
                      <a:pt x="1076" y="425"/>
                      <a:pt x="721" y="0"/>
                      <a:pt x="596" y="49"/>
                    </a:cubicBezTo>
                    <a:cubicBezTo>
                      <a:pt x="427" y="115"/>
                      <a:pt x="588" y="238"/>
                      <a:pt x="737" y="305"/>
                    </a:cubicBezTo>
                    <a:cubicBezTo>
                      <a:pt x="885" y="373"/>
                      <a:pt x="569" y="186"/>
                      <a:pt x="531" y="165"/>
                    </a:cubicBezTo>
                    <a:cubicBezTo>
                      <a:pt x="398" y="91"/>
                      <a:pt x="229" y="234"/>
                      <a:pt x="469" y="307"/>
                    </a:cubicBezTo>
                    <a:cubicBezTo>
                      <a:pt x="709" y="380"/>
                      <a:pt x="495" y="257"/>
                      <a:pt x="382" y="234"/>
                    </a:cubicBezTo>
                    <a:cubicBezTo>
                      <a:pt x="269" y="211"/>
                      <a:pt x="31" y="221"/>
                      <a:pt x="277" y="320"/>
                    </a:cubicBezTo>
                    <a:cubicBezTo>
                      <a:pt x="523" y="420"/>
                      <a:pt x="646" y="409"/>
                      <a:pt x="579" y="375"/>
                    </a:cubicBezTo>
                    <a:cubicBezTo>
                      <a:pt x="513" y="342"/>
                      <a:pt x="0" y="232"/>
                      <a:pt x="100" y="344"/>
                    </a:cubicBezTo>
                    <a:cubicBezTo>
                      <a:pt x="199" y="457"/>
                      <a:pt x="679" y="481"/>
                      <a:pt x="1019" y="433"/>
                    </a:cubicBez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Freeform 72">
                <a:extLst>
                  <a:ext uri="{FF2B5EF4-FFF2-40B4-BE49-F238E27FC236}">
                    <a16:creationId xmlns:a16="http://schemas.microsoft.com/office/drawing/2014/main" id="{BCADAAD8-7216-477A-96EF-0BD88F4B3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70737" y="10684833"/>
                <a:ext cx="3392488" cy="1279525"/>
              </a:xfrm>
              <a:custGeom>
                <a:avLst/>
                <a:gdLst>
                  <a:gd name="T0" fmla="*/ 1361 w 1401"/>
                  <a:gd name="T1" fmla="*/ 528 h 528"/>
                  <a:gd name="T2" fmla="*/ 1267 w 1401"/>
                  <a:gd name="T3" fmla="*/ 457 h 528"/>
                  <a:gd name="T4" fmla="*/ 991 w 1401"/>
                  <a:gd name="T5" fmla="*/ 461 h 528"/>
                  <a:gd name="T6" fmla="*/ 1203 w 1401"/>
                  <a:gd name="T7" fmla="*/ 236 h 528"/>
                  <a:gd name="T8" fmla="*/ 938 w 1401"/>
                  <a:gd name="T9" fmla="*/ 300 h 528"/>
                  <a:gd name="T10" fmla="*/ 1056 w 1401"/>
                  <a:gd name="T11" fmla="*/ 114 h 528"/>
                  <a:gd name="T12" fmla="*/ 705 w 1401"/>
                  <a:gd name="T13" fmla="*/ 271 h 528"/>
                  <a:gd name="T14" fmla="*/ 804 w 1401"/>
                  <a:gd name="T15" fmla="*/ 76 h 528"/>
                  <a:gd name="T16" fmla="*/ 634 w 1401"/>
                  <a:gd name="T17" fmla="*/ 137 h 528"/>
                  <a:gd name="T18" fmla="*/ 564 w 1401"/>
                  <a:gd name="T19" fmla="*/ 54 h 528"/>
                  <a:gd name="T20" fmla="*/ 442 w 1401"/>
                  <a:gd name="T21" fmla="*/ 195 h 528"/>
                  <a:gd name="T22" fmla="*/ 150 w 1401"/>
                  <a:gd name="T23" fmla="*/ 32 h 528"/>
                  <a:gd name="T24" fmla="*/ 172 w 1401"/>
                  <a:gd name="T25" fmla="*/ 491 h 528"/>
                  <a:gd name="T26" fmla="*/ 1361 w 1401"/>
                  <a:gd name="T27" fmla="*/ 528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01" h="528">
                    <a:moveTo>
                      <a:pt x="1361" y="528"/>
                    </a:moveTo>
                    <a:cubicBezTo>
                      <a:pt x="1382" y="499"/>
                      <a:pt x="1358" y="473"/>
                      <a:pt x="1267" y="457"/>
                    </a:cubicBezTo>
                    <a:cubicBezTo>
                      <a:pt x="1167" y="439"/>
                      <a:pt x="1070" y="446"/>
                      <a:pt x="991" y="461"/>
                    </a:cubicBezTo>
                    <a:cubicBezTo>
                      <a:pt x="1180" y="377"/>
                      <a:pt x="1401" y="257"/>
                      <a:pt x="1203" y="236"/>
                    </a:cubicBezTo>
                    <a:cubicBezTo>
                      <a:pt x="1142" y="230"/>
                      <a:pt x="1046" y="257"/>
                      <a:pt x="938" y="300"/>
                    </a:cubicBezTo>
                    <a:cubicBezTo>
                      <a:pt x="1059" y="208"/>
                      <a:pt x="1127" y="131"/>
                      <a:pt x="1056" y="114"/>
                    </a:cubicBezTo>
                    <a:cubicBezTo>
                      <a:pt x="990" y="98"/>
                      <a:pt x="852" y="172"/>
                      <a:pt x="705" y="271"/>
                    </a:cubicBezTo>
                    <a:cubicBezTo>
                      <a:pt x="790" y="187"/>
                      <a:pt x="840" y="113"/>
                      <a:pt x="804" y="76"/>
                    </a:cubicBezTo>
                    <a:cubicBezTo>
                      <a:pt x="775" y="46"/>
                      <a:pt x="710" y="77"/>
                      <a:pt x="634" y="137"/>
                    </a:cubicBezTo>
                    <a:cubicBezTo>
                      <a:pt x="639" y="82"/>
                      <a:pt x="617" y="49"/>
                      <a:pt x="564" y="54"/>
                    </a:cubicBezTo>
                    <a:cubicBezTo>
                      <a:pt x="515" y="58"/>
                      <a:pt x="473" y="120"/>
                      <a:pt x="442" y="195"/>
                    </a:cubicBezTo>
                    <a:cubicBezTo>
                      <a:pt x="399" y="76"/>
                      <a:pt x="276" y="0"/>
                      <a:pt x="150" y="32"/>
                    </a:cubicBezTo>
                    <a:cubicBezTo>
                      <a:pt x="0" y="69"/>
                      <a:pt x="110" y="355"/>
                      <a:pt x="172" y="491"/>
                    </a:cubicBezTo>
                    <a:lnTo>
                      <a:pt x="1361" y="528"/>
                    </a:lnTo>
                    <a:close/>
                  </a:path>
                </a:pathLst>
              </a:custGeom>
              <a:solidFill>
                <a:srgbClr val="2805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Freeform 73">
                <a:extLst>
                  <a:ext uri="{FF2B5EF4-FFF2-40B4-BE49-F238E27FC236}">
                    <a16:creationId xmlns:a16="http://schemas.microsoft.com/office/drawing/2014/main" id="{EEB33CB4-24DC-415D-9204-997FA2901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304212" y="10521320"/>
                <a:ext cx="2160588" cy="2066925"/>
              </a:xfrm>
              <a:custGeom>
                <a:avLst/>
                <a:gdLst>
                  <a:gd name="T0" fmla="*/ 844 w 892"/>
                  <a:gd name="T1" fmla="*/ 853 h 853"/>
                  <a:gd name="T2" fmla="*/ 836 w 892"/>
                  <a:gd name="T3" fmla="*/ 575 h 853"/>
                  <a:gd name="T4" fmla="*/ 802 w 892"/>
                  <a:gd name="T5" fmla="*/ 472 h 853"/>
                  <a:gd name="T6" fmla="*/ 715 w 892"/>
                  <a:gd name="T7" fmla="*/ 433 h 853"/>
                  <a:gd name="T8" fmla="*/ 540 w 892"/>
                  <a:gd name="T9" fmla="*/ 230 h 853"/>
                  <a:gd name="T10" fmla="*/ 441 w 892"/>
                  <a:gd name="T11" fmla="*/ 204 h 853"/>
                  <a:gd name="T12" fmla="*/ 341 w 892"/>
                  <a:gd name="T13" fmla="*/ 98 h 853"/>
                  <a:gd name="T14" fmla="*/ 232 w 892"/>
                  <a:gd name="T15" fmla="*/ 124 h 853"/>
                  <a:gd name="T16" fmla="*/ 145 w 892"/>
                  <a:gd name="T17" fmla="*/ 22 h 853"/>
                  <a:gd name="T18" fmla="*/ 108 w 892"/>
                  <a:gd name="T19" fmla="*/ 169 h 853"/>
                  <a:gd name="T20" fmla="*/ 101 w 892"/>
                  <a:gd name="T21" fmla="*/ 295 h 853"/>
                  <a:gd name="T22" fmla="*/ 80 w 892"/>
                  <a:gd name="T23" fmla="*/ 388 h 853"/>
                  <a:gd name="T24" fmla="*/ 207 w 892"/>
                  <a:gd name="T25" fmla="*/ 511 h 853"/>
                  <a:gd name="T26" fmla="*/ 244 w 892"/>
                  <a:gd name="T27" fmla="*/ 621 h 853"/>
                  <a:gd name="T28" fmla="*/ 373 w 892"/>
                  <a:gd name="T29" fmla="*/ 662 h 853"/>
                  <a:gd name="T30" fmla="*/ 422 w 892"/>
                  <a:gd name="T31" fmla="*/ 765 h 853"/>
                  <a:gd name="T32" fmla="*/ 844 w 892"/>
                  <a:gd name="T33" fmla="*/ 853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92" h="853">
                    <a:moveTo>
                      <a:pt x="844" y="853"/>
                    </a:moveTo>
                    <a:cubicBezTo>
                      <a:pt x="839" y="833"/>
                      <a:pt x="765" y="677"/>
                      <a:pt x="836" y="575"/>
                    </a:cubicBezTo>
                    <a:cubicBezTo>
                      <a:pt x="892" y="495"/>
                      <a:pt x="846" y="474"/>
                      <a:pt x="802" y="472"/>
                    </a:cubicBezTo>
                    <a:cubicBezTo>
                      <a:pt x="758" y="470"/>
                      <a:pt x="716" y="488"/>
                      <a:pt x="715" y="433"/>
                    </a:cubicBezTo>
                    <a:cubicBezTo>
                      <a:pt x="709" y="251"/>
                      <a:pt x="589" y="116"/>
                      <a:pt x="540" y="230"/>
                    </a:cubicBezTo>
                    <a:cubicBezTo>
                      <a:pt x="514" y="291"/>
                      <a:pt x="443" y="250"/>
                      <a:pt x="441" y="204"/>
                    </a:cubicBezTo>
                    <a:cubicBezTo>
                      <a:pt x="436" y="106"/>
                      <a:pt x="388" y="43"/>
                      <a:pt x="341" y="98"/>
                    </a:cubicBezTo>
                    <a:cubicBezTo>
                      <a:pt x="294" y="152"/>
                      <a:pt x="249" y="164"/>
                      <a:pt x="232" y="124"/>
                    </a:cubicBezTo>
                    <a:cubicBezTo>
                      <a:pt x="215" y="84"/>
                      <a:pt x="225" y="0"/>
                      <a:pt x="145" y="22"/>
                    </a:cubicBezTo>
                    <a:cubicBezTo>
                      <a:pt x="113" y="30"/>
                      <a:pt x="82" y="107"/>
                      <a:pt x="108" y="169"/>
                    </a:cubicBezTo>
                    <a:cubicBezTo>
                      <a:pt x="123" y="205"/>
                      <a:pt x="198" y="302"/>
                      <a:pt x="101" y="295"/>
                    </a:cubicBezTo>
                    <a:cubicBezTo>
                      <a:pt x="0" y="288"/>
                      <a:pt x="30" y="364"/>
                      <a:pt x="80" y="388"/>
                    </a:cubicBezTo>
                    <a:cubicBezTo>
                      <a:pt x="99" y="396"/>
                      <a:pt x="267" y="491"/>
                      <a:pt x="207" y="511"/>
                    </a:cubicBezTo>
                    <a:cubicBezTo>
                      <a:pt x="136" y="534"/>
                      <a:pt x="152" y="598"/>
                      <a:pt x="244" y="621"/>
                    </a:cubicBezTo>
                    <a:cubicBezTo>
                      <a:pt x="287" y="631"/>
                      <a:pt x="385" y="626"/>
                      <a:pt x="373" y="662"/>
                    </a:cubicBezTo>
                    <a:cubicBezTo>
                      <a:pt x="362" y="697"/>
                      <a:pt x="357" y="750"/>
                      <a:pt x="422" y="765"/>
                    </a:cubicBezTo>
                    <a:cubicBezTo>
                      <a:pt x="534" y="791"/>
                      <a:pt x="835" y="811"/>
                      <a:pt x="844" y="853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Freeform 74">
                <a:extLst>
                  <a:ext uri="{FF2B5EF4-FFF2-40B4-BE49-F238E27FC236}">
                    <a16:creationId xmlns:a16="http://schemas.microsoft.com/office/drawing/2014/main" id="{A3C2D114-F961-4015-941F-450373006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75599" y="10718170"/>
                <a:ext cx="1935163" cy="2112962"/>
              </a:xfrm>
              <a:custGeom>
                <a:avLst/>
                <a:gdLst>
                  <a:gd name="T0" fmla="*/ 0 w 799"/>
                  <a:gd name="T1" fmla="*/ 0 h 872"/>
                  <a:gd name="T2" fmla="*/ 322 w 799"/>
                  <a:gd name="T3" fmla="*/ 459 h 872"/>
                  <a:gd name="T4" fmla="*/ 799 w 799"/>
                  <a:gd name="T5" fmla="*/ 872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9" h="872">
                    <a:moveTo>
                      <a:pt x="0" y="0"/>
                    </a:moveTo>
                    <a:cubicBezTo>
                      <a:pt x="0" y="0"/>
                      <a:pt x="74" y="265"/>
                      <a:pt x="322" y="459"/>
                    </a:cubicBezTo>
                    <a:cubicBezTo>
                      <a:pt x="570" y="653"/>
                      <a:pt x="681" y="720"/>
                      <a:pt x="799" y="872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Freeform 75">
                <a:extLst>
                  <a:ext uri="{FF2B5EF4-FFF2-40B4-BE49-F238E27FC236}">
                    <a16:creationId xmlns:a16="http://schemas.microsoft.com/office/drawing/2014/main" id="{5BF2DEE7-E5E5-459C-934F-0E556B14D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588249" y="10970583"/>
                <a:ext cx="133350" cy="579437"/>
              </a:xfrm>
              <a:custGeom>
                <a:avLst/>
                <a:gdLst>
                  <a:gd name="T0" fmla="*/ 55 w 55"/>
                  <a:gd name="T1" fmla="*/ 0 h 239"/>
                  <a:gd name="T2" fmla="*/ 39 w 55"/>
                  <a:gd name="T3" fmla="*/ 2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5" h="239">
                    <a:moveTo>
                      <a:pt x="55" y="0"/>
                    </a:moveTo>
                    <a:cubicBezTo>
                      <a:pt x="55" y="0"/>
                      <a:pt x="0" y="141"/>
                      <a:pt x="39" y="239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Freeform 76">
                <a:extLst>
                  <a:ext uri="{FF2B5EF4-FFF2-40B4-BE49-F238E27FC236}">
                    <a16:creationId xmlns:a16="http://schemas.microsoft.com/office/drawing/2014/main" id="{307A0475-C098-4364-8DCD-5B1D366818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72437" y="11362695"/>
                <a:ext cx="620713" cy="230187"/>
              </a:xfrm>
              <a:custGeom>
                <a:avLst/>
                <a:gdLst>
                  <a:gd name="T0" fmla="*/ 0 w 256"/>
                  <a:gd name="T1" fmla="*/ 0 h 95"/>
                  <a:gd name="T2" fmla="*/ 256 w 256"/>
                  <a:gd name="T3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6" h="95">
                    <a:moveTo>
                      <a:pt x="0" y="0"/>
                    </a:moveTo>
                    <a:cubicBezTo>
                      <a:pt x="0" y="0"/>
                      <a:pt x="146" y="11"/>
                      <a:pt x="256" y="95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Freeform 77">
                <a:extLst>
                  <a:ext uri="{FF2B5EF4-FFF2-40B4-BE49-F238E27FC236}">
                    <a16:creationId xmlns:a16="http://schemas.microsoft.com/office/drawing/2014/main" id="{66B380EA-E601-4685-8DB4-DBD91E8AD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965949" y="11186483"/>
                <a:ext cx="131763" cy="819150"/>
              </a:xfrm>
              <a:custGeom>
                <a:avLst/>
                <a:gdLst>
                  <a:gd name="T0" fmla="*/ 36 w 54"/>
                  <a:gd name="T1" fmla="*/ 0 h 338"/>
                  <a:gd name="T2" fmla="*/ 0 w 54"/>
                  <a:gd name="T3" fmla="*/ 338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4" h="338">
                    <a:moveTo>
                      <a:pt x="36" y="0"/>
                    </a:moveTo>
                    <a:cubicBezTo>
                      <a:pt x="36" y="0"/>
                      <a:pt x="54" y="70"/>
                      <a:pt x="0" y="338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Freeform 78">
                <a:extLst>
                  <a:ext uri="{FF2B5EF4-FFF2-40B4-BE49-F238E27FC236}">
                    <a16:creationId xmlns:a16="http://schemas.microsoft.com/office/drawing/2014/main" id="{F54A4AEC-6360-493B-BC7B-D65709FB8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827962" y="11831008"/>
                <a:ext cx="681038" cy="52387"/>
              </a:xfrm>
              <a:custGeom>
                <a:avLst/>
                <a:gdLst>
                  <a:gd name="T0" fmla="*/ 0 w 281"/>
                  <a:gd name="T1" fmla="*/ 22 h 22"/>
                  <a:gd name="T2" fmla="*/ 281 w 281"/>
                  <a:gd name="T3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81" h="22">
                    <a:moveTo>
                      <a:pt x="0" y="22"/>
                    </a:moveTo>
                    <a:cubicBezTo>
                      <a:pt x="0" y="22"/>
                      <a:pt x="227" y="0"/>
                      <a:pt x="281" y="15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79">
                <a:extLst>
                  <a:ext uri="{FF2B5EF4-FFF2-40B4-BE49-F238E27FC236}">
                    <a16:creationId xmlns:a16="http://schemas.microsoft.com/office/drawing/2014/main" id="{12E60AD7-E47A-4835-9E8E-D7CE1176F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12024" y="12162795"/>
                <a:ext cx="704850" cy="120650"/>
              </a:xfrm>
              <a:custGeom>
                <a:avLst/>
                <a:gdLst>
                  <a:gd name="T0" fmla="*/ 0 w 291"/>
                  <a:gd name="T1" fmla="*/ 40 h 50"/>
                  <a:gd name="T2" fmla="*/ 291 w 291"/>
                  <a:gd name="T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91" h="50">
                    <a:moveTo>
                      <a:pt x="0" y="40"/>
                    </a:moveTo>
                    <a:cubicBezTo>
                      <a:pt x="0" y="40"/>
                      <a:pt x="183" y="0"/>
                      <a:pt x="291" y="50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Freeform 96">
                <a:extLst>
                  <a:ext uri="{FF2B5EF4-FFF2-40B4-BE49-F238E27FC236}">
                    <a16:creationId xmlns:a16="http://schemas.microsoft.com/office/drawing/2014/main" id="{DC9834F5-5C28-492A-A003-5CA2B5CE8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61212" y="11294433"/>
                <a:ext cx="160338" cy="127000"/>
              </a:xfrm>
              <a:custGeom>
                <a:avLst/>
                <a:gdLst>
                  <a:gd name="T0" fmla="*/ 66 w 66"/>
                  <a:gd name="T1" fmla="*/ 52 h 52"/>
                  <a:gd name="T2" fmla="*/ 40 w 66"/>
                  <a:gd name="T3" fmla="*/ 12 h 52"/>
                  <a:gd name="T4" fmla="*/ 7 w 66"/>
                  <a:gd name="T5" fmla="*/ 5 h 52"/>
                  <a:gd name="T6" fmla="*/ 15 w 66"/>
                  <a:gd name="T7" fmla="*/ 31 h 52"/>
                  <a:gd name="T8" fmla="*/ 66 w 66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2">
                    <a:moveTo>
                      <a:pt x="66" y="52"/>
                    </a:moveTo>
                    <a:cubicBezTo>
                      <a:pt x="66" y="52"/>
                      <a:pt x="61" y="29"/>
                      <a:pt x="40" y="12"/>
                    </a:cubicBezTo>
                    <a:cubicBezTo>
                      <a:pt x="32" y="6"/>
                      <a:pt x="13" y="0"/>
                      <a:pt x="7" y="5"/>
                    </a:cubicBezTo>
                    <a:cubicBezTo>
                      <a:pt x="0" y="10"/>
                      <a:pt x="4" y="22"/>
                      <a:pt x="15" y="31"/>
                    </a:cubicBezTo>
                    <a:cubicBezTo>
                      <a:pt x="36" y="48"/>
                      <a:pt x="66" y="52"/>
                      <a:pt x="66" y="52"/>
                    </a:cubicBezTo>
                    <a:close/>
                  </a:path>
                </a:pathLst>
              </a:custGeom>
              <a:solidFill>
                <a:srgbClr val="B0B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Freeform 99">
                <a:extLst>
                  <a:ext uri="{FF2B5EF4-FFF2-40B4-BE49-F238E27FC236}">
                    <a16:creationId xmlns:a16="http://schemas.microsoft.com/office/drawing/2014/main" id="{C2365945-0D65-44C3-AD7E-AAFC90EF2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00874" y="11288083"/>
                <a:ext cx="158750" cy="139700"/>
              </a:xfrm>
              <a:custGeom>
                <a:avLst/>
                <a:gdLst>
                  <a:gd name="T0" fmla="*/ 1 w 66"/>
                  <a:gd name="T1" fmla="*/ 58 h 58"/>
                  <a:gd name="T2" fmla="*/ 54 w 66"/>
                  <a:gd name="T3" fmla="*/ 30 h 58"/>
                  <a:gd name="T4" fmla="*/ 56 w 66"/>
                  <a:gd name="T5" fmla="*/ 4 h 58"/>
                  <a:gd name="T6" fmla="*/ 20 w 66"/>
                  <a:gd name="T7" fmla="*/ 16 h 58"/>
                  <a:gd name="T8" fmla="*/ 1 w 66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8">
                    <a:moveTo>
                      <a:pt x="1" y="58"/>
                    </a:moveTo>
                    <a:cubicBezTo>
                      <a:pt x="1" y="58"/>
                      <a:pt x="34" y="49"/>
                      <a:pt x="54" y="30"/>
                    </a:cubicBezTo>
                    <a:cubicBezTo>
                      <a:pt x="61" y="23"/>
                      <a:pt x="66" y="8"/>
                      <a:pt x="56" y="4"/>
                    </a:cubicBezTo>
                    <a:cubicBezTo>
                      <a:pt x="47" y="0"/>
                      <a:pt x="31" y="6"/>
                      <a:pt x="20" y="16"/>
                    </a:cubicBezTo>
                    <a:cubicBezTo>
                      <a:pt x="0" y="36"/>
                      <a:pt x="1" y="58"/>
                      <a:pt x="1" y="58"/>
                    </a:cubicBezTo>
                    <a:close/>
                  </a:path>
                </a:pathLst>
              </a:custGeom>
              <a:solidFill>
                <a:srgbClr val="B0B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23" name="Group 522">
                <a:extLst>
                  <a:ext uri="{FF2B5EF4-FFF2-40B4-BE49-F238E27FC236}">
                    <a16:creationId xmlns:a16="http://schemas.microsoft.com/office/drawing/2014/main" id="{7F8B2795-3836-4230-B1A4-F1CA2FDE1756}"/>
                  </a:ext>
                </a:extLst>
              </p:cNvPr>
              <p:cNvGrpSpPr/>
              <p:nvPr/>
            </p:nvGrpSpPr>
            <p:grpSpPr>
              <a:xfrm>
                <a:off x="-8054974" y="9498970"/>
                <a:ext cx="1189037" cy="2079625"/>
                <a:chOff x="-8054974" y="9498970"/>
                <a:chExt cx="1189037" cy="2079625"/>
              </a:xfrm>
            </p:grpSpPr>
            <p:sp>
              <p:nvSpPr>
                <p:cNvPr id="566" name="Freeform 80">
                  <a:extLst>
                    <a:ext uri="{FF2B5EF4-FFF2-40B4-BE49-F238E27FC236}">
                      <a16:creationId xmlns:a16="http://schemas.microsoft.com/office/drawing/2014/main" id="{84837665-AB58-4D77-8214-AEA2E551CE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61262" y="9635495"/>
                  <a:ext cx="671513" cy="1943100"/>
                </a:xfrm>
                <a:custGeom>
                  <a:avLst/>
                  <a:gdLst>
                    <a:gd name="T0" fmla="*/ 233 w 277"/>
                    <a:gd name="T1" fmla="*/ 802 h 802"/>
                    <a:gd name="T2" fmla="*/ 7 w 277"/>
                    <a:gd name="T3" fmla="*/ 0 h 802"/>
                    <a:gd name="T4" fmla="*/ 0 w 277"/>
                    <a:gd name="T5" fmla="*/ 6 h 802"/>
                    <a:gd name="T6" fmla="*/ 224 w 277"/>
                    <a:gd name="T7" fmla="*/ 801 h 802"/>
                    <a:gd name="T8" fmla="*/ 233 w 277"/>
                    <a:gd name="T9" fmla="*/ 802 h 8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7" h="802">
                      <a:moveTo>
                        <a:pt x="233" y="802"/>
                      </a:moveTo>
                      <a:cubicBezTo>
                        <a:pt x="277" y="315"/>
                        <a:pt x="10" y="3"/>
                        <a:pt x="7" y="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3" y="9"/>
                        <a:pt x="267" y="319"/>
                        <a:pt x="224" y="801"/>
                      </a:cubicBezTo>
                      <a:lnTo>
                        <a:pt x="233" y="802"/>
                      </a:ln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7" name="Freeform 81">
                  <a:extLst>
                    <a:ext uri="{FF2B5EF4-FFF2-40B4-BE49-F238E27FC236}">
                      <a16:creationId xmlns:a16="http://schemas.microsoft.com/office/drawing/2014/main" id="{6A7199C8-EC36-4B8B-B9BF-A0F82D2C32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85087" y="9498970"/>
                  <a:ext cx="155575" cy="165100"/>
                </a:xfrm>
                <a:custGeom>
                  <a:avLst/>
                  <a:gdLst>
                    <a:gd name="T0" fmla="*/ 64 w 64"/>
                    <a:gd name="T1" fmla="*/ 68 h 68"/>
                    <a:gd name="T2" fmla="*/ 40 w 64"/>
                    <a:gd name="T3" fmla="*/ 16 h 68"/>
                    <a:gd name="T4" fmla="*/ 7 w 64"/>
                    <a:gd name="T5" fmla="*/ 7 h 68"/>
                    <a:gd name="T6" fmla="*/ 14 w 64"/>
                    <a:gd name="T7" fmla="*/ 41 h 68"/>
                    <a:gd name="T8" fmla="*/ 64 w 64"/>
                    <a:gd name="T9" fmla="*/ 6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8">
                      <a:moveTo>
                        <a:pt x="64" y="68"/>
                      </a:moveTo>
                      <a:cubicBezTo>
                        <a:pt x="64" y="68"/>
                        <a:pt x="60" y="38"/>
                        <a:pt x="40" y="16"/>
                      </a:cubicBezTo>
                      <a:cubicBezTo>
                        <a:pt x="33" y="8"/>
                        <a:pt x="14" y="0"/>
                        <a:pt x="7" y="7"/>
                      </a:cubicBezTo>
                      <a:cubicBezTo>
                        <a:pt x="0" y="14"/>
                        <a:pt x="3" y="30"/>
                        <a:pt x="14" y="41"/>
                      </a:cubicBezTo>
                      <a:cubicBezTo>
                        <a:pt x="34" y="62"/>
                        <a:pt x="64" y="68"/>
                        <a:pt x="64" y="6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8" name="Freeform 82">
                  <a:extLst>
                    <a:ext uri="{FF2B5EF4-FFF2-40B4-BE49-F238E27FC236}">
                      <a16:creationId xmlns:a16="http://schemas.microsoft.com/office/drawing/2014/main" id="{2758B35C-F395-4704-9B37-EDCC96EEA6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43812" y="9698995"/>
                  <a:ext cx="182563" cy="93662"/>
                </a:xfrm>
                <a:custGeom>
                  <a:avLst/>
                  <a:gdLst>
                    <a:gd name="T0" fmla="*/ 75 w 75"/>
                    <a:gd name="T1" fmla="*/ 28 h 39"/>
                    <a:gd name="T2" fmla="*/ 31 w 75"/>
                    <a:gd name="T3" fmla="*/ 3 h 39"/>
                    <a:gd name="T4" fmla="*/ 2 w 75"/>
                    <a:gd name="T5" fmla="*/ 12 h 39"/>
                    <a:gd name="T6" fmla="*/ 24 w 75"/>
                    <a:gd name="T7" fmla="*/ 33 h 39"/>
                    <a:gd name="T8" fmla="*/ 75 w 75"/>
                    <a:gd name="T9" fmla="*/ 28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" h="39">
                      <a:moveTo>
                        <a:pt x="75" y="28"/>
                      </a:moveTo>
                      <a:cubicBezTo>
                        <a:pt x="75" y="28"/>
                        <a:pt x="57" y="8"/>
                        <a:pt x="31" y="3"/>
                      </a:cubicBezTo>
                      <a:cubicBezTo>
                        <a:pt x="21" y="0"/>
                        <a:pt x="4" y="4"/>
                        <a:pt x="2" y="12"/>
                      </a:cubicBezTo>
                      <a:cubicBezTo>
                        <a:pt x="0" y="20"/>
                        <a:pt x="11" y="30"/>
                        <a:pt x="24" y="33"/>
                      </a:cubicBezTo>
                      <a:cubicBezTo>
                        <a:pt x="51" y="39"/>
                        <a:pt x="75" y="28"/>
                        <a:pt x="75" y="2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9" name="Freeform 83">
                  <a:extLst>
                    <a:ext uri="{FF2B5EF4-FFF2-40B4-BE49-F238E27FC236}">
                      <a16:creationId xmlns:a16="http://schemas.microsoft.com/office/drawing/2014/main" id="{BA202A7D-518D-49D3-9AE3-473DC00B33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15224" y="9906958"/>
                  <a:ext cx="155575" cy="82550"/>
                </a:xfrm>
                <a:custGeom>
                  <a:avLst/>
                  <a:gdLst>
                    <a:gd name="T0" fmla="*/ 64 w 64"/>
                    <a:gd name="T1" fmla="*/ 18 h 34"/>
                    <a:gd name="T2" fmla="*/ 24 w 64"/>
                    <a:gd name="T3" fmla="*/ 0 h 34"/>
                    <a:gd name="T4" fmla="*/ 1 w 64"/>
                    <a:gd name="T5" fmla="*/ 15 h 34"/>
                    <a:gd name="T6" fmla="*/ 22 w 64"/>
                    <a:gd name="T7" fmla="*/ 33 h 34"/>
                    <a:gd name="T8" fmla="*/ 64 w 64"/>
                    <a:gd name="T9" fmla="*/ 18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34">
                      <a:moveTo>
                        <a:pt x="64" y="18"/>
                      </a:moveTo>
                      <a:cubicBezTo>
                        <a:pt x="64" y="18"/>
                        <a:pt x="47" y="1"/>
                        <a:pt x="24" y="0"/>
                      </a:cubicBezTo>
                      <a:cubicBezTo>
                        <a:pt x="16" y="0"/>
                        <a:pt x="1" y="6"/>
                        <a:pt x="1" y="15"/>
                      </a:cubicBezTo>
                      <a:cubicBezTo>
                        <a:pt x="0" y="24"/>
                        <a:pt x="10" y="32"/>
                        <a:pt x="22" y="33"/>
                      </a:cubicBezTo>
                      <a:cubicBezTo>
                        <a:pt x="45" y="34"/>
                        <a:pt x="64" y="18"/>
                        <a:pt x="64" y="1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0" name="Freeform 84">
                  <a:extLst>
                    <a:ext uri="{FF2B5EF4-FFF2-40B4-BE49-F238E27FC236}">
                      <a16:creationId xmlns:a16="http://schemas.microsoft.com/office/drawing/2014/main" id="{6AD327E9-E5B1-41C4-A3D2-D18D813D62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488237" y="9616445"/>
                  <a:ext cx="101600" cy="147637"/>
                </a:xfrm>
                <a:custGeom>
                  <a:avLst/>
                  <a:gdLst>
                    <a:gd name="T0" fmla="*/ 7 w 42"/>
                    <a:gd name="T1" fmla="*/ 61 h 61"/>
                    <a:gd name="T2" fmla="*/ 39 w 42"/>
                    <a:gd name="T3" fmla="*/ 31 h 61"/>
                    <a:gd name="T4" fmla="*/ 34 w 42"/>
                    <a:gd name="T5" fmla="*/ 4 h 61"/>
                    <a:gd name="T6" fmla="*/ 9 w 42"/>
                    <a:gd name="T7" fmla="*/ 17 h 61"/>
                    <a:gd name="T8" fmla="*/ 7 w 42"/>
                    <a:gd name="T9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2" h="61">
                      <a:moveTo>
                        <a:pt x="7" y="61"/>
                      </a:moveTo>
                      <a:cubicBezTo>
                        <a:pt x="7" y="61"/>
                        <a:pt x="29" y="51"/>
                        <a:pt x="39" y="31"/>
                      </a:cubicBezTo>
                      <a:cubicBezTo>
                        <a:pt x="42" y="23"/>
                        <a:pt x="42" y="7"/>
                        <a:pt x="34" y="4"/>
                      </a:cubicBezTo>
                      <a:cubicBezTo>
                        <a:pt x="25" y="0"/>
                        <a:pt x="14" y="6"/>
                        <a:pt x="9" y="17"/>
                      </a:cubicBezTo>
                      <a:cubicBezTo>
                        <a:pt x="0" y="38"/>
                        <a:pt x="7" y="61"/>
                        <a:pt x="7" y="61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1" name="Freeform 85">
                  <a:extLst>
                    <a:ext uri="{FF2B5EF4-FFF2-40B4-BE49-F238E27FC236}">
                      <a16:creationId xmlns:a16="http://schemas.microsoft.com/office/drawing/2014/main" id="{BD9D9471-FBF7-4601-A54D-D799687124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08812" y="10878508"/>
                  <a:ext cx="138113" cy="125412"/>
                </a:xfrm>
                <a:custGeom>
                  <a:avLst/>
                  <a:gdLst>
                    <a:gd name="T0" fmla="*/ 0 w 57"/>
                    <a:gd name="T1" fmla="*/ 52 h 52"/>
                    <a:gd name="T2" fmla="*/ 43 w 57"/>
                    <a:gd name="T3" fmla="*/ 33 h 52"/>
                    <a:gd name="T4" fmla="*/ 51 w 57"/>
                    <a:gd name="T5" fmla="*/ 6 h 52"/>
                    <a:gd name="T6" fmla="*/ 23 w 57"/>
                    <a:gd name="T7" fmla="*/ 11 h 52"/>
                    <a:gd name="T8" fmla="*/ 0 w 57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2">
                      <a:moveTo>
                        <a:pt x="0" y="52"/>
                      </a:moveTo>
                      <a:cubicBezTo>
                        <a:pt x="0" y="52"/>
                        <a:pt x="25" y="50"/>
                        <a:pt x="43" y="33"/>
                      </a:cubicBezTo>
                      <a:cubicBezTo>
                        <a:pt x="50" y="27"/>
                        <a:pt x="57" y="12"/>
                        <a:pt x="51" y="6"/>
                      </a:cubicBezTo>
                      <a:cubicBezTo>
                        <a:pt x="46" y="0"/>
                        <a:pt x="33" y="2"/>
                        <a:pt x="23" y="11"/>
                      </a:cubicBezTo>
                      <a:cubicBezTo>
                        <a:pt x="5" y="27"/>
                        <a:pt x="0" y="52"/>
                        <a:pt x="0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2" name="Freeform 86">
                  <a:extLst>
                    <a:ext uri="{FF2B5EF4-FFF2-40B4-BE49-F238E27FC236}">
                      <a16:creationId xmlns:a16="http://schemas.microsoft.com/office/drawing/2014/main" id="{E94F0186-8405-456C-A1D7-825DC59FA2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62824" y="9764083"/>
                  <a:ext cx="114300" cy="180975"/>
                </a:xfrm>
                <a:custGeom>
                  <a:avLst/>
                  <a:gdLst>
                    <a:gd name="T0" fmla="*/ 6 w 47"/>
                    <a:gd name="T1" fmla="*/ 75 h 75"/>
                    <a:gd name="T2" fmla="*/ 42 w 47"/>
                    <a:gd name="T3" fmla="*/ 36 h 75"/>
                    <a:gd name="T4" fmla="*/ 38 w 47"/>
                    <a:gd name="T5" fmla="*/ 4 h 75"/>
                    <a:gd name="T6" fmla="*/ 12 w 47"/>
                    <a:gd name="T7" fmla="*/ 22 h 75"/>
                    <a:gd name="T8" fmla="*/ 6 w 47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7" h="75">
                      <a:moveTo>
                        <a:pt x="6" y="75"/>
                      </a:moveTo>
                      <a:cubicBezTo>
                        <a:pt x="6" y="75"/>
                        <a:pt x="31" y="61"/>
                        <a:pt x="42" y="36"/>
                      </a:cubicBezTo>
                      <a:cubicBezTo>
                        <a:pt x="46" y="27"/>
                        <a:pt x="47" y="8"/>
                        <a:pt x="38" y="4"/>
                      </a:cubicBezTo>
                      <a:cubicBezTo>
                        <a:pt x="30" y="0"/>
                        <a:pt x="18" y="9"/>
                        <a:pt x="12" y="22"/>
                      </a:cubicBezTo>
                      <a:cubicBezTo>
                        <a:pt x="0" y="47"/>
                        <a:pt x="6" y="75"/>
                        <a:pt x="6" y="75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3" name="Freeform 87">
                  <a:extLst>
                    <a:ext uri="{FF2B5EF4-FFF2-40B4-BE49-F238E27FC236}">
                      <a16:creationId xmlns:a16="http://schemas.microsoft.com/office/drawing/2014/main" id="{E9C1D94E-92B0-4D83-8AE7-37E639A936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62812" y="9981570"/>
                  <a:ext cx="119063" cy="161925"/>
                </a:xfrm>
                <a:custGeom>
                  <a:avLst/>
                  <a:gdLst>
                    <a:gd name="T0" fmla="*/ 9 w 49"/>
                    <a:gd name="T1" fmla="*/ 67 h 67"/>
                    <a:gd name="T2" fmla="*/ 46 w 49"/>
                    <a:gd name="T3" fmla="*/ 35 h 67"/>
                    <a:gd name="T4" fmla="*/ 38 w 49"/>
                    <a:gd name="T5" fmla="*/ 5 h 67"/>
                    <a:gd name="T6" fmla="*/ 10 w 49"/>
                    <a:gd name="T7" fmla="*/ 18 h 67"/>
                    <a:gd name="T8" fmla="*/ 9 w 49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67">
                      <a:moveTo>
                        <a:pt x="9" y="67"/>
                      </a:moveTo>
                      <a:cubicBezTo>
                        <a:pt x="9" y="67"/>
                        <a:pt x="36" y="57"/>
                        <a:pt x="46" y="35"/>
                      </a:cubicBezTo>
                      <a:cubicBezTo>
                        <a:pt x="49" y="27"/>
                        <a:pt x="48" y="10"/>
                        <a:pt x="38" y="5"/>
                      </a:cubicBezTo>
                      <a:cubicBezTo>
                        <a:pt x="28" y="0"/>
                        <a:pt x="15" y="7"/>
                        <a:pt x="10" y="18"/>
                      </a:cubicBezTo>
                      <a:cubicBezTo>
                        <a:pt x="0" y="40"/>
                        <a:pt x="9" y="67"/>
                        <a:pt x="9" y="67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4" name="Freeform 88">
                  <a:extLst>
                    <a:ext uri="{FF2B5EF4-FFF2-40B4-BE49-F238E27FC236}">
                      <a16:creationId xmlns:a16="http://schemas.microsoft.com/office/drawing/2014/main" id="{74C38AB0-D9B4-4C17-BEB9-7967C8A65D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427912" y="10073645"/>
                  <a:ext cx="169863" cy="106362"/>
                </a:xfrm>
                <a:custGeom>
                  <a:avLst/>
                  <a:gdLst>
                    <a:gd name="T0" fmla="*/ 70 w 70"/>
                    <a:gd name="T1" fmla="*/ 30 h 44"/>
                    <a:gd name="T2" fmla="*/ 30 w 70"/>
                    <a:gd name="T3" fmla="*/ 2 h 44"/>
                    <a:gd name="T4" fmla="*/ 2 w 70"/>
                    <a:gd name="T5" fmla="*/ 15 h 44"/>
                    <a:gd name="T6" fmla="*/ 23 w 70"/>
                    <a:gd name="T7" fmla="*/ 39 h 44"/>
                    <a:gd name="T8" fmla="*/ 70 w 70"/>
                    <a:gd name="T9" fmla="*/ 3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0" h="44">
                      <a:moveTo>
                        <a:pt x="70" y="30"/>
                      </a:moveTo>
                      <a:cubicBezTo>
                        <a:pt x="70" y="30"/>
                        <a:pt x="55" y="7"/>
                        <a:pt x="30" y="2"/>
                      </a:cubicBezTo>
                      <a:cubicBezTo>
                        <a:pt x="22" y="0"/>
                        <a:pt x="5" y="5"/>
                        <a:pt x="2" y="15"/>
                      </a:cubicBezTo>
                      <a:cubicBezTo>
                        <a:pt x="0" y="26"/>
                        <a:pt x="10" y="36"/>
                        <a:pt x="23" y="39"/>
                      </a:cubicBezTo>
                      <a:cubicBezTo>
                        <a:pt x="47" y="44"/>
                        <a:pt x="70" y="30"/>
                        <a:pt x="70" y="3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5" name="Freeform 89">
                  <a:extLst>
                    <a:ext uri="{FF2B5EF4-FFF2-40B4-BE49-F238E27FC236}">
                      <a16:creationId xmlns:a16="http://schemas.microsoft.com/office/drawing/2014/main" id="{D5B57273-2D54-4118-9DE8-8ABE24D5F0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73912" y="10888033"/>
                  <a:ext cx="157163" cy="125412"/>
                </a:xfrm>
                <a:custGeom>
                  <a:avLst/>
                  <a:gdLst>
                    <a:gd name="T0" fmla="*/ 65 w 65"/>
                    <a:gd name="T1" fmla="*/ 52 h 52"/>
                    <a:gd name="T2" fmla="*/ 40 w 65"/>
                    <a:gd name="T3" fmla="*/ 12 h 52"/>
                    <a:gd name="T4" fmla="*/ 6 w 65"/>
                    <a:gd name="T5" fmla="*/ 5 h 52"/>
                    <a:gd name="T6" fmla="*/ 15 w 65"/>
                    <a:gd name="T7" fmla="*/ 31 h 52"/>
                    <a:gd name="T8" fmla="*/ 65 w 65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52">
                      <a:moveTo>
                        <a:pt x="65" y="52"/>
                      </a:moveTo>
                      <a:cubicBezTo>
                        <a:pt x="65" y="52"/>
                        <a:pt x="61" y="29"/>
                        <a:pt x="40" y="12"/>
                      </a:cubicBezTo>
                      <a:cubicBezTo>
                        <a:pt x="32" y="6"/>
                        <a:pt x="13" y="0"/>
                        <a:pt x="6" y="5"/>
                      </a:cubicBezTo>
                      <a:cubicBezTo>
                        <a:pt x="0" y="10"/>
                        <a:pt x="4" y="22"/>
                        <a:pt x="15" y="31"/>
                      </a:cubicBezTo>
                      <a:cubicBezTo>
                        <a:pt x="36" y="48"/>
                        <a:pt x="65" y="52"/>
                        <a:pt x="65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6" name="Freeform 90">
                  <a:extLst>
                    <a:ext uri="{FF2B5EF4-FFF2-40B4-BE49-F238E27FC236}">
                      <a16:creationId xmlns:a16="http://schemas.microsoft.com/office/drawing/2014/main" id="{32B63A02-9F38-4A5B-B888-CCA2C38D64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65987" y="10524495"/>
                  <a:ext cx="168275" cy="55562"/>
                </a:xfrm>
                <a:custGeom>
                  <a:avLst/>
                  <a:gdLst>
                    <a:gd name="T0" fmla="*/ 69 w 69"/>
                    <a:gd name="T1" fmla="*/ 12 h 23"/>
                    <a:gd name="T2" fmla="*/ 32 w 69"/>
                    <a:gd name="T3" fmla="*/ 1 h 23"/>
                    <a:gd name="T4" fmla="*/ 3 w 69"/>
                    <a:gd name="T5" fmla="*/ 12 h 23"/>
                    <a:gd name="T6" fmla="*/ 21 w 69"/>
                    <a:gd name="T7" fmla="*/ 23 h 23"/>
                    <a:gd name="T8" fmla="*/ 69 w 69"/>
                    <a:gd name="T9" fmla="*/ 1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23">
                      <a:moveTo>
                        <a:pt x="69" y="12"/>
                      </a:moveTo>
                      <a:cubicBezTo>
                        <a:pt x="69" y="12"/>
                        <a:pt x="55" y="1"/>
                        <a:pt x="32" y="1"/>
                      </a:cubicBezTo>
                      <a:cubicBezTo>
                        <a:pt x="23" y="0"/>
                        <a:pt x="6" y="5"/>
                        <a:pt x="3" y="12"/>
                      </a:cubicBezTo>
                      <a:cubicBezTo>
                        <a:pt x="0" y="18"/>
                        <a:pt x="9" y="23"/>
                        <a:pt x="21" y="23"/>
                      </a:cubicBezTo>
                      <a:cubicBezTo>
                        <a:pt x="45" y="23"/>
                        <a:pt x="69" y="12"/>
                        <a:pt x="69" y="1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7" name="Freeform 91">
                  <a:extLst>
                    <a:ext uri="{FF2B5EF4-FFF2-40B4-BE49-F238E27FC236}">
                      <a16:creationId xmlns:a16="http://schemas.microsoft.com/office/drawing/2014/main" id="{38ED5E6C-214F-4427-9376-572FCA4BC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61212" y="10211758"/>
                  <a:ext cx="68263" cy="146050"/>
                </a:xfrm>
                <a:custGeom>
                  <a:avLst/>
                  <a:gdLst>
                    <a:gd name="T0" fmla="*/ 4 w 28"/>
                    <a:gd name="T1" fmla="*/ 60 h 60"/>
                    <a:gd name="T2" fmla="*/ 25 w 28"/>
                    <a:gd name="T3" fmla="*/ 32 h 60"/>
                    <a:gd name="T4" fmla="*/ 23 w 28"/>
                    <a:gd name="T5" fmla="*/ 5 h 60"/>
                    <a:gd name="T6" fmla="*/ 7 w 28"/>
                    <a:gd name="T7" fmla="*/ 16 h 60"/>
                    <a:gd name="T8" fmla="*/ 4 w 28"/>
                    <a:gd name="T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60">
                      <a:moveTo>
                        <a:pt x="4" y="60"/>
                      </a:moveTo>
                      <a:cubicBezTo>
                        <a:pt x="4" y="60"/>
                        <a:pt x="18" y="52"/>
                        <a:pt x="25" y="32"/>
                      </a:cubicBezTo>
                      <a:cubicBezTo>
                        <a:pt x="28" y="25"/>
                        <a:pt x="28" y="9"/>
                        <a:pt x="23" y="5"/>
                      </a:cubicBezTo>
                      <a:cubicBezTo>
                        <a:pt x="18" y="0"/>
                        <a:pt x="11" y="6"/>
                        <a:pt x="7" y="16"/>
                      </a:cubicBezTo>
                      <a:cubicBezTo>
                        <a:pt x="0" y="36"/>
                        <a:pt x="4" y="60"/>
                        <a:pt x="4" y="6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8" name="Freeform 92">
                  <a:extLst>
                    <a:ext uri="{FF2B5EF4-FFF2-40B4-BE49-F238E27FC236}">
                      <a16:creationId xmlns:a16="http://schemas.microsoft.com/office/drawing/2014/main" id="{32A0724D-E988-482D-A683-70FBE970EE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65974" y="10675308"/>
                  <a:ext cx="115888" cy="130175"/>
                </a:xfrm>
                <a:custGeom>
                  <a:avLst/>
                  <a:gdLst>
                    <a:gd name="T0" fmla="*/ 48 w 48"/>
                    <a:gd name="T1" fmla="*/ 50 h 54"/>
                    <a:gd name="T2" fmla="*/ 25 w 48"/>
                    <a:gd name="T3" fmla="*/ 7 h 54"/>
                    <a:gd name="T4" fmla="*/ 3 w 48"/>
                    <a:gd name="T5" fmla="*/ 9 h 54"/>
                    <a:gd name="T6" fmla="*/ 14 w 48"/>
                    <a:gd name="T7" fmla="*/ 40 h 54"/>
                    <a:gd name="T8" fmla="*/ 48 w 48"/>
                    <a:gd name="T9" fmla="*/ 5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54">
                      <a:moveTo>
                        <a:pt x="48" y="50"/>
                      </a:moveTo>
                      <a:cubicBezTo>
                        <a:pt x="48" y="50"/>
                        <a:pt x="41" y="22"/>
                        <a:pt x="25" y="7"/>
                      </a:cubicBezTo>
                      <a:cubicBezTo>
                        <a:pt x="19" y="2"/>
                        <a:pt x="6" y="0"/>
                        <a:pt x="3" y="9"/>
                      </a:cubicBezTo>
                      <a:cubicBezTo>
                        <a:pt x="0" y="18"/>
                        <a:pt x="5" y="32"/>
                        <a:pt x="14" y="40"/>
                      </a:cubicBezTo>
                      <a:cubicBezTo>
                        <a:pt x="30" y="54"/>
                        <a:pt x="48" y="50"/>
                        <a:pt x="48" y="5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9" name="Freeform 93">
                  <a:extLst>
                    <a:ext uri="{FF2B5EF4-FFF2-40B4-BE49-F238E27FC236}">
                      <a16:creationId xmlns:a16="http://schemas.microsoft.com/office/drawing/2014/main" id="{1CF29C99-76CF-415E-A8A4-B597CE7EB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08824" y="10413370"/>
                  <a:ext cx="147638" cy="149225"/>
                </a:xfrm>
                <a:custGeom>
                  <a:avLst/>
                  <a:gdLst>
                    <a:gd name="T0" fmla="*/ 3 w 61"/>
                    <a:gd name="T1" fmla="*/ 62 h 62"/>
                    <a:gd name="T2" fmla="*/ 52 w 61"/>
                    <a:gd name="T3" fmla="*/ 28 h 62"/>
                    <a:gd name="T4" fmla="*/ 51 w 61"/>
                    <a:gd name="T5" fmla="*/ 2 h 62"/>
                    <a:gd name="T6" fmla="*/ 17 w 61"/>
                    <a:gd name="T7" fmla="*/ 19 h 62"/>
                    <a:gd name="T8" fmla="*/ 3 w 61"/>
                    <a:gd name="T9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2">
                      <a:moveTo>
                        <a:pt x="3" y="62"/>
                      </a:moveTo>
                      <a:cubicBezTo>
                        <a:pt x="3" y="62"/>
                        <a:pt x="35" y="49"/>
                        <a:pt x="52" y="28"/>
                      </a:cubicBezTo>
                      <a:cubicBezTo>
                        <a:pt x="58" y="20"/>
                        <a:pt x="61" y="4"/>
                        <a:pt x="51" y="2"/>
                      </a:cubicBezTo>
                      <a:cubicBezTo>
                        <a:pt x="41" y="0"/>
                        <a:pt x="26" y="8"/>
                        <a:pt x="17" y="19"/>
                      </a:cubicBezTo>
                      <a:cubicBezTo>
                        <a:pt x="0" y="40"/>
                        <a:pt x="3" y="62"/>
                        <a:pt x="3" y="6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0" name="Freeform 94">
                  <a:extLst>
                    <a:ext uri="{FF2B5EF4-FFF2-40B4-BE49-F238E27FC236}">
                      <a16:creationId xmlns:a16="http://schemas.microsoft.com/office/drawing/2014/main" id="{8812382D-9DAA-4FEB-833F-ADD9FB2A3E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51674" y="10659433"/>
                  <a:ext cx="136525" cy="144462"/>
                </a:xfrm>
                <a:custGeom>
                  <a:avLst/>
                  <a:gdLst>
                    <a:gd name="T0" fmla="*/ 6 w 57"/>
                    <a:gd name="T1" fmla="*/ 59 h 59"/>
                    <a:gd name="T2" fmla="*/ 50 w 57"/>
                    <a:gd name="T3" fmla="*/ 26 h 59"/>
                    <a:gd name="T4" fmla="*/ 47 w 57"/>
                    <a:gd name="T5" fmla="*/ 3 h 59"/>
                    <a:gd name="T6" fmla="*/ 14 w 57"/>
                    <a:gd name="T7" fmla="*/ 19 h 59"/>
                    <a:gd name="T8" fmla="*/ 6 w 57"/>
                    <a:gd name="T9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6" y="59"/>
                      </a:moveTo>
                      <a:cubicBezTo>
                        <a:pt x="6" y="59"/>
                        <a:pt x="35" y="46"/>
                        <a:pt x="50" y="26"/>
                      </a:cubicBezTo>
                      <a:cubicBezTo>
                        <a:pt x="55" y="19"/>
                        <a:pt x="57" y="5"/>
                        <a:pt x="47" y="3"/>
                      </a:cubicBezTo>
                      <a:cubicBezTo>
                        <a:pt x="37" y="0"/>
                        <a:pt x="22" y="8"/>
                        <a:pt x="14" y="19"/>
                      </a:cubicBezTo>
                      <a:cubicBezTo>
                        <a:pt x="0" y="39"/>
                        <a:pt x="6" y="59"/>
                        <a:pt x="6" y="59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1" name="Freeform 95">
                  <a:extLst>
                    <a:ext uri="{FF2B5EF4-FFF2-40B4-BE49-F238E27FC236}">
                      <a16:creationId xmlns:a16="http://schemas.microsoft.com/office/drawing/2014/main" id="{47D1F5B1-F1F1-434A-8D2A-97AA317AF8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54974" y="9994270"/>
                  <a:ext cx="138113" cy="125412"/>
                </a:xfrm>
                <a:custGeom>
                  <a:avLst/>
                  <a:gdLst>
                    <a:gd name="T0" fmla="*/ 0 w 57"/>
                    <a:gd name="T1" fmla="*/ 52 h 52"/>
                    <a:gd name="T2" fmla="*/ 43 w 57"/>
                    <a:gd name="T3" fmla="*/ 33 h 52"/>
                    <a:gd name="T4" fmla="*/ 52 w 57"/>
                    <a:gd name="T5" fmla="*/ 6 h 52"/>
                    <a:gd name="T6" fmla="*/ 23 w 57"/>
                    <a:gd name="T7" fmla="*/ 11 h 52"/>
                    <a:gd name="T8" fmla="*/ 0 w 57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2">
                      <a:moveTo>
                        <a:pt x="0" y="52"/>
                      </a:moveTo>
                      <a:cubicBezTo>
                        <a:pt x="0" y="52"/>
                        <a:pt x="25" y="50"/>
                        <a:pt x="43" y="33"/>
                      </a:cubicBezTo>
                      <a:cubicBezTo>
                        <a:pt x="50" y="27"/>
                        <a:pt x="57" y="12"/>
                        <a:pt x="52" y="6"/>
                      </a:cubicBezTo>
                      <a:cubicBezTo>
                        <a:pt x="46" y="0"/>
                        <a:pt x="33" y="2"/>
                        <a:pt x="23" y="11"/>
                      </a:cubicBezTo>
                      <a:cubicBezTo>
                        <a:pt x="5" y="27"/>
                        <a:pt x="0" y="52"/>
                        <a:pt x="0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2" name="Freeform 97">
                  <a:extLst>
                    <a:ext uri="{FF2B5EF4-FFF2-40B4-BE49-F238E27FC236}">
                      <a16:creationId xmlns:a16="http://schemas.microsoft.com/office/drawing/2014/main" id="{389C700B-809B-4560-93FF-987D097A9F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46924" y="11126158"/>
                  <a:ext cx="150813" cy="92075"/>
                </a:xfrm>
                <a:custGeom>
                  <a:avLst/>
                  <a:gdLst>
                    <a:gd name="T0" fmla="*/ 62 w 62"/>
                    <a:gd name="T1" fmla="*/ 38 h 38"/>
                    <a:gd name="T2" fmla="*/ 36 w 62"/>
                    <a:gd name="T3" fmla="*/ 9 h 38"/>
                    <a:gd name="T4" fmla="*/ 5 w 62"/>
                    <a:gd name="T5" fmla="*/ 4 h 38"/>
                    <a:gd name="T6" fmla="*/ 15 w 62"/>
                    <a:gd name="T7" fmla="*/ 23 h 38"/>
                    <a:gd name="T8" fmla="*/ 62 w 62"/>
                    <a:gd name="T9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38">
                      <a:moveTo>
                        <a:pt x="62" y="38"/>
                      </a:moveTo>
                      <a:cubicBezTo>
                        <a:pt x="62" y="38"/>
                        <a:pt x="56" y="21"/>
                        <a:pt x="36" y="9"/>
                      </a:cubicBezTo>
                      <a:cubicBezTo>
                        <a:pt x="28" y="4"/>
                        <a:pt x="11" y="0"/>
                        <a:pt x="5" y="4"/>
                      </a:cubicBezTo>
                      <a:cubicBezTo>
                        <a:pt x="0" y="7"/>
                        <a:pt x="4" y="16"/>
                        <a:pt x="15" y="23"/>
                      </a:cubicBezTo>
                      <a:cubicBezTo>
                        <a:pt x="35" y="35"/>
                        <a:pt x="62" y="38"/>
                        <a:pt x="62" y="3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3" name="Freeform 98">
                  <a:extLst>
                    <a:ext uri="{FF2B5EF4-FFF2-40B4-BE49-F238E27FC236}">
                      <a16:creationId xmlns:a16="http://schemas.microsoft.com/office/drawing/2014/main" id="{AE7EA035-F542-4832-A25C-86EA93A73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43799" y="10326058"/>
                  <a:ext cx="133350" cy="98425"/>
                </a:xfrm>
                <a:custGeom>
                  <a:avLst/>
                  <a:gdLst>
                    <a:gd name="T0" fmla="*/ 55 w 55"/>
                    <a:gd name="T1" fmla="*/ 34 h 41"/>
                    <a:gd name="T2" fmla="*/ 19 w 55"/>
                    <a:gd name="T3" fmla="*/ 3 h 41"/>
                    <a:gd name="T4" fmla="*/ 0 w 55"/>
                    <a:gd name="T5" fmla="*/ 10 h 41"/>
                    <a:gd name="T6" fmla="*/ 20 w 55"/>
                    <a:gd name="T7" fmla="*/ 33 h 41"/>
                    <a:gd name="T8" fmla="*/ 55 w 55"/>
                    <a:gd name="T9" fmla="*/ 34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5" h="41">
                      <a:moveTo>
                        <a:pt x="55" y="34"/>
                      </a:moveTo>
                      <a:cubicBezTo>
                        <a:pt x="55" y="34"/>
                        <a:pt x="39" y="12"/>
                        <a:pt x="19" y="3"/>
                      </a:cubicBezTo>
                      <a:cubicBezTo>
                        <a:pt x="12" y="0"/>
                        <a:pt x="0" y="2"/>
                        <a:pt x="0" y="10"/>
                      </a:cubicBezTo>
                      <a:cubicBezTo>
                        <a:pt x="0" y="18"/>
                        <a:pt x="9" y="29"/>
                        <a:pt x="20" y="33"/>
                      </a:cubicBezTo>
                      <a:cubicBezTo>
                        <a:pt x="40" y="41"/>
                        <a:pt x="55" y="34"/>
                        <a:pt x="55" y="34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4" name="Freeform 100">
                  <a:extLst>
                    <a:ext uri="{FF2B5EF4-FFF2-40B4-BE49-F238E27FC236}">
                      <a16:creationId xmlns:a16="http://schemas.microsoft.com/office/drawing/2014/main" id="{48F900CB-EE73-4FF3-9ED1-D49C6C622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05637" y="11099170"/>
                  <a:ext cx="139700" cy="123825"/>
                </a:xfrm>
                <a:custGeom>
                  <a:avLst/>
                  <a:gdLst>
                    <a:gd name="T0" fmla="*/ 5 w 58"/>
                    <a:gd name="T1" fmla="*/ 51 h 51"/>
                    <a:gd name="T2" fmla="*/ 50 w 58"/>
                    <a:gd name="T3" fmla="*/ 25 h 51"/>
                    <a:gd name="T4" fmla="*/ 48 w 58"/>
                    <a:gd name="T5" fmla="*/ 3 h 51"/>
                    <a:gd name="T6" fmla="*/ 16 w 58"/>
                    <a:gd name="T7" fmla="*/ 14 h 51"/>
                    <a:gd name="T8" fmla="*/ 5 w 58"/>
                    <a:gd name="T9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" h="51">
                      <a:moveTo>
                        <a:pt x="5" y="51"/>
                      </a:moveTo>
                      <a:cubicBezTo>
                        <a:pt x="5" y="51"/>
                        <a:pt x="35" y="43"/>
                        <a:pt x="50" y="25"/>
                      </a:cubicBezTo>
                      <a:cubicBezTo>
                        <a:pt x="56" y="19"/>
                        <a:pt x="58" y="6"/>
                        <a:pt x="48" y="3"/>
                      </a:cubicBezTo>
                      <a:cubicBezTo>
                        <a:pt x="39" y="0"/>
                        <a:pt x="24" y="5"/>
                        <a:pt x="16" y="14"/>
                      </a:cubicBezTo>
                      <a:cubicBezTo>
                        <a:pt x="0" y="31"/>
                        <a:pt x="5" y="51"/>
                        <a:pt x="5" y="51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5" name="Freeform 101">
                  <a:extLst>
                    <a:ext uri="{FF2B5EF4-FFF2-40B4-BE49-F238E27FC236}">
                      <a16:creationId xmlns:a16="http://schemas.microsoft.com/office/drawing/2014/main" id="{7D37152A-3F54-4846-9EC8-E6F496A9BA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50124" y="10291133"/>
                  <a:ext cx="195263" cy="87312"/>
                </a:xfrm>
                <a:custGeom>
                  <a:avLst/>
                  <a:gdLst>
                    <a:gd name="T0" fmla="*/ 81 w 81"/>
                    <a:gd name="T1" fmla="*/ 34 h 36"/>
                    <a:gd name="T2" fmla="*/ 40 w 81"/>
                    <a:gd name="T3" fmla="*/ 5 h 36"/>
                    <a:gd name="T4" fmla="*/ 5 w 81"/>
                    <a:gd name="T5" fmla="*/ 6 h 36"/>
                    <a:gd name="T6" fmla="*/ 23 w 81"/>
                    <a:gd name="T7" fmla="*/ 26 h 36"/>
                    <a:gd name="T8" fmla="*/ 81 w 81"/>
                    <a:gd name="T9" fmla="*/ 3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1" h="36">
                      <a:moveTo>
                        <a:pt x="81" y="34"/>
                      </a:moveTo>
                      <a:cubicBezTo>
                        <a:pt x="81" y="34"/>
                        <a:pt x="67" y="15"/>
                        <a:pt x="40" y="5"/>
                      </a:cubicBezTo>
                      <a:cubicBezTo>
                        <a:pt x="30" y="1"/>
                        <a:pt x="9" y="0"/>
                        <a:pt x="5" y="6"/>
                      </a:cubicBezTo>
                      <a:cubicBezTo>
                        <a:pt x="0" y="11"/>
                        <a:pt x="9" y="21"/>
                        <a:pt x="23" y="26"/>
                      </a:cubicBezTo>
                      <a:cubicBezTo>
                        <a:pt x="50" y="36"/>
                        <a:pt x="81" y="34"/>
                        <a:pt x="81" y="34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24" name="Freeform 102">
                <a:extLst>
                  <a:ext uri="{FF2B5EF4-FFF2-40B4-BE49-F238E27FC236}">
                    <a16:creationId xmlns:a16="http://schemas.microsoft.com/office/drawing/2014/main" id="{6D314DB7-D0E2-46B7-8151-9F8963168E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73874" y="9952995"/>
                <a:ext cx="1366838" cy="2463800"/>
              </a:xfrm>
              <a:custGeom>
                <a:avLst/>
                <a:gdLst>
                  <a:gd name="T0" fmla="*/ 158 w 564"/>
                  <a:gd name="T1" fmla="*/ 626 h 1017"/>
                  <a:gd name="T2" fmla="*/ 184 w 564"/>
                  <a:gd name="T3" fmla="*/ 625 h 1017"/>
                  <a:gd name="T4" fmla="*/ 104 w 564"/>
                  <a:gd name="T5" fmla="*/ 578 h 1017"/>
                  <a:gd name="T6" fmla="*/ 66 w 564"/>
                  <a:gd name="T7" fmla="*/ 538 h 1017"/>
                  <a:gd name="T8" fmla="*/ 74 w 564"/>
                  <a:gd name="T9" fmla="*/ 524 h 1017"/>
                  <a:gd name="T10" fmla="*/ 94 w 564"/>
                  <a:gd name="T11" fmla="*/ 491 h 1017"/>
                  <a:gd name="T12" fmla="*/ 152 w 564"/>
                  <a:gd name="T13" fmla="*/ 538 h 1017"/>
                  <a:gd name="T14" fmla="*/ 104 w 564"/>
                  <a:gd name="T15" fmla="*/ 471 h 1017"/>
                  <a:gd name="T16" fmla="*/ 183 w 564"/>
                  <a:gd name="T17" fmla="*/ 307 h 1017"/>
                  <a:gd name="T18" fmla="*/ 267 w 564"/>
                  <a:gd name="T19" fmla="*/ 358 h 1017"/>
                  <a:gd name="T20" fmla="*/ 276 w 564"/>
                  <a:gd name="T21" fmla="*/ 358 h 1017"/>
                  <a:gd name="T22" fmla="*/ 196 w 564"/>
                  <a:gd name="T23" fmla="*/ 282 h 1017"/>
                  <a:gd name="T24" fmla="*/ 198 w 564"/>
                  <a:gd name="T25" fmla="*/ 279 h 1017"/>
                  <a:gd name="T26" fmla="*/ 236 w 564"/>
                  <a:gd name="T27" fmla="*/ 207 h 1017"/>
                  <a:gd name="T28" fmla="*/ 259 w 564"/>
                  <a:gd name="T29" fmla="*/ 213 h 1017"/>
                  <a:gd name="T30" fmla="*/ 239 w 564"/>
                  <a:gd name="T31" fmla="*/ 200 h 1017"/>
                  <a:gd name="T32" fmla="*/ 273 w 564"/>
                  <a:gd name="T33" fmla="*/ 136 h 1017"/>
                  <a:gd name="T34" fmla="*/ 364 w 564"/>
                  <a:gd name="T35" fmla="*/ 206 h 1017"/>
                  <a:gd name="T36" fmla="*/ 295 w 564"/>
                  <a:gd name="T37" fmla="*/ 99 h 1017"/>
                  <a:gd name="T38" fmla="*/ 312 w 564"/>
                  <a:gd name="T39" fmla="*/ 78 h 1017"/>
                  <a:gd name="T40" fmla="*/ 465 w 564"/>
                  <a:gd name="T41" fmla="*/ 9 h 1017"/>
                  <a:gd name="T42" fmla="*/ 534 w 564"/>
                  <a:gd name="T43" fmla="*/ 138 h 1017"/>
                  <a:gd name="T44" fmla="*/ 554 w 564"/>
                  <a:gd name="T45" fmla="*/ 205 h 1017"/>
                  <a:gd name="T46" fmla="*/ 454 w 564"/>
                  <a:gd name="T47" fmla="*/ 236 h 1017"/>
                  <a:gd name="T48" fmla="*/ 502 w 564"/>
                  <a:gd name="T49" fmla="*/ 247 h 1017"/>
                  <a:gd name="T50" fmla="*/ 560 w 564"/>
                  <a:gd name="T51" fmla="*/ 243 h 1017"/>
                  <a:gd name="T52" fmla="*/ 562 w 564"/>
                  <a:gd name="T53" fmla="*/ 345 h 1017"/>
                  <a:gd name="T54" fmla="*/ 492 w 564"/>
                  <a:gd name="T55" fmla="*/ 357 h 1017"/>
                  <a:gd name="T56" fmla="*/ 479 w 564"/>
                  <a:gd name="T57" fmla="*/ 356 h 1017"/>
                  <a:gd name="T58" fmla="*/ 542 w 564"/>
                  <a:gd name="T59" fmla="*/ 377 h 1017"/>
                  <a:gd name="T60" fmla="*/ 559 w 564"/>
                  <a:gd name="T61" fmla="*/ 378 h 1017"/>
                  <a:gd name="T62" fmla="*/ 548 w 564"/>
                  <a:gd name="T63" fmla="*/ 446 h 1017"/>
                  <a:gd name="T64" fmla="*/ 527 w 564"/>
                  <a:gd name="T65" fmla="*/ 515 h 1017"/>
                  <a:gd name="T66" fmla="*/ 523 w 564"/>
                  <a:gd name="T67" fmla="*/ 512 h 1017"/>
                  <a:gd name="T68" fmla="*/ 499 w 564"/>
                  <a:gd name="T69" fmla="*/ 500 h 1017"/>
                  <a:gd name="T70" fmla="*/ 522 w 564"/>
                  <a:gd name="T71" fmla="*/ 526 h 1017"/>
                  <a:gd name="T72" fmla="*/ 490 w 564"/>
                  <a:gd name="T73" fmla="*/ 594 h 1017"/>
                  <a:gd name="T74" fmla="*/ 415 w 564"/>
                  <a:gd name="T75" fmla="*/ 571 h 1017"/>
                  <a:gd name="T76" fmla="*/ 477 w 564"/>
                  <a:gd name="T77" fmla="*/ 618 h 1017"/>
                  <a:gd name="T78" fmla="*/ 429 w 564"/>
                  <a:gd name="T79" fmla="*/ 705 h 1017"/>
                  <a:gd name="T80" fmla="*/ 378 w 564"/>
                  <a:gd name="T81" fmla="*/ 664 h 1017"/>
                  <a:gd name="T82" fmla="*/ 419 w 564"/>
                  <a:gd name="T83" fmla="*/ 722 h 1017"/>
                  <a:gd name="T84" fmla="*/ 343 w 564"/>
                  <a:gd name="T85" fmla="*/ 844 h 1017"/>
                  <a:gd name="T86" fmla="*/ 294 w 564"/>
                  <a:gd name="T87" fmla="*/ 793 h 1017"/>
                  <a:gd name="T88" fmla="*/ 332 w 564"/>
                  <a:gd name="T89" fmla="*/ 861 h 1017"/>
                  <a:gd name="T90" fmla="*/ 319 w 564"/>
                  <a:gd name="T91" fmla="*/ 882 h 1017"/>
                  <a:gd name="T92" fmla="*/ 94 w 564"/>
                  <a:gd name="T93" fmla="*/ 922 h 1017"/>
                  <a:gd name="T94" fmla="*/ 4 w 564"/>
                  <a:gd name="T95" fmla="*/ 731 h 1017"/>
                  <a:gd name="T96" fmla="*/ 59 w 564"/>
                  <a:gd name="T97" fmla="*/ 551 h 1017"/>
                  <a:gd name="T98" fmla="*/ 158 w 564"/>
                  <a:gd name="T99" fmla="*/ 626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64" h="1017">
                    <a:moveTo>
                      <a:pt x="158" y="626"/>
                    </a:moveTo>
                    <a:cubicBezTo>
                      <a:pt x="167" y="627"/>
                      <a:pt x="176" y="626"/>
                      <a:pt x="184" y="625"/>
                    </a:cubicBezTo>
                    <a:cubicBezTo>
                      <a:pt x="157" y="616"/>
                      <a:pt x="130" y="600"/>
                      <a:pt x="104" y="578"/>
                    </a:cubicBezTo>
                    <a:cubicBezTo>
                      <a:pt x="90" y="566"/>
                      <a:pt x="77" y="553"/>
                      <a:pt x="66" y="538"/>
                    </a:cubicBezTo>
                    <a:cubicBezTo>
                      <a:pt x="69" y="533"/>
                      <a:pt x="72" y="529"/>
                      <a:pt x="74" y="524"/>
                    </a:cubicBezTo>
                    <a:cubicBezTo>
                      <a:pt x="80" y="516"/>
                      <a:pt x="87" y="504"/>
                      <a:pt x="94" y="491"/>
                    </a:cubicBezTo>
                    <a:cubicBezTo>
                      <a:pt x="110" y="513"/>
                      <a:pt x="130" y="529"/>
                      <a:pt x="152" y="538"/>
                    </a:cubicBezTo>
                    <a:cubicBezTo>
                      <a:pt x="132" y="522"/>
                      <a:pt x="116" y="499"/>
                      <a:pt x="104" y="471"/>
                    </a:cubicBezTo>
                    <a:cubicBezTo>
                      <a:pt x="130" y="420"/>
                      <a:pt x="160" y="352"/>
                      <a:pt x="183" y="307"/>
                    </a:cubicBezTo>
                    <a:cubicBezTo>
                      <a:pt x="205" y="336"/>
                      <a:pt x="234" y="355"/>
                      <a:pt x="267" y="358"/>
                    </a:cubicBezTo>
                    <a:cubicBezTo>
                      <a:pt x="270" y="358"/>
                      <a:pt x="273" y="358"/>
                      <a:pt x="276" y="358"/>
                    </a:cubicBezTo>
                    <a:cubicBezTo>
                      <a:pt x="242" y="347"/>
                      <a:pt x="214" y="319"/>
                      <a:pt x="196" y="282"/>
                    </a:cubicBezTo>
                    <a:cubicBezTo>
                      <a:pt x="197" y="281"/>
                      <a:pt x="197" y="280"/>
                      <a:pt x="198" y="279"/>
                    </a:cubicBezTo>
                    <a:cubicBezTo>
                      <a:pt x="209" y="260"/>
                      <a:pt x="222" y="234"/>
                      <a:pt x="236" y="207"/>
                    </a:cubicBezTo>
                    <a:cubicBezTo>
                      <a:pt x="244" y="208"/>
                      <a:pt x="252" y="210"/>
                      <a:pt x="259" y="213"/>
                    </a:cubicBezTo>
                    <a:cubicBezTo>
                      <a:pt x="253" y="208"/>
                      <a:pt x="246" y="204"/>
                      <a:pt x="239" y="200"/>
                    </a:cubicBezTo>
                    <a:cubicBezTo>
                      <a:pt x="250" y="178"/>
                      <a:pt x="262" y="156"/>
                      <a:pt x="273" y="136"/>
                    </a:cubicBezTo>
                    <a:cubicBezTo>
                      <a:pt x="294" y="174"/>
                      <a:pt x="326" y="200"/>
                      <a:pt x="364" y="206"/>
                    </a:cubicBezTo>
                    <a:cubicBezTo>
                      <a:pt x="331" y="184"/>
                      <a:pt x="306" y="145"/>
                      <a:pt x="295" y="99"/>
                    </a:cubicBezTo>
                    <a:cubicBezTo>
                      <a:pt x="301" y="91"/>
                      <a:pt x="306" y="83"/>
                      <a:pt x="312" y="78"/>
                    </a:cubicBezTo>
                    <a:cubicBezTo>
                      <a:pt x="347" y="39"/>
                      <a:pt x="464" y="0"/>
                      <a:pt x="465" y="9"/>
                    </a:cubicBezTo>
                    <a:cubicBezTo>
                      <a:pt x="469" y="31"/>
                      <a:pt x="494" y="40"/>
                      <a:pt x="534" y="138"/>
                    </a:cubicBezTo>
                    <a:cubicBezTo>
                      <a:pt x="542" y="160"/>
                      <a:pt x="549" y="182"/>
                      <a:pt x="554" y="205"/>
                    </a:cubicBezTo>
                    <a:cubicBezTo>
                      <a:pt x="528" y="225"/>
                      <a:pt x="493" y="237"/>
                      <a:pt x="454" y="236"/>
                    </a:cubicBezTo>
                    <a:cubicBezTo>
                      <a:pt x="469" y="242"/>
                      <a:pt x="485" y="246"/>
                      <a:pt x="502" y="247"/>
                    </a:cubicBezTo>
                    <a:cubicBezTo>
                      <a:pt x="522" y="249"/>
                      <a:pt x="542" y="247"/>
                      <a:pt x="560" y="243"/>
                    </a:cubicBezTo>
                    <a:cubicBezTo>
                      <a:pt x="564" y="277"/>
                      <a:pt x="564" y="311"/>
                      <a:pt x="562" y="345"/>
                    </a:cubicBezTo>
                    <a:cubicBezTo>
                      <a:pt x="542" y="355"/>
                      <a:pt x="518" y="360"/>
                      <a:pt x="492" y="357"/>
                    </a:cubicBezTo>
                    <a:cubicBezTo>
                      <a:pt x="487" y="357"/>
                      <a:pt x="483" y="356"/>
                      <a:pt x="479" y="356"/>
                    </a:cubicBezTo>
                    <a:cubicBezTo>
                      <a:pt x="497" y="367"/>
                      <a:pt x="519" y="375"/>
                      <a:pt x="542" y="377"/>
                    </a:cubicBezTo>
                    <a:cubicBezTo>
                      <a:pt x="548" y="378"/>
                      <a:pt x="553" y="378"/>
                      <a:pt x="559" y="378"/>
                    </a:cubicBezTo>
                    <a:cubicBezTo>
                      <a:pt x="556" y="401"/>
                      <a:pt x="552" y="424"/>
                      <a:pt x="548" y="446"/>
                    </a:cubicBezTo>
                    <a:cubicBezTo>
                      <a:pt x="544" y="466"/>
                      <a:pt x="537" y="489"/>
                      <a:pt x="527" y="515"/>
                    </a:cubicBezTo>
                    <a:cubicBezTo>
                      <a:pt x="525" y="514"/>
                      <a:pt x="524" y="513"/>
                      <a:pt x="523" y="512"/>
                    </a:cubicBezTo>
                    <a:cubicBezTo>
                      <a:pt x="515" y="508"/>
                      <a:pt x="507" y="504"/>
                      <a:pt x="499" y="500"/>
                    </a:cubicBezTo>
                    <a:cubicBezTo>
                      <a:pt x="508" y="509"/>
                      <a:pt x="516" y="518"/>
                      <a:pt x="522" y="526"/>
                    </a:cubicBezTo>
                    <a:cubicBezTo>
                      <a:pt x="513" y="548"/>
                      <a:pt x="502" y="570"/>
                      <a:pt x="490" y="594"/>
                    </a:cubicBezTo>
                    <a:cubicBezTo>
                      <a:pt x="469" y="592"/>
                      <a:pt x="443" y="585"/>
                      <a:pt x="415" y="571"/>
                    </a:cubicBezTo>
                    <a:cubicBezTo>
                      <a:pt x="431" y="588"/>
                      <a:pt x="453" y="604"/>
                      <a:pt x="477" y="618"/>
                    </a:cubicBezTo>
                    <a:cubicBezTo>
                      <a:pt x="462" y="647"/>
                      <a:pt x="446" y="676"/>
                      <a:pt x="429" y="705"/>
                    </a:cubicBezTo>
                    <a:cubicBezTo>
                      <a:pt x="410" y="692"/>
                      <a:pt x="392" y="678"/>
                      <a:pt x="378" y="664"/>
                    </a:cubicBezTo>
                    <a:cubicBezTo>
                      <a:pt x="384" y="681"/>
                      <a:pt x="398" y="702"/>
                      <a:pt x="419" y="722"/>
                    </a:cubicBezTo>
                    <a:cubicBezTo>
                      <a:pt x="394" y="764"/>
                      <a:pt x="368" y="806"/>
                      <a:pt x="343" y="844"/>
                    </a:cubicBezTo>
                    <a:cubicBezTo>
                      <a:pt x="322" y="827"/>
                      <a:pt x="305" y="809"/>
                      <a:pt x="294" y="793"/>
                    </a:cubicBezTo>
                    <a:cubicBezTo>
                      <a:pt x="292" y="811"/>
                      <a:pt x="307" y="836"/>
                      <a:pt x="332" y="861"/>
                    </a:cubicBezTo>
                    <a:cubicBezTo>
                      <a:pt x="328" y="868"/>
                      <a:pt x="324" y="875"/>
                      <a:pt x="319" y="882"/>
                    </a:cubicBezTo>
                    <a:cubicBezTo>
                      <a:pt x="231" y="1017"/>
                      <a:pt x="94" y="922"/>
                      <a:pt x="94" y="922"/>
                    </a:cubicBezTo>
                    <a:cubicBezTo>
                      <a:pt x="94" y="922"/>
                      <a:pt x="13" y="784"/>
                      <a:pt x="4" y="731"/>
                    </a:cubicBezTo>
                    <a:cubicBezTo>
                      <a:pt x="0" y="700"/>
                      <a:pt x="30" y="608"/>
                      <a:pt x="59" y="551"/>
                    </a:cubicBezTo>
                    <a:cubicBezTo>
                      <a:pt x="81" y="593"/>
                      <a:pt x="117" y="622"/>
                      <a:pt x="158" y="626"/>
                    </a:cubicBez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Freeform 103">
                <a:extLst>
                  <a:ext uri="{FF2B5EF4-FFF2-40B4-BE49-F238E27FC236}">
                    <a16:creationId xmlns:a16="http://schemas.microsoft.com/office/drawing/2014/main" id="{1074F0C0-B232-4C5B-A872-1D2F6C715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73874" y="9962520"/>
                <a:ext cx="1123950" cy="2228850"/>
              </a:xfrm>
              <a:custGeom>
                <a:avLst/>
                <a:gdLst>
                  <a:gd name="T0" fmla="*/ 94 w 464"/>
                  <a:gd name="T1" fmla="*/ 918 h 920"/>
                  <a:gd name="T2" fmla="*/ 4 w 464"/>
                  <a:gd name="T3" fmla="*/ 727 h 920"/>
                  <a:gd name="T4" fmla="*/ 59 w 464"/>
                  <a:gd name="T5" fmla="*/ 547 h 920"/>
                  <a:gd name="T6" fmla="*/ 158 w 464"/>
                  <a:gd name="T7" fmla="*/ 622 h 920"/>
                  <a:gd name="T8" fmla="*/ 184 w 464"/>
                  <a:gd name="T9" fmla="*/ 621 h 920"/>
                  <a:gd name="T10" fmla="*/ 104 w 464"/>
                  <a:gd name="T11" fmla="*/ 574 h 920"/>
                  <a:gd name="T12" fmla="*/ 66 w 464"/>
                  <a:gd name="T13" fmla="*/ 534 h 920"/>
                  <a:gd name="T14" fmla="*/ 74 w 464"/>
                  <a:gd name="T15" fmla="*/ 520 h 920"/>
                  <a:gd name="T16" fmla="*/ 94 w 464"/>
                  <a:gd name="T17" fmla="*/ 487 h 920"/>
                  <a:gd name="T18" fmla="*/ 152 w 464"/>
                  <a:gd name="T19" fmla="*/ 534 h 920"/>
                  <a:gd name="T20" fmla="*/ 104 w 464"/>
                  <a:gd name="T21" fmla="*/ 467 h 920"/>
                  <a:gd name="T22" fmla="*/ 183 w 464"/>
                  <a:gd name="T23" fmla="*/ 303 h 920"/>
                  <a:gd name="T24" fmla="*/ 267 w 464"/>
                  <a:gd name="T25" fmla="*/ 354 h 920"/>
                  <a:gd name="T26" fmla="*/ 276 w 464"/>
                  <a:gd name="T27" fmla="*/ 354 h 920"/>
                  <a:gd name="T28" fmla="*/ 196 w 464"/>
                  <a:gd name="T29" fmla="*/ 278 h 920"/>
                  <a:gd name="T30" fmla="*/ 198 w 464"/>
                  <a:gd name="T31" fmla="*/ 275 h 920"/>
                  <a:gd name="T32" fmla="*/ 236 w 464"/>
                  <a:gd name="T33" fmla="*/ 203 h 920"/>
                  <a:gd name="T34" fmla="*/ 259 w 464"/>
                  <a:gd name="T35" fmla="*/ 209 h 920"/>
                  <a:gd name="T36" fmla="*/ 239 w 464"/>
                  <a:gd name="T37" fmla="*/ 196 h 920"/>
                  <a:gd name="T38" fmla="*/ 273 w 464"/>
                  <a:gd name="T39" fmla="*/ 132 h 920"/>
                  <a:gd name="T40" fmla="*/ 364 w 464"/>
                  <a:gd name="T41" fmla="*/ 202 h 920"/>
                  <a:gd name="T42" fmla="*/ 295 w 464"/>
                  <a:gd name="T43" fmla="*/ 95 h 920"/>
                  <a:gd name="T44" fmla="*/ 312 w 464"/>
                  <a:gd name="T45" fmla="*/ 74 h 920"/>
                  <a:gd name="T46" fmla="*/ 464 w 464"/>
                  <a:gd name="T47" fmla="*/ 4 h 920"/>
                  <a:gd name="T48" fmla="*/ 97 w 464"/>
                  <a:gd name="T49" fmla="*/ 920 h 920"/>
                  <a:gd name="T50" fmla="*/ 94 w 464"/>
                  <a:gd name="T51" fmla="*/ 918 h 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64" h="920">
                    <a:moveTo>
                      <a:pt x="94" y="918"/>
                    </a:moveTo>
                    <a:cubicBezTo>
                      <a:pt x="94" y="918"/>
                      <a:pt x="13" y="780"/>
                      <a:pt x="4" y="727"/>
                    </a:cubicBezTo>
                    <a:cubicBezTo>
                      <a:pt x="0" y="696"/>
                      <a:pt x="30" y="604"/>
                      <a:pt x="59" y="547"/>
                    </a:cubicBezTo>
                    <a:cubicBezTo>
                      <a:pt x="81" y="589"/>
                      <a:pt x="117" y="618"/>
                      <a:pt x="158" y="622"/>
                    </a:cubicBezTo>
                    <a:cubicBezTo>
                      <a:pt x="167" y="623"/>
                      <a:pt x="176" y="622"/>
                      <a:pt x="184" y="621"/>
                    </a:cubicBezTo>
                    <a:cubicBezTo>
                      <a:pt x="157" y="612"/>
                      <a:pt x="130" y="596"/>
                      <a:pt x="104" y="574"/>
                    </a:cubicBezTo>
                    <a:cubicBezTo>
                      <a:pt x="90" y="562"/>
                      <a:pt x="77" y="549"/>
                      <a:pt x="66" y="534"/>
                    </a:cubicBezTo>
                    <a:cubicBezTo>
                      <a:pt x="69" y="529"/>
                      <a:pt x="72" y="525"/>
                      <a:pt x="74" y="520"/>
                    </a:cubicBezTo>
                    <a:cubicBezTo>
                      <a:pt x="80" y="512"/>
                      <a:pt x="87" y="500"/>
                      <a:pt x="94" y="487"/>
                    </a:cubicBezTo>
                    <a:cubicBezTo>
                      <a:pt x="110" y="509"/>
                      <a:pt x="130" y="525"/>
                      <a:pt x="152" y="534"/>
                    </a:cubicBezTo>
                    <a:cubicBezTo>
                      <a:pt x="132" y="518"/>
                      <a:pt x="116" y="495"/>
                      <a:pt x="104" y="467"/>
                    </a:cubicBezTo>
                    <a:cubicBezTo>
                      <a:pt x="130" y="416"/>
                      <a:pt x="160" y="348"/>
                      <a:pt x="183" y="303"/>
                    </a:cubicBezTo>
                    <a:cubicBezTo>
                      <a:pt x="205" y="332"/>
                      <a:pt x="234" y="351"/>
                      <a:pt x="267" y="354"/>
                    </a:cubicBezTo>
                    <a:cubicBezTo>
                      <a:pt x="270" y="354"/>
                      <a:pt x="273" y="354"/>
                      <a:pt x="276" y="354"/>
                    </a:cubicBezTo>
                    <a:cubicBezTo>
                      <a:pt x="242" y="343"/>
                      <a:pt x="214" y="315"/>
                      <a:pt x="196" y="278"/>
                    </a:cubicBezTo>
                    <a:cubicBezTo>
                      <a:pt x="197" y="277"/>
                      <a:pt x="197" y="276"/>
                      <a:pt x="198" y="275"/>
                    </a:cubicBezTo>
                    <a:cubicBezTo>
                      <a:pt x="209" y="256"/>
                      <a:pt x="222" y="230"/>
                      <a:pt x="236" y="203"/>
                    </a:cubicBezTo>
                    <a:cubicBezTo>
                      <a:pt x="244" y="204"/>
                      <a:pt x="252" y="206"/>
                      <a:pt x="259" y="209"/>
                    </a:cubicBezTo>
                    <a:cubicBezTo>
                      <a:pt x="253" y="204"/>
                      <a:pt x="246" y="200"/>
                      <a:pt x="239" y="196"/>
                    </a:cubicBezTo>
                    <a:cubicBezTo>
                      <a:pt x="250" y="174"/>
                      <a:pt x="262" y="152"/>
                      <a:pt x="273" y="132"/>
                    </a:cubicBezTo>
                    <a:cubicBezTo>
                      <a:pt x="294" y="170"/>
                      <a:pt x="326" y="196"/>
                      <a:pt x="364" y="202"/>
                    </a:cubicBezTo>
                    <a:cubicBezTo>
                      <a:pt x="331" y="180"/>
                      <a:pt x="306" y="141"/>
                      <a:pt x="295" y="95"/>
                    </a:cubicBezTo>
                    <a:cubicBezTo>
                      <a:pt x="301" y="87"/>
                      <a:pt x="306" y="79"/>
                      <a:pt x="312" y="74"/>
                    </a:cubicBezTo>
                    <a:cubicBezTo>
                      <a:pt x="345" y="37"/>
                      <a:pt x="452" y="0"/>
                      <a:pt x="464" y="4"/>
                    </a:cubicBezTo>
                    <a:cubicBezTo>
                      <a:pt x="394" y="386"/>
                      <a:pt x="263" y="708"/>
                      <a:pt x="97" y="920"/>
                    </a:cubicBezTo>
                    <a:cubicBezTo>
                      <a:pt x="95" y="919"/>
                      <a:pt x="94" y="918"/>
                      <a:pt x="94" y="918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Freeform 104">
                <a:extLst>
                  <a:ext uri="{FF2B5EF4-FFF2-40B4-BE49-F238E27FC236}">
                    <a16:creationId xmlns:a16="http://schemas.microsoft.com/office/drawing/2014/main" id="{CC4095E9-1653-4F54-BE62-248E3A2B0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11987" y="10573708"/>
                <a:ext cx="1003300" cy="1758950"/>
              </a:xfrm>
              <a:custGeom>
                <a:avLst/>
                <a:gdLst>
                  <a:gd name="T0" fmla="*/ 41 w 414"/>
                  <a:gd name="T1" fmla="*/ 408 h 726"/>
                  <a:gd name="T2" fmla="*/ 305 w 414"/>
                  <a:gd name="T3" fmla="*/ 726 h 726"/>
                  <a:gd name="T4" fmla="*/ 374 w 414"/>
                  <a:gd name="T5" fmla="*/ 318 h 726"/>
                  <a:gd name="T6" fmla="*/ 109 w 414"/>
                  <a:gd name="T7" fmla="*/ 0 h 726"/>
                  <a:gd name="T8" fmla="*/ 41 w 414"/>
                  <a:gd name="T9" fmla="*/ 408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4" h="726">
                    <a:moveTo>
                      <a:pt x="41" y="408"/>
                    </a:moveTo>
                    <a:cubicBezTo>
                      <a:pt x="82" y="558"/>
                      <a:pt x="183" y="674"/>
                      <a:pt x="305" y="726"/>
                    </a:cubicBezTo>
                    <a:cubicBezTo>
                      <a:pt x="384" y="619"/>
                      <a:pt x="414" y="469"/>
                      <a:pt x="374" y="318"/>
                    </a:cubicBezTo>
                    <a:cubicBezTo>
                      <a:pt x="333" y="168"/>
                      <a:pt x="232" y="53"/>
                      <a:pt x="109" y="0"/>
                    </a:cubicBezTo>
                    <a:cubicBezTo>
                      <a:pt x="30" y="107"/>
                      <a:pt x="0" y="257"/>
                      <a:pt x="41" y="408"/>
                    </a:cubicBezTo>
                    <a:close/>
                  </a:path>
                </a:pathLst>
              </a:custGeom>
              <a:solidFill>
                <a:srgbClr val="742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Line 105">
                <a:extLst>
                  <a:ext uri="{FF2B5EF4-FFF2-40B4-BE49-F238E27FC236}">
                    <a16:creationId xmlns:a16="http://schemas.microsoft.com/office/drawing/2014/main" id="{B5754191-1456-4F7F-862A-1960BBC259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6713537" y="10711820"/>
                <a:ext cx="419100" cy="15541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Line 106">
                <a:extLst>
                  <a:ext uri="{FF2B5EF4-FFF2-40B4-BE49-F238E27FC236}">
                    <a16:creationId xmlns:a16="http://schemas.microsoft.com/office/drawing/2014/main" id="{B376059E-6BA8-47B9-B034-DF0520BA0F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626224" y="10813420"/>
                <a:ext cx="125413" cy="2206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Line 107">
                <a:extLst>
                  <a:ext uri="{FF2B5EF4-FFF2-40B4-BE49-F238E27FC236}">
                    <a16:creationId xmlns:a16="http://schemas.microsoft.com/office/drawing/2014/main" id="{072AFF3C-8D3D-4C1B-9A4B-2AA56E40E2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553199" y="11027733"/>
                <a:ext cx="153988" cy="2698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Line 108">
                <a:extLst>
                  <a:ext uri="{FF2B5EF4-FFF2-40B4-BE49-F238E27FC236}">
                    <a16:creationId xmlns:a16="http://schemas.microsoft.com/office/drawing/2014/main" id="{CE12B68C-39C6-4278-B54F-BCE2F82307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483349" y="11110283"/>
                <a:ext cx="261938" cy="454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Line 109">
                <a:extLst>
                  <a:ext uri="{FF2B5EF4-FFF2-40B4-BE49-F238E27FC236}">
                    <a16:creationId xmlns:a16="http://schemas.microsoft.com/office/drawing/2014/main" id="{2A49AA6E-EE05-4AEE-9D53-5B4C52F7CE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410324" y="11389683"/>
                <a:ext cx="250825" cy="4381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Line 110">
                <a:extLst>
                  <a:ext uri="{FF2B5EF4-FFF2-40B4-BE49-F238E27FC236}">
                    <a16:creationId xmlns:a16="http://schemas.microsoft.com/office/drawing/2014/main" id="{5FB44096-E267-4783-9C57-8ED2EA4B5F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340474" y="11846883"/>
                <a:ext cx="141288" cy="2476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Line 111">
                <a:extLst>
                  <a:ext uri="{FF2B5EF4-FFF2-40B4-BE49-F238E27FC236}">
                    <a16:creationId xmlns:a16="http://schemas.microsoft.com/office/drawing/2014/main" id="{545E1080-F184-401A-82F3-ED4ED3F1BC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57999" y="10875333"/>
                <a:ext cx="219075" cy="1270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Line 112">
                <a:extLst>
                  <a:ext uri="{FF2B5EF4-FFF2-40B4-BE49-F238E27FC236}">
                    <a16:creationId xmlns:a16="http://schemas.microsoft.com/office/drawing/2014/main" id="{835B88C6-EA39-4A4C-946F-A414DD93F3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908799" y="11069008"/>
                <a:ext cx="342900" cy="1968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Line 113">
                <a:extLst>
                  <a:ext uri="{FF2B5EF4-FFF2-40B4-BE49-F238E27FC236}">
                    <a16:creationId xmlns:a16="http://schemas.microsoft.com/office/drawing/2014/main" id="{EB0C3A4E-41F7-4770-8936-6F31F646E6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924674" y="11284908"/>
                <a:ext cx="428625" cy="2476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Line 114">
                <a:extLst>
                  <a:ext uri="{FF2B5EF4-FFF2-40B4-BE49-F238E27FC236}">
                    <a16:creationId xmlns:a16="http://schemas.microsoft.com/office/drawing/2014/main" id="{AE72D05F-0C8B-427F-987A-5774494AE5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62762" y="11545258"/>
                <a:ext cx="439738" cy="2508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Line 115">
                <a:extLst>
                  <a:ext uri="{FF2B5EF4-FFF2-40B4-BE49-F238E27FC236}">
                    <a16:creationId xmlns:a16="http://schemas.microsoft.com/office/drawing/2014/main" id="{85605F82-C3E7-480B-BE91-8CB71725D7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730999" y="11845295"/>
                <a:ext cx="377825" cy="2174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116">
                <a:extLst>
                  <a:ext uri="{FF2B5EF4-FFF2-40B4-BE49-F238E27FC236}">
                    <a16:creationId xmlns:a16="http://schemas.microsoft.com/office/drawing/2014/main" id="{A21C5026-1897-4626-900C-DD2A178B2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778749" y="11135683"/>
                <a:ext cx="1392238" cy="1330325"/>
              </a:xfrm>
              <a:custGeom>
                <a:avLst/>
                <a:gdLst>
                  <a:gd name="T0" fmla="*/ 172 w 575"/>
                  <a:gd name="T1" fmla="*/ 402 h 549"/>
                  <a:gd name="T2" fmla="*/ 566 w 575"/>
                  <a:gd name="T3" fmla="*/ 527 h 549"/>
                  <a:gd name="T4" fmla="*/ 403 w 575"/>
                  <a:gd name="T5" fmla="*/ 147 h 549"/>
                  <a:gd name="T6" fmla="*/ 8 w 575"/>
                  <a:gd name="T7" fmla="*/ 22 h 549"/>
                  <a:gd name="T8" fmla="*/ 172 w 575"/>
                  <a:gd name="T9" fmla="*/ 402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5" h="549">
                    <a:moveTo>
                      <a:pt x="172" y="402"/>
                    </a:moveTo>
                    <a:cubicBezTo>
                      <a:pt x="287" y="507"/>
                      <a:pt x="435" y="549"/>
                      <a:pt x="566" y="527"/>
                    </a:cubicBezTo>
                    <a:cubicBezTo>
                      <a:pt x="575" y="394"/>
                      <a:pt x="519" y="251"/>
                      <a:pt x="403" y="147"/>
                    </a:cubicBezTo>
                    <a:cubicBezTo>
                      <a:pt x="287" y="42"/>
                      <a:pt x="140" y="0"/>
                      <a:pt x="8" y="22"/>
                    </a:cubicBezTo>
                    <a:cubicBezTo>
                      <a:pt x="0" y="155"/>
                      <a:pt x="56" y="298"/>
                      <a:pt x="172" y="402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Line 117">
                <a:extLst>
                  <a:ext uri="{FF2B5EF4-FFF2-40B4-BE49-F238E27FC236}">
                    <a16:creationId xmlns:a16="http://schemas.microsoft.com/office/drawing/2014/main" id="{754DB6F4-9308-41D0-88EE-6D344A8D7D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654924" y="11288083"/>
                <a:ext cx="1193800" cy="10826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Line 118">
                <a:extLst>
                  <a:ext uri="{FF2B5EF4-FFF2-40B4-BE49-F238E27FC236}">
                    <a16:creationId xmlns:a16="http://schemas.microsoft.com/office/drawing/2014/main" id="{62851F21-EF72-4FD7-BDEB-E5DD864449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419974" y="11257920"/>
                <a:ext cx="11113" cy="2524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Line 119">
                <a:extLst>
                  <a:ext uri="{FF2B5EF4-FFF2-40B4-BE49-F238E27FC236}">
                    <a16:creationId xmlns:a16="http://schemas.microsoft.com/office/drawing/2014/main" id="{CFCAAED6-C788-4FBD-8936-58FE6A49AD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219949" y="11381745"/>
                <a:ext cx="14288" cy="3127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Line 120">
                <a:extLst>
                  <a:ext uri="{FF2B5EF4-FFF2-40B4-BE49-F238E27FC236}">
                    <a16:creationId xmlns:a16="http://schemas.microsoft.com/office/drawing/2014/main" id="{4A65BB1F-20E5-4690-A82E-13D4864F07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027862" y="11357933"/>
                <a:ext cx="26988" cy="520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Line 121">
                <a:extLst>
                  <a:ext uri="{FF2B5EF4-FFF2-40B4-BE49-F238E27FC236}">
                    <a16:creationId xmlns:a16="http://schemas.microsoft.com/office/drawing/2014/main" id="{CEDF93F7-BC5C-4ABC-97D3-2B30DB972D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23074" y="11556370"/>
                <a:ext cx="25400" cy="5064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Line 122">
                <a:extLst>
                  <a:ext uri="{FF2B5EF4-FFF2-40B4-BE49-F238E27FC236}">
                    <a16:creationId xmlns:a16="http://schemas.microsoft.com/office/drawing/2014/main" id="{841B2402-FD2F-4FF9-B451-885826009C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608762" y="11965945"/>
                <a:ext cx="14288" cy="2809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Line 123">
                <a:extLst>
                  <a:ext uri="{FF2B5EF4-FFF2-40B4-BE49-F238E27FC236}">
                    <a16:creationId xmlns:a16="http://schemas.microsoft.com/office/drawing/2014/main" id="{F400788B-1E46-4A2E-AA1F-97176F8A9A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689849" y="11491283"/>
                <a:ext cx="254000" cy="12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Line 124">
                <a:extLst>
                  <a:ext uri="{FF2B5EF4-FFF2-40B4-BE49-F238E27FC236}">
                    <a16:creationId xmlns:a16="http://schemas.microsoft.com/office/drawing/2014/main" id="{6900958A-8AD8-4F28-81FA-F18C66D4E4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626349" y="11675433"/>
                <a:ext cx="395288" cy="190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Line 125">
                <a:extLst>
                  <a:ext uri="{FF2B5EF4-FFF2-40B4-BE49-F238E27FC236}">
                    <a16:creationId xmlns:a16="http://schemas.microsoft.com/office/drawing/2014/main" id="{D4D8CCB0-C6F6-4BCC-B82F-732A6FE17E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521574" y="11859583"/>
                <a:ext cx="493713" cy="238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Line 126">
                <a:extLst>
                  <a:ext uri="{FF2B5EF4-FFF2-40B4-BE49-F238E27FC236}">
                    <a16:creationId xmlns:a16="http://schemas.microsoft.com/office/drawing/2014/main" id="{94C11194-545D-469D-B166-8C8054173A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331074" y="12043733"/>
                <a:ext cx="506413" cy="26987"/>
              </a:xfrm>
              <a:prstGeom prst="line">
                <a:avLst/>
              </a:prstGeom>
              <a:noFill/>
              <a:ln w="14288" cap="flat">
                <a:solidFill>
                  <a:srgbClr val="0C115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Line 127">
                <a:extLst>
                  <a:ext uri="{FF2B5EF4-FFF2-40B4-BE49-F238E27FC236}">
                    <a16:creationId xmlns:a16="http://schemas.microsoft.com/office/drawing/2014/main" id="{29B1A00F-0877-4B04-873A-063343F4E0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058024" y="12227883"/>
                <a:ext cx="436563" cy="222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Freeform 128">
                <a:extLst>
                  <a:ext uri="{FF2B5EF4-FFF2-40B4-BE49-F238E27FC236}">
                    <a16:creationId xmlns:a16="http://schemas.microsoft.com/office/drawing/2014/main" id="{1EA82D20-8D26-480A-8440-88F0BB2E4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746999" y="11804020"/>
                <a:ext cx="1014413" cy="1022350"/>
              </a:xfrm>
              <a:custGeom>
                <a:avLst/>
                <a:gdLst>
                  <a:gd name="T0" fmla="*/ 150 w 419"/>
                  <a:gd name="T1" fmla="*/ 339 h 422"/>
                  <a:gd name="T2" fmla="*/ 154 w 419"/>
                  <a:gd name="T3" fmla="*/ 387 h 422"/>
                  <a:gd name="T4" fmla="*/ 50 w 419"/>
                  <a:gd name="T5" fmla="*/ 422 h 422"/>
                  <a:gd name="T6" fmla="*/ 23 w 419"/>
                  <a:gd name="T7" fmla="*/ 323 h 422"/>
                  <a:gd name="T8" fmla="*/ 419 w 419"/>
                  <a:gd name="T9" fmla="*/ 111 h 422"/>
                  <a:gd name="T10" fmla="*/ 255 w 419"/>
                  <a:gd name="T11" fmla="*/ 328 h 422"/>
                  <a:gd name="T12" fmla="*/ 183 w 419"/>
                  <a:gd name="T13" fmla="*/ 373 h 422"/>
                  <a:gd name="T14" fmla="*/ 150 w 419"/>
                  <a:gd name="T15" fmla="*/ 339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9" h="422">
                    <a:moveTo>
                      <a:pt x="150" y="339"/>
                    </a:moveTo>
                    <a:cubicBezTo>
                      <a:pt x="154" y="387"/>
                      <a:pt x="154" y="387"/>
                      <a:pt x="154" y="387"/>
                    </a:cubicBezTo>
                    <a:cubicBezTo>
                      <a:pt x="119" y="403"/>
                      <a:pt x="84" y="415"/>
                      <a:pt x="50" y="422"/>
                    </a:cubicBezTo>
                    <a:cubicBezTo>
                      <a:pt x="37" y="391"/>
                      <a:pt x="28" y="358"/>
                      <a:pt x="23" y="323"/>
                    </a:cubicBezTo>
                    <a:cubicBezTo>
                      <a:pt x="0" y="153"/>
                      <a:pt x="224" y="0"/>
                      <a:pt x="419" y="111"/>
                    </a:cubicBezTo>
                    <a:cubicBezTo>
                      <a:pt x="402" y="182"/>
                      <a:pt x="344" y="263"/>
                      <a:pt x="255" y="328"/>
                    </a:cubicBezTo>
                    <a:cubicBezTo>
                      <a:pt x="231" y="345"/>
                      <a:pt x="208" y="360"/>
                      <a:pt x="183" y="373"/>
                    </a:cubicBezTo>
                    <a:lnTo>
                      <a:pt x="150" y="339"/>
                    </a:lnTo>
                    <a:close/>
                  </a:path>
                </a:pathLst>
              </a:custGeom>
              <a:solidFill>
                <a:srgbClr val="641B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Freeform 129">
                <a:extLst>
                  <a:ext uri="{FF2B5EF4-FFF2-40B4-BE49-F238E27FC236}">
                    <a16:creationId xmlns:a16="http://schemas.microsoft.com/office/drawing/2014/main" id="{6F5720BA-CAAE-4679-B323-5849694EF7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26349" y="12072308"/>
                <a:ext cx="893763" cy="754062"/>
              </a:xfrm>
              <a:custGeom>
                <a:avLst/>
                <a:gdLst>
                  <a:gd name="T0" fmla="*/ 0 w 369"/>
                  <a:gd name="T1" fmla="*/ 311 h 311"/>
                  <a:gd name="T2" fmla="*/ 369 w 369"/>
                  <a:gd name="T3" fmla="*/ 0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69" h="311">
                    <a:moveTo>
                      <a:pt x="0" y="311"/>
                    </a:moveTo>
                    <a:cubicBezTo>
                      <a:pt x="0" y="311"/>
                      <a:pt x="62" y="16"/>
                      <a:pt x="369" y="0"/>
                    </a:cubicBezTo>
                  </a:path>
                </a:pathLst>
              </a:cu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Line 130">
                <a:extLst>
                  <a:ext uri="{FF2B5EF4-FFF2-40B4-BE49-F238E27FC236}">
                    <a16:creationId xmlns:a16="http://schemas.microsoft.com/office/drawing/2014/main" id="{B5C6A22D-2300-4BE1-8C2D-EE15D615BD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81912" y="12615233"/>
                <a:ext cx="134938" cy="317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Line 131">
                <a:extLst>
                  <a:ext uri="{FF2B5EF4-FFF2-40B4-BE49-F238E27FC236}">
                    <a16:creationId xmlns:a16="http://schemas.microsoft.com/office/drawing/2014/main" id="{BEBAB6CC-91ED-40E7-8E38-1802BDB21C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91437" y="12480295"/>
                <a:ext cx="222250" cy="285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Line 132">
                <a:extLst>
                  <a:ext uri="{FF2B5EF4-FFF2-40B4-BE49-F238E27FC236}">
                    <a16:creationId xmlns:a16="http://schemas.microsoft.com/office/drawing/2014/main" id="{60561950-BA19-4D6C-970D-C50C0FDE3A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64449" y="12358058"/>
                <a:ext cx="290513" cy="158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Line 133">
                <a:extLst>
                  <a:ext uri="{FF2B5EF4-FFF2-40B4-BE49-F238E27FC236}">
                    <a16:creationId xmlns:a16="http://schemas.microsoft.com/office/drawing/2014/main" id="{F6F84221-4D88-40B3-B571-A2474445DF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585074" y="12227883"/>
                <a:ext cx="319088" cy="333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Line 134">
                <a:extLst>
                  <a:ext uri="{FF2B5EF4-FFF2-40B4-BE49-F238E27FC236}">
                    <a16:creationId xmlns:a16="http://schemas.microsoft.com/office/drawing/2014/main" id="{C7741803-D811-4F3C-B9A1-498D653B42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473949" y="12121520"/>
                <a:ext cx="309563" cy="73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Line 135">
                <a:extLst>
                  <a:ext uri="{FF2B5EF4-FFF2-40B4-BE49-F238E27FC236}">
                    <a16:creationId xmlns:a16="http://schemas.microsoft.com/office/drawing/2014/main" id="{B52428A0-DDE7-4E29-AFA8-733C8B8872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313612" y="12029445"/>
                <a:ext cx="296863" cy="968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Line 136">
                <a:extLst>
                  <a:ext uri="{FF2B5EF4-FFF2-40B4-BE49-F238E27FC236}">
                    <a16:creationId xmlns:a16="http://schemas.microsoft.com/office/drawing/2014/main" id="{59940D78-B3F5-4BDB-838F-E804CFF734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129462" y="11983408"/>
                <a:ext cx="260350" cy="1031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Line 137">
                <a:extLst>
                  <a:ext uri="{FF2B5EF4-FFF2-40B4-BE49-F238E27FC236}">
                    <a16:creationId xmlns:a16="http://schemas.microsoft.com/office/drawing/2014/main" id="{77AAD96D-5430-46C1-8ABC-328BE0F8B6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551737" y="12618408"/>
                <a:ext cx="65088" cy="1666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Line 138">
                <a:extLst>
                  <a:ext uri="{FF2B5EF4-FFF2-40B4-BE49-F238E27FC236}">
                    <a16:creationId xmlns:a16="http://schemas.microsoft.com/office/drawing/2014/main" id="{38BC22EF-DB7B-465F-BCB1-E3D4EA9533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469187" y="12480295"/>
                <a:ext cx="82550" cy="266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Line 139">
                <a:extLst>
                  <a:ext uri="{FF2B5EF4-FFF2-40B4-BE49-F238E27FC236}">
                    <a16:creationId xmlns:a16="http://schemas.microsoft.com/office/drawing/2014/main" id="{FF77A705-635C-40AA-85CC-1E63E481F0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373937" y="12358058"/>
                <a:ext cx="125413" cy="3175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Line 140">
                <a:extLst>
                  <a:ext uri="{FF2B5EF4-FFF2-40B4-BE49-F238E27FC236}">
                    <a16:creationId xmlns:a16="http://schemas.microsoft.com/office/drawing/2014/main" id="{CEDE5FEE-DDF6-4216-BF77-2AB0309CA0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265987" y="12261220"/>
                <a:ext cx="147638" cy="327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Line 141">
                <a:extLst>
                  <a:ext uri="{FF2B5EF4-FFF2-40B4-BE49-F238E27FC236}">
                    <a16:creationId xmlns:a16="http://schemas.microsoft.com/office/drawing/2014/main" id="{329E69A5-21B6-41E2-B831-03C00D420C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164387" y="12194545"/>
                <a:ext cx="152400" cy="3048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Line 142">
                <a:extLst>
                  <a:ext uri="{FF2B5EF4-FFF2-40B4-BE49-F238E27FC236}">
                    <a16:creationId xmlns:a16="http://schemas.microsoft.com/office/drawing/2014/main" id="{87DD9082-5EE5-45C8-95DB-B80E5C07C4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016749" y="12126283"/>
                <a:ext cx="117475" cy="2587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Line 143">
                <a:extLst>
                  <a:ext uri="{FF2B5EF4-FFF2-40B4-BE49-F238E27FC236}">
                    <a16:creationId xmlns:a16="http://schemas.microsoft.com/office/drawing/2014/main" id="{B78D4107-4A11-4AD6-8E67-DB45E90ECA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6869112" y="12086595"/>
                <a:ext cx="58738" cy="1682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448" name="Group 447">
              <a:extLst>
                <a:ext uri="{FF2B5EF4-FFF2-40B4-BE49-F238E27FC236}">
                  <a16:creationId xmlns:a16="http://schemas.microsoft.com/office/drawing/2014/main" id="{E01DD18A-ED51-4099-B2E8-0E7319ECB4CF}"/>
                </a:ext>
              </a:extLst>
            </p:cNvPr>
            <p:cNvGrpSpPr/>
            <p:nvPr/>
          </p:nvGrpSpPr>
          <p:grpSpPr>
            <a:xfrm flipH="1">
              <a:off x="3543743" y="3359682"/>
              <a:ext cx="2248473" cy="1458362"/>
              <a:chOff x="7827963" y="-5399088"/>
              <a:chExt cx="4598988" cy="2982913"/>
            </a:xfrm>
          </p:grpSpPr>
          <p:sp>
            <p:nvSpPr>
              <p:cNvPr id="449" name="Freeform 18">
                <a:extLst>
                  <a:ext uri="{FF2B5EF4-FFF2-40B4-BE49-F238E27FC236}">
                    <a16:creationId xmlns:a16="http://schemas.microsoft.com/office/drawing/2014/main" id="{37F1F09D-61A1-4C4B-ADEA-656D0A5A3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7963" y="-4533900"/>
                <a:ext cx="4598988" cy="1735137"/>
              </a:xfrm>
              <a:custGeom>
                <a:avLst/>
                <a:gdLst>
                  <a:gd name="T0" fmla="*/ 1845 w 1899"/>
                  <a:gd name="T1" fmla="*/ 716 h 716"/>
                  <a:gd name="T2" fmla="*/ 1717 w 1899"/>
                  <a:gd name="T3" fmla="*/ 619 h 716"/>
                  <a:gd name="T4" fmla="*/ 1343 w 1899"/>
                  <a:gd name="T5" fmla="*/ 625 h 716"/>
                  <a:gd name="T6" fmla="*/ 1631 w 1899"/>
                  <a:gd name="T7" fmla="*/ 320 h 716"/>
                  <a:gd name="T8" fmla="*/ 1272 w 1899"/>
                  <a:gd name="T9" fmla="*/ 406 h 716"/>
                  <a:gd name="T10" fmla="*/ 1431 w 1899"/>
                  <a:gd name="T11" fmla="*/ 154 h 716"/>
                  <a:gd name="T12" fmla="*/ 955 w 1899"/>
                  <a:gd name="T13" fmla="*/ 367 h 716"/>
                  <a:gd name="T14" fmla="*/ 1090 w 1899"/>
                  <a:gd name="T15" fmla="*/ 102 h 716"/>
                  <a:gd name="T16" fmla="*/ 859 w 1899"/>
                  <a:gd name="T17" fmla="*/ 185 h 716"/>
                  <a:gd name="T18" fmla="*/ 765 w 1899"/>
                  <a:gd name="T19" fmla="*/ 72 h 716"/>
                  <a:gd name="T20" fmla="*/ 599 w 1899"/>
                  <a:gd name="T21" fmla="*/ 264 h 716"/>
                  <a:gd name="T22" fmla="*/ 202 w 1899"/>
                  <a:gd name="T23" fmla="*/ 43 h 716"/>
                  <a:gd name="T24" fmla="*/ 233 w 1899"/>
                  <a:gd name="T25" fmla="*/ 665 h 716"/>
                  <a:gd name="T26" fmla="*/ 1845 w 1899"/>
                  <a:gd name="T27" fmla="*/ 716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99" h="716">
                    <a:moveTo>
                      <a:pt x="1845" y="716"/>
                    </a:moveTo>
                    <a:cubicBezTo>
                      <a:pt x="1873" y="676"/>
                      <a:pt x="1841" y="641"/>
                      <a:pt x="1717" y="619"/>
                    </a:cubicBezTo>
                    <a:cubicBezTo>
                      <a:pt x="1581" y="594"/>
                      <a:pt x="1451" y="604"/>
                      <a:pt x="1343" y="625"/>
                    </a:cubicBezTo>
                    <a:cubicBezTo>
                      <a:pt x="1599" y="511"/>
                      <a:pt x="1899" y="348"/>
                      <a:pt x="1631" y="320"/>
                    </a:cubicBezTo>
                    <a:cubicBezTo>
                      <a:pt x="1548" y="311"/>
                      <a:pt x="1417" y="348"/>
                      <a:pt x="1272" y="406"/>
                    </a:cubicBezTo>
                    <a:cubicBezTo>
                      <a:pt x="1436" y="281"/>
                      <a:pt x="1527" y="177"/>
                      <a:pt x="1431" y="154"/>
                    </a:cubicBezTo>
                    <a:cubicBezTo>
                      <a:pt x="1342" y="133"/>
                      <a:pt x="1155" y="233"/>
                      <a:pt x="955" y="367"/>
                    </a:cubicBezTo>
                    <a:cubicBezTo>
                      <a:pt x="1070" y="253"/>
                      <a:pt x="1138" y="152"/>
                      <a:pt x="1090" y="102"/>
                    </a:cubicBezTo>
                    <a:cubicBezTo>
                      <a:pt x="1050" y="62"/>
                      <a:pt x="962" y="104"/>
                      <a:pt x="859" y="185"/>
                    </a:cubicBezTo>
                    <a:cubicBezTo>
                      <a:pt x="866" y="111"/>
                      <a:pt x="836" y="66"/>
                      <a:pt x="765" y="72"/>
                    </a:cubicBezTo>
                    <a:cubicBezTo>
                      <a:pt x="698" y="79"/>
                      <a:pt x="641" y="163"/>
                      <a:pt x="599" y="264"/>
                    </a:cubicBezTo>
                    <a:cubicBezTo>
                      <a:pt x="540" y="103"/>
                      <a:pt x="374" y="0"/>
                      <a:pt x="202" y="43"/>
                    </a:cubicBezTo>
                    <a:cubicBezTo>
                      <a:pt x="0" y="93"/>
                      <a:pt x="149" y="480"/>
                      <a:pt x="233" y="665"/>
                    </a:cubicBezTo>
                    <a:lnTo>
                      <a:pt x="1845" y="716"/>
                    </a:lnTo>
                    <a:close/>
                  </a:path>
                </a:pathLst>
              </a:custGeom>
              <a:solidFill>
                <a:srgbClr val="2805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0" name="Freeform 27">
                <a:extLst>
                  <a:ext uri="{FF2B5EF4-FFF2-40B4-BE49-F238E27FC236}">
                    <a16:creationId xmlns:a16="http://schemas.microsoft.com/office/drawing/2014/main" id="{38954E17-5B74-4362-B9A5-2FB3F44DF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3163" y="-5399088"/>
                <a:ext cx="1376363" cy="2038350"/>
              </a:xfrm>
              <a:custGeom>
                <a:avLst/>
                <a:gdLst>
                  <a:gd name="T0" fmla="*/ 62 w 568"/>
                  <a:gd name="T1" fmla="*/ 342 h 841"/>
                  <a:gd name="T2" fmla="*/ 135 w 568"/>
                  <a:gd name="T3" fmla="*/ 841 h 841"/>
                  <a:gd name="T4" fmla="*/ 506 w 568"/>
                  <a:gd name="T5" fmla="*/ 499 h 841"/>
                  <a:gd name="T6" fmla="*/ 433 w 568"/>
                  <a:gd name="T7" fmla="*/ 0 h 841"/>
                  <a:gd name="T8" fmla="*/ 62 w 568"/>
                  <a:gd name="T9" fmla="*/ 34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8" h="841">
                    <a:moveTo>
                      <a:pt x="62" y="342"/>
                    </a:moveTo>
                    <a:cubicBezTo>
                      <a:pt x="0" y="516"/>
                      <a:pt x="34" y="701"/>
                      <a:pt x="135" y="841"/>
                    </a:cubicBezTo>
                    <a:cubicBezTo>
                      <a:pt x="303" y="796"/>
                      <a:pt x="445" y="673"/>
                      <a:pt x="506" y="499"/>
                    </a:cubicBezTo>
                    <a:cubicBezTo>
                      <a:pt x="568" y="325"/>
                      <a:pt x="534" y="140"/>
                      <a:pt x="433" y="0"/>
                    </a:cubicBezTo>
                    <a:cubicBezTo>
                      <a:pt x="266" y="45"/>
                      <a:pt x="123" y="168"/>
                      <a:pt x="62" y="342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1" name="Line 28">
                <a:extLst>
                  <a:ext uri="{FF2B5EF4-FFF2-40B4-BE49-F238E27FC236}">
                    <a16:creationId xmlns:a16="http://schemas.microsoft.com/office/drawing/2014/main" id="{B7777A92-1B62-4BDB-9534-F4A9AC4AF9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142413" y="-5240338"/>
                <a:ext cx="636588" cy="18002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2" name="Line 29">
                <a:extLst>
                  <a:ext uri="{FF2B5EF4-FFF2-40B4-BE49-F238E27FC236}">
                    <a16:creationId xmlns:a16="http://schemas.microsoft.com/office/drawing/2014/main" id="{BE87DA0E-71EA-4F9B-A20D-520D5DC643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648826" y="-4986338"/>
                <a:ext cx="303213" cy="1190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3" name="Line 30">
                <a:extLst>
                  <a:ext uri="{FF2B5EF4-FFF2-40B4-BE49-F238E27FC236}">
                    <a16:creationId xmlns:a16="http://schemas.microsoft.com/office/drawing/2014/main" id="{5777215A-3654-4180-B8EC-E78B399724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542463" y="-4708525"/>
                <a:ext cx="369888" cy="1492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4" name="Line 31">
                <a:extLst>
                  <a:ext uri="{FF2B5EF4-FFF2-40B4-BE49-F238E27FC236}">
                    <a16:creationId xmlns:a16="http://schemas.microsoft.com/office/drawing/2014/main" id="{FBB34D73-2BD7-4A14-8272-40C468763C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32926" y="-4497388"/>
                <a:ext cx="620713" cy="242887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5" name="Line 32">
                <a:extLst>
                  <a:ext uri="{FF2B5EF4-FFF2-40B4-BE49-F238E27FC236}">
                    <a16:creationId xmlns:a16="http://schemas.microsoft.com/office/drawing/2014/main" id="{4EE27BAC-CE01-46BA-9520-931E107483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323388" y="-4184650"/>
                <a:ext cx="606425" cy="238125"/>
              </a:xfrm>
              <a:prstGeom prst="line">
                <a:avLst/>
              </a:pr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6" name="Line 33">
                <a:extLst>
                  <a:ext uri="{FF2B5EF4-FFF2-40B4-BE49-F238E27FC236}">
                    <a16:creationId xmlns:a16="http://schemas.microsoft.com/office/drawing/2014/main" id="{10C3709B-2B77-42BF-91C4-076889D874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15438" y="-3771900"/>
                <a:ext cx="336550" cy="133350"/>
              </a:xfrm>
              <a:prstGeom prst="line">
                <a:avLst/>
              </a:pr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7" name="Line 34">
                <a:extLst>
                  <a:ext uri="{FF2B5EF4-FFF2-40B4-BE49-F238E27FC236}">
                    <a16:creationId xmlns:a16="http://schemas.microsoft.com/office/drawing/2014/main" id="{D8ABC1E1-8BD0-406B-B8E6-7CD5D9EE23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496426" y="-5187950"/>
                <a:ext cx="161925" cy="280987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8" name="Line 35">
                <a:extLst>
                  <a:ext uri="{FF2B5EF4-FFF2-40B4-BE49-F238E27FC236}">
                    <a16:creationId xmlns:a16="http://schemas.microsoft.com/office/drawing/2014/main" id="{D32D5405-9815-4AAA-8031-51B981533D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299576" y="-5040313"/>
                <a:ext cx="249238" cy="4413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9" name="Line 36">
                <a:extLst>
                  <a:ext uri="{FF2B5EF4-FFF2-40B4-BE49-F238E27FC236}">
                    <a16:creationId xmlns:a16="http://schemas.microsoft.com/office/drawing/2014/main" id="{07366D5F-1F09-451E-8F56-3E1CC3A66E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128126" y="-4843463"/>
                <a:ext cx="312738" cy="54927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0" name="Line 37">
                <a:extLst>
                  <a:ext uri="{FF2B5EF4-FFF2-40B4-BE49-F238E27FC236}">
                    <a16:creationId xmlns:a16="http://schemas.microsoft.com/office/drawing/2014/main" id="{E0978656-89F1-4BD4-9F3E-C5E60F6943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012238" y="-4549775"/>
                <a:ext cx="319088" cy="5635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1" name="Line 38">
                <a:extLst>
                  <a:ext uri="{FF2B5EF4-FFF2-40B4-BE49-F238E27FC236}">
                    <a16:creationId xmlns:a16="http://schemas.microsoft.com/office/drawing/2014/main" id="{6DBFDE9D-5508-477F-B3AC-23D9924473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8948738" y="-4165600"/>
                <a:ext cx="273050" cy="4873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2" name="Freeform 40">
                <a:extLst>
                  <a:ext uri="{FF2B5EF4-FFF2-40B4-BE49-F238E27FC236}">
                    <a16:creationId xmlns:a16="http://schemas.microsoft.com/office/drawing/2014/main" id="{50CACAE0-2ACE-44C6-AA36-061A1043E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4638" y="-3997325"/>
                <a:ext cx="1912938" cy="1268412"/>
              </a:xfrm>
              <a:custGeom>
                <a:avLst/>
                <a:gdLst>
                  <a:gd name="T0" fmla="*/ 327 w 790"/>
                  <a:gd name="T1" fmla="*/ 53 h 524"/>
                  <a:gd name="T2" fmla="*/ 0 w 790"/>
                  <a:gd name="T3" fmla="*/ 391 h 524"/>
                  <a:gd name="T4" fmla="*/ 463 w 790"/>
                  <a:gd name="T5" fmla="*/ 471 h 524"/>
                  <a:gd name="T6" fmla="*/ 790 w 790"/>
                  <a:gd name="T7" fmla="*/ 134 h 524"/>
                  <a:gd name="T8" fmla="*/ 327 w 790"/>
                  <a:gd name="T9" fmla="*/ 53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0" h="524">
                    <a:moveTo>
                      <a:pt x="327" y="53"/>
                    </a:moveTo>
                    <a:cubicBezTo>
                      <a:pt x="164" y="107"/>
                      <a:pt x="46" y="236"/>
                      <a:pt x="0" y="391"/>
                    </a:cubicBezTo>
                    <a:cubicBezTo>
                      <a:pt x="128" y="489"/>
                      <a:pt x="300" y="524"/>
                      <a:pt x="463" y="471"/>
                    </a:cubicBezTo>
                    <a:cubicBezTo>
                      <a:pt x="627" y="418"/>
                      <a:pt x="744" y="288"/>
                      <a:pt x="790" y="134"/>
                    </a:cubicBezTo>
                    <a:cubicBezTo>
                      <a:pt x="662" y="36"/>
                      <a:pt x="491" y="0"/>
                      <a:pt x="327" y="53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3" name="Line 41">
                <a:extLst>
                  <a:ext uri="{FF2B5EF4-FFF2-40B4-BE49-F238E27FC236}">
                    <a16:creationId xmlns:a16="http://schemas.microsoft.com/office/drawing/2014/main" id="{0BCDCC50-7127-42DD-9B8F-4BB4DD3F9E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234488" y="-3632200"/>
                <a:ext cx="1690688" cy="550862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4" name="Line 42">
                <a:extLst>
                  <a:ext uri="{FF2B5EF4-FFF2-40B4-BE49-F238E27FC236}">
                    <a16:creationId xmlns:a16="http://schemas.microsoft.com/office/drawing/2014/main" id="{1A50F47E-E9B9-4D4C-9484-DEFD7CF031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575926" y="-3516313"/>
                <a:ext cx="258763" cy="15557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5" name="Line 43">
                <a:extLst>
                  <a:ext uri="{FF2B5EF4-FFF2-40B4-BE49-F238E27FC236}">
                    <a16:creationId xmlns:a16="http://schemas.microsoft.com/office/drawing/2014/main" id="{E59F4EFF-4BD7-4E06-8808-3374525350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288588" y="-3421063"/>
                <a:ext cx="319088" cy="190500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6" name="Line 44">
                <a:extLst>
                  <a:ext uri="{FF2B5EF4-FFF2-40B4-BE49-F238E27FC236}">
                    <a16:creationId xmlns:a16="http://schemas.microsoft.com/office/drawing/2014/main" id="{B64220E8-FB55-4E94-97F6-8D02FAB597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99663" y="-3328988"/>
                <a:ext cx="533400" cy="322262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7" name="Line 45">
                <a:extLst>
                  <a:ext uri="{FF2B5EF4-FFF2-40B4-BE49-F238E27FC236}">
                    <a16:creationId xmlns:a16="http://schemas.microsoft.com/office/drawing/2014/main" id="{31F11620-04AD-484F-B3B8-8609E77DC6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712326" y="-3235325"/>
                <a:ext cx="517525" cy="312737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8" name="Line 46">
                <a:extLst>
                  <a:ext uri="{FF2B5EF4-FFF2-40B4-BE49-F238E27FC236}">
                    <a16:creationId xmlns:a16="http://schemas.microsoft.com/office/drawing/2014/main" id="{969750B5-F770-4AA8-AC4C-06484DF987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26576" y="-3140075"/>
                <a:ext cx="287338" cy="174625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9" name="Line 47">
                <a:extLst>
                  <a:ext uri="{FF2B5EF4-FFF2-40B4-BE49-F238E27FC236}">
                    <a16:creationId xmlns:a16="http://schemas.microsoft.com/office/drawing/2014/main" id="{2BD5D9CC-21EE-42B7-82F1-5C375D357D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610851" y="-3808413"/>
                <a:ext cx="115888" cy="27622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0" name="Line 48">
                <a:extLst>
                  <a:ext uri="{FF2B5EF4-FFF2-40B4-BE49-F238E27FC236}">
                    <a16:creationId xmlns:a16="http://schemas.microsoft.com/office/drawing/2014/main" id="{3D78FBC8-2A02-4DBF-A9F9-B59091AD49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321926" y="-3871913"/>
                <a:ext cx="180975" cy="433387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1" name="Line 49">
                <a:extLst>
                  <a:ext uri="{FF2B5EF4-FFF2-40B4-BE49-F238E27FC236}">
                    <a16:creationId xmlns:a16="http://schemas.microsoft.com/office/drawing/2014/main" id="{9ADB3385-DAFA-4996-945B-D0200C74A5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033001" y="-3886200"/>
                <a:ext cx="228600" cy="54292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2" name="Line 50">
                <a:extLst>
                  <a:ext uri="{FF2B5EF4-FFF2-40B4-BE49-F238E27FC236}">
                    <a16:creationId xmlns:a16="http://schemas.microsoft.com/office/drawing/2014/main" id="{C106E96E-D986-4D03-8EE6-9A0C301BE9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745663" y="-3808413"/>
                <a:ext cx="234950" cy="557212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3" name="Line 51">
                <a:extLst>
                  <a:ext uri="{FF2B5EF4-FFF2-40B4-BE49-F238E27FC236}">
                    <a16:creationId xmlns:a16="http://schemas.microsoft.com/office/drawing/2014/main" id="{B9F62B66-8AA5-4FFA-A367-752BBA9E53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56738" y="-3633788"/>
                <a:ext cx="201613" cy="476250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4" name="Freeform 52">
                <a:extLst>
                  <a:ext uri="{FF2B5EF4-FFF2-40B4-BE49-F238E27FC236}">
                    <a16:creationId xmlns:a16="http://schemas.microsoft.com/office/drawing/2014/main" id="{2E8EC3ED-FE8A-4F02-A95D-DAA8D0177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5376" y="-5008563"/>
                <a:ext cx="174625" cy="211137"/>
              </a:xfrm>
              <a:custGeom>
                <a:avLst/>
                <a:gdLst>
                  <a:gd name="T0" fmla="*/ 3 w 72"/>
                  <a:gd name="T1" fmla="*/ 87 h 87"/>
                  <a:gd name="T2" fmla="*/ 60 w 72"/>
                  <a:gd name="T3" fmla="*/ 51 h 87"/>
                  <a:gd name="T4" fmla="*/ 61 w 72"/>
                  <a:gd name="T5" fmla="*/ 8 h 87"/>
                  <a:gd name="T6" fmla="*/ 21 w 72"/>
                  <a:gd name="T7" fmla="*/ 22 h 87"/>
                  <a:gd name="T8" fmla="*/ 3 w 72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87">
                    <a:moveTo>
                      <a:pt x="3" y="87"/>
                    </a:moveTo>
                    <a:cubicBezTo>
                      <a:pt x="3" y="87"/>
                      <a:pt x="39" y="79"/>
                      <a:pt x="60" y="51"/>
                    </a:cubicBezTo>
                    <a:cubicBezTo>
                      <a:pt x="68" y="40"/>
                      <a:pt x="72" y="16"/>
                      <a:pt x="61" y="8"/>
                    </a:cubicBezTo>
                    <a:cubicBezTo>
                      <a:pt x="51" y="0"/>
                      <a:pt x="33" y="7"/>
                      <a:pt x="21" y="22"/>
                    </a:cubicBezTo>
                    <a:cubicBezTo>
                      <a:pt x="0" y="50"/>
                      <a:pt x="3" y="87"/>
                      <a:pt x="3" y="87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5" name="Freeform 53">
                <a:extLst>
                  <a:ext uri="{FF2B5EF4-FFF2-40B4-BE49-F238E27FC236}">
                    <a16:creationId xmlns:a16="http://schemas.microsoft.com/office/drawing/2014/main" id="{467021C5-A00E-4452-B2C7-D91B050DB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3926" y="-4897438"/>
                <a:ext cx="122238" cy="209550"/>
              </a:xfrm>
              <a:custGeom>
                <a:avLst/>
                <a:gdLst>
                  <a:gd name="T0" fmla="*/ 35 w 51"/>
                  <a:gd name="T1" fmla="*/ 86 h 86"/>
                  <a:gd name="T2" fmla="*/ 45 w 51"/>
                  <a:gd name="T3" fmla="*/ 28 h 86"/>
                  <a:gd name="T4" fmla="*/ 18 w 51"/>
                  <a:gd name="T5" fmla="*/ 3 h 86"/>
                  <a:gd name="T6" fmla="*/ 3 w 51"/>
                  <a:gd name="T7" fmla="*/ 36 h 86"/>
                  <a:gd name="T8" fmla="*/ 35 w 51"/>
                  <a:gd name="T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86">
                    <a:moveTo>
                      <a:pt x="35" y="86"/>
                    </a:moveTo>
                    <a:cubicBezTo>
                      <a:pt x="35" y="86"/>
                      <a:pt x="51" y="58"/>
                      <a:pt x="45" y="28"/>
                    </a:cubicBezTo>
                    <a:cubicBezTo>
                      <a:pt x="43" y="17"/>
                      <a:pt x="30" y="0"/>
                      <a:pt x="18" y="3"/>
                    </a:cubicBezTo>
                    <a:cubicBezTo>
                      <a:pt x="7" y="5"/>
                      <a:pt x="0" y="21"/>
                      <a:pt x="3" y="36"/>
                    </a:cubicBezTo>
                    <a:cubicBezTo>
                      <a:pt x="9" y="66"/>
                      <a:pt x="35" y="86"/>
                      <a:pt x="35" y="8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6" name="Freeform 54">
                <a:extLst>
                  <a:ext uri="{FF2B5EF4-FFF2-40B4-BE49-F238E27FC236}">
                    <a16:creationId xmlns:a16="http://schemas.microsoft.com/office/drawing/2014/main" id="{103C8102-1329-41B5-99EA-BD2BEEFF7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72638" y="-4727575"/>
                <a:ext cx="150813" cy="184150"/>
              </a:xfrm>
              <a:custGeom>
                <a:avLst/>
                <a:gdLst>
                  <a:gd name="T0" fmla="*/ 59 w 62"/>
                  <a:gd name="T1" fmla="*/ 76 h 76"/>
                  <a:gd name="T2" fmla="*/ 45 w 62"/>
                  <a:gd name="T3" fmla="*/ 18 h 76"/>
                  <a:gd name="T4" fmla="*/ 10 w 62"/>
                  <a:gd name="T5" fmla="*/ 6 h 76"/>
                  <a:gd name="T6" fmla="*/ 10 w 62"/>
                  <a:gd name="T7" fmla="*/ 43 h 76"/>
                  <a:gd name="T8" fmla="*/ 59 w 62"/>
                  <a:gd name="T9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76">
                    <a:moveTo>
                      <a:pt x="59" y="76"/>
                    </a:moveTo>
                    <a:cubicBezTo>
                      <a:pt x="59" y="76"/>
                      <a:pt x="62" y="43"/>
                      <a:pt x="45" y="18"/>
                    </a:cubicBezTo>
                    <a:cubicBezTo>
                      <a:pt x="38" y="9"/>
                      <a:pt x="19" y="0"/>
                      <a:pt x="10" y="6"/>
                    </a:cubicBezTo>
                    <a:cubicBezTo>
                      <a:pt x="0" y="13"/>
                      <a:pt x="1" y="30"/>
                      <a:pt x="10" y="43"/>
                    </a:cubicBezTo>
                    <a:cubicBezTo>
                      <a:pt x="28" y="68"/>
                      <a:pt x="59" y="76"/>
                      <a:pt x="59" y="7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7" name="Freeform 55">
                <a:extLst>
                  <a:ext uri="{FF2B5EF4-FFF2-40B4-BE49-F238E27FC236}">
                    <a16:creationId xmlns:a16="http://schemas.microsoft.com/office/drawing/2014/main" id="{1E8618A9-058B-4CCE-9CB0-382DD86C13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8063" y="-4724400"/>
                <a:ext cx="206375" cy="84137"/>
              </a:xfrm>
              <a:custGeom>
                <a:avLst/>
                <a:gdLst>
                  <a:gd name="T0" fmla="*/ 0 w 85"/>
                  <a:gd name="T1" fmla="*/ 17 h 35"/>
                  <a:gd name="T2" fmla="*/ 55 w 85"/>
                  <a:gd name="T3" fmla="*/ 35 h 35"/>
                  <a:gd name="T4" fmla="*/ 85 w 85"/>
                  <a:gd name="T5" fmla="*/ 18 h 35"/>
                  <a:gd name="T6" fmla="*/ 55 w 85"/>
                  <a:gd name="T7" fmla="*/ 0 h 35"/>
                  <a:gd name="T8" fmla="*/ 0 w 85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35">
                    <a:moveTo>
                      <a:pt x="0" y="17"/>
                    </a:moveTo>
                    <a:cubicBezTo>
                      <a:pt x="0" y="17"/>
                      <a:pt x="24" y="35"/>
                      <a:pt x="55" y="35"/>
                    </a:cubicBezTo>
                    <a:cubicBezTo>
                      <a:pt x="66" y="35"/>
                      <a:pt x="85" y="28"/>
                      <a:pt x="85" y="18"/>
                    </a:cubicBezTo>
                    <a:cubicBezTo>
                      <a:pt x="85" y="8"/>
                      <a:pt x="71" y="0"/>
                      <a:pt x="55" y="0"/>
                    </a:cubicBezTo>
                    <a:cubicBezTo>
                      <a:pt x="25" y="0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8" name="Freeform 56">
                <a:extLst>
                  <a:ext uri="{FF2B5EF4-FFF2-40B4-BE49-F238E27FC236}">
                    <a16:creationId xmlns:a16="http://schemas.microsoft.com/office/drawing/2014/main" id="{4C403C5A-C90A-4173-963E-19F002CA0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09163" y="-4594225"/>
                <a:ext cx="204788" cy="92075"/>
              </a:xfrm>
              <a:custGeom>
                <a:avLst/>
                <a:gdLst>
                  <a:gd name="T0" fmla="*/ 0 w 85"/>
                  <a:gd name="T1" fmla="*/ 18 h 38"/>
                  <a:gd name="T2" fmla="*/ 54 w 85"/>
                  <a:gd name="T3" fmla="*/ 38 h 38"/>
                  <a:gd name="T4" fmla="*/ 85 w 85"/>
                  <a:gd name="T5" fmla="*/ 20 h 38"/>
                  <a:gd name="T6" fmla="*/ 55 w 85"/>
                  <a:gd name="T7" fmla="*/ 1 h 38"/>
                  <a:gd name="T8" fmla="*/ 0 w 85"/>
                  <a:gd name="T9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38">
                    <a:moveTo>
                      <a:pt x="0" y="18"/>
                    </a:moveTo>
                    <a:cubicBezTo>
                      <a:pt x="0" y="18"/>
                      <a:pt x="24" y="37"/>
                      <a:pt x="54" y="38"/>
                    </a:cubicBezTo>
                    <a:cubicBezTo>
                      <a:pt x="65" y="38"/>
                      <a:pt x="84" y="30"/>
                      <a:pt x="85" y="20"/>
                    </a:cubicBezTo>
                    <a:cubicBezTo>
                      <a:pt x="85" y="9"/>
                      <a:pt x="71" y="1"/>
                      <a:pt x="55" y="1"/>
                    </a:cubicBezTo>
                    <a:cubicBezTo>
                      <a:pt x="24" y="0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9" name="Freeform 57">
                <a:extLst>
                  <a:ext uri="{FF2B5EF4-FFF2-40B4-BE49-F238E27FC236}">
                    <a16:creationId xmlns:a16="http://schemas.microsoft.com/office/drawing/2014/main" id="{251DF43C-E7C8-4A9B-8343-0399BFF20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18676" y="-4387850"/>
                <a:ext cx="157163" cy="88900"/>
              </a:xfrm>
              <a:custGeom>
                <a:avLst/>
                <a:gdLst>
                  <a:gd name="T0" fmla="*/ 0 w 65"/>
                  <a:gd name="T1" fmla="*/ 18 h 37"/>
                  <a:gd name="T2" fmla="*/ 42 w 65"/>
                  <a:gd name="T3" fmla="*/ 37 h 37"/>
                  <a:gd name="T4" fmla="*/ 65 w 65"/>
                  <a:gd name="T5" fmla="*/ 19 h 37"/>
                  <a:gd name="T6" fmla="*/ 42 w 65"/>
                  <a:gd name="T7" fmla="*/ 0 h 37"/>
                  <a:gd name="T8" fmla="*/ 0 w 65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37">
                    <a:moveTo>
                      <a:pt x="0" y="18"/>
                    </a:moveTo>
                    <a:cubicBezTo>
                      <a:pt x="0" y="18"/>
                      <a:pt x="18" y="37"/>
                      <a:pt x="42" y="37"/>
                    </a:cubicBezTo>
                    <a:cubicBezTo>
                      <a:pt x="50" y="37"/>
                      <a:pt x="65" y="29"/>
                      <a:pt x="65" y="19"/>
                    </a:cubicBezTo>
                    <a:cubicBezTo>
                      <a:pt x="65" y="9"/>
                      <a:pt x="54" y="0"/>
                      <a:pt x="42" y="0"/>
                    </a:cubicBezTo>
                    <a:cubicBezTo>
                      <a:pt x="19" y="0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0" name="Freeform 58">
                <a:extLst>
                  <a:ext uri="{FF2B5EF4-FFF2-40B4-BE49-F238E27FC236}">
                    <a16:creationId xmlns:a16="http://schemas.microsoft.com/office/drawing/2014/main" id="{CAE1A7DA-1A20-41A3-A08C-393FAA591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5488" y="-4506913"/>
                <a:ext cx="106363" cy="157162"/>
              </a:xfrm>
              <a:custGeom>
                <a:avLst/>
                <a:gdLst>
                  <a:gd name="T0" fmla="*/ 40 w 44"/>
                  <a:gd name="T1" fmla="*/ 65 h 65"/>
                  <a:gd name="T2" fmla="*/ 33 w 44"/>
                  <a:gd name="T3" fmla="*/ 18 h 65"/>
                  <a:gd name="T4" fmla="*/ 8 w 44"/>
                  <a:gd name="T5" fmla="*/ 4 h 65"/>
                  <a:gd name="T6" fmla="*/ 6 w 44"/>
                  <a:gd name="T7" fmla="*/ 32 h 65"/>
                  <a:gd name="T8" fmla="*/ 40 w 44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65">
                    <a:moveTo>
                      <a:pt x="40" y="65"/>
                    </a:moveTo>
                    <a:cubicBezTo>
                      <a:pt x="40" y="65"/>
                      <a:pt x="44" y="40"/>
                      <a:pt x="33" y="18"/>
                    </a:cubicBezTo>
                    <a:cubicBezTo>
                      <a:pt x="29" y="11"/>
                      <a:pt x="16" y="0"/>
                      <a:pt x="8" y="4"/>
                    </a:cubicBezTo>
                    <a:cubicBezTo>
                      <a:pt x="1" y="8"/>
                      <a:pt x="0" y="21"/>
                      <a:pt x="6" y="32"/>
                    </a:cubicBezTo>
                    <a:cubicBezTo>
                      <a:pt x="17" y="54"/>
                      <a:pt x="40" y="65"/>
                      <a:pt x="40" y="65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1" name="Freeform 59">
                <a:extLst>
                  <a:ext uri="{FF2B5EF4-FFF2-40B4-BE49-F238E27FC236}">
                    <a16:creationId xmlns:a16="http://schemas.microsoft.com/office/drawing/2014/main" id="{D982F0A3-11B0-4735-9CA2-3D86A36FF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9876" y="-4833938"/>
                <a:ext cx="863600" cy="1225550"/>
              </a:xfrm>
              <a:custGeom>
                <a:avLst/>
                <a:gdLst>
                  <a:gd name="T0" fmla="*/ 12 w 357"/>
                  <a:gd name="T1" fmla="*/ 504 h 506"/>
                  <a:gd name="T2" fmla="*/ 0 w 357"/>
                  <a:gd name="T3" fmla="*/ 498 h 506"/>
                  <a:gd name="T4" fmla="*/ 4 w 357"/>
                  <a:gd name="T5" fmla="*/ 493 h 506"/>
                  <a:gd name="T6" fmla="*/ 2 w 357"/>
                  <a:gd name="T7" fmla="*/ 496 h 506"/>
                  <a:gd name="T8" fmla="*/ 4 w 357"/>
                  <a:gd name="T9" fmla="*/ 493 h 506"/>
                  <a:gd name="T10" fmla="*/ 35 w 357"/>
                  <a:gd name="T11" fmla="*/ 497 h 506"/>
                  <a:gd name="T12" fmla="*/ 109 w 357"/>
                  <a:gd name="T13" fmla="*/ 436 h 506"/>
                  <a:gd name="T14" fmla="*/ 219 w 357"/>
                  <a:gd name="T15" fmla="*/ 218 h 506"/>
                  <a:gd name="T16" fmla="*/ 334 w 357"/>
                  <a:gd name="T17" fmla="*/ 22 h 506"/>
                  <a:gd name="T18" fmla="*/ 352 w 357"/>
                  <a:gd name="T19" fmla="*/ 0 h 506"/>
                  <a:gd name="T20" fmla="*/ 357 w 357"/>
                  <a:gd name="T21" fmla="*/ 4 h 506"/>
                  <a:gd name="T22" fmla="*/ 339 w 357"/>
                  <a:gd name="T23" fmla="*/ 26 h 506"/>
                  <a:gd name="T24" fmla="*/ 225 w 357"/>
                  <a:gd name="T25" fmla="*/ 220 h 506"/>
                  <a:gd name="T26" fmla="*/ 37 w 357"/>
                  <a:gd name="T27" fmla="*/ 503 h 506"/>
                  <a:gd name="T28" fmla="*/ 12 w 357"/>
                  <a:gd name="T29" fmla="*/ 504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7" h="506">
                    <a:moveTo>
                      <a:pt x="12" y="504"/>
                    </a:moveTo>
                    <a:cubicBezTo>
                      <a:pt x="4" y="502"/>
                      <a:pt x="0" y="498"/>
                      <a:pt x="0" y="498"/>
                    </a:cubicBezTo>
                    <a:cubicBezTo>
                      <a:pt x="4" y="493"/>
                      <a:pt x="4" y="493"/>
                      <a:pt x="4" y="493"/>
                    </a:cubicBezTo>
                    <a:cubicBezTo>
                      <a:pt x="2" y="496"/>
                      <a:pt x="2" y="496"/>
                      <a:pt x="2" y="496"/>
                    </a:cubicBezTo>
                    <a:cubicBezTo>
                      <a:pt x="4" y="493"/>
                      <a:pt x="4" y="493"/>
                      <a:pt x="4" y="493"/>
                    </a:cubicBezTo>
                    <a:cubicBezTo>
                      <a:pt x="4" y="494"/>
                      <a:pt x="15" y="502"/>
                      <a:pt x="35" y="497"/>
                    </a:cubicBezTo>
                    <a:cubicBezTo>
                      <a:pt x="58" y="491"/>
                      <a:pt x="83" y="471"/>
                      <a:pt x="109" y="436"/>
                    </a:cubicBezTo>
                    <a:cubicBezTo>
                      <a:pt x="145" y="388"/>
                      <a:pt x="182" y="315"/>
                      <a:pt x="219" y="218"/>
                    </a:cubicBezTo>
                    <a:cubicBezTo>
                      <a:pt x="263" y="105"/>
                      <a:pt x="306" y="55"/>
                      <a:pt x="334" y="22"/>
                    </a:cubicBezTo>
                    <a:cubicBezTo>
                      <a:pt x="341" y="14"/>
                      <a:pt x="348" y="7"/>
                      <a:pt x="352" y="0"/>
                    </a:cubicBezTo>
                    <a:cubicBezTo>
                      <a:pt x="357" y="4"/>
                      <a:pt x="357" y="4"/>
                      <a:pt x="357" y="4"/>
                    </a:cubicBezTo>
                    <a:cubicBezTo>
                      <a:pt x="352" y="10"/>
                      <a:pt x="346" y="18"/>
                      <a:pt x="339" y="26"/>
                    </a:cubicBezTo>
                    <a:cubicBezTo>
                      <a:pt x="311" y="59"/>
                      <a:pt x="268" y="109"/>
                      <a:pt x="225" y="220"/>
                    </a:cubicBezTo>
                    <a:cubicBezTo>
                      <a:pt x="142" y="436"/>
                      <a:pt x="76" y="493"/>
                      <a:pt x="37" y="503"/>
                    </a:cubicBezTo>
                    <a:cubicBezTo>
                      <a:pt x="26" y="506"/>
                      <a:pt x="18" y="505"/>
                      <a:pt x="12" y="50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2" name="Freeform 60">
                <a:extLst>
                  <a:ext uri="{FF2B5EF4-FFF2-40B4-BE49-F238E27FC236}">
                    <a16:creationId xmlns:a16="http://schemas.microsoft.com/office/drawing/2014/main" id="{DF7F7302-0881-494D-81DD-901E2B79D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3788" y="-4278313"/>
                <a:ext cx="1608138" cy="1538287"/>
              </a:xfrm>
              <a:custGeom>
                <a:avLst/>
                <a:gdLst>
                  <a:gd name="T0" fmla="*/ 198 w 664"/>
                  <a:gd name="T1" fmla="*/ 171 h 635"/>
                  <a:gd name="T2" fmla="*/ 11 w 664"/>
                  <a:gd name="T3" fmla="*/ 611 h 635"/>
                  <a:gd name="T4" fmla="*/ 466 w 664"/>
                  <a:gd name="T5" fmla="*/ 465 h 635"/>
                  <a:gd name="T6" fmla="*/ 653 w 664"/>
                  <a:gd name="T7" fmla="*/ 24 h 635"/>
                  <a:gd name="T8" fmla="*/ 198 w 664"/>
                  <a:gd name="T9" fmla="*/ 171 h 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4" h="635">
                    <a:moveTo>
                      <a:pt x="198" y="171"/>
                    </a:moveTo>
                    <a:cubicBezTo>
                      <a:pt x="65" y="292"/>
                      <a:pt x="0" y="458"/>
                      <a:pt x="11" y="611"/>
                    </a:cubicBezTo>
                    <a:cubicBezTo>
                      <a:pt x="163" y="635"/>
                      <a:pt x="333" y="586"/>
                      <a:pt x="466" y="465"/>
                    </a:cubicBezTo>
                    <a:cubicBezTo>
                      <a:pt x="599" y="343"/>
                      <a:pt x="664" y="178"/>
                      <a:pt x="653" y="24"/>
                    </a:cubicBezTo>
                    <a:cubicBezTo>
                      <a:pt x="501" y="0"/>
                      <a:pt x="331" y="49"/>
                      <a:pt x="198" y="171"/>
                    </a:cubicBezTo>
                    <a:close/>
                  </a:path>
                </a:pathLst>
              </a:custGeom>
              <a:solidFill>
                <a:srgbClr val="742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3" name="Line 61">
                <a:extLst>
                  <a:ext uri="{FF2B5EF4-FFF2-40B4-BE49-F238E27FC236}">
                    <a16:creationId xmlns:a16="http://schemas.microsoft.com/office/drawing/2014/main" id="{3A9F3B32-AD8A-4810-82DE-336056849A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793163" y="-4111625"/>
                <a:ext cx="1376363" cy="1254125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4" name="Line 62">
                <a:extLst>
                  <a:ext uri="{FF2B5EF4-FFF2-40B4-BE49-F238E27FC236}">
                    <a16:creationId xmlns:a16="http://schemas.microsoft.com/office/drawing/2014/main" id="{86CDFA4A-6514-4D8C-8723-4B75190FEA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885363" y="-3852863"/>
                <a:ext cx="293688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5" name="Line 63">
                <a:extLst>
                  <a:ext uri="{FF2B5EF4-FFF2-40B4-BE49-F238E27FC236}">
                    <a16:creationId xmlns:a16="http://schemas.microsoft.com/office/drawing/2014/main" id="{2F1BEDA3-652B-4A75-A1D3-0B7275B636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53588" y="-3636963"/>
                <a:ext cx="358775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6" name="Line 64">
                <a:extLst>
                  <a:ext uri="{FF2B5EF4-FFF2-40B4-BE49-F238E27FC236}">
                    <a16:creationId xmlns:a16="http://schemas.microsoft.com/office/drawing/2014/main" id="{22D24DCD-D7AB-412E-92D5-D4DA85DB19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18638" y="-3424238"/>
                <a:ext cx="600075" cy="269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7" name="Line 65">
                <a:extLst>
                  <a:ext uri="{FF2B5EF4-FFF2-40B4-BE49-F238E27FC236}">
                    <a16:creationId xmlns:a16="http://schemas.microsoft.com/office/drawing/2014/main" id="{19E97C87-A9F0-4589-8DDA-89FC31A6CE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83688" y="-3209925"/>
                <a:ext cx="585788" cy="25400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8" name="Line 66">
                <a:extLst>
                  <a:ext uri="{FF2B5EF4-FFF2-40B4-BE49-F238E27FC236}">
                    <a16:creationId xmlns:a16="http://schemas.microsoft.com/office/drawing/2014/main" id="{001A3BE0-E772-45B6-BA72-3624FD504A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48738" y="-2994025"/>
                <a:ext cx="327025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Line 67">
                <a:extLst>
                  <a:ext uri="{FF2B5EF4-FFF2-40B4-BE49-F238E27FC236}">
                    <a16:creationId xmlns:a16="http://schemas.microsoft.com/office/drawing/2014/main" id="{2EE0976A-7C7A-4B2A-8825-54FCCC17D1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912351" y="-4171950"/>
                <a:ext cx="12700" cy="2905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Line 68">
                <a:extLst>
                  <a:ext uri="{FF2B5EF4-FFF2-40B4-BE49-F238E27FC236}">
                    <a16:creationId xmlns:a16="http://schemas.microsoft.com/office/drawing/2014/main" id="{A0C8A4B8-DE10-464A-A638-44EE0E4F22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677401" y="-4121150"/>
                <a:ext cx="19050" cy="4556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Line 69">
                <a:extLst>
                  <a:ext uri="{FF2B5EF4-FFF2-40B4-BE49-F238E27FC236}">
                    <a16:creationId xmlns:a16="http://schemas.microsoft.com/office/drawing/2014/main" id="{88A8014C-B691-499C-9D2C-CE6D95A2F5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42451" y="-4022725"/>
                <a:ext cx="26988" cy="5699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Line 70">
                <a:extLst>
                  <a:ext uri="{FF2B5EF4-FFF2-40B4-BE49-F238E27FC236}">
                    <a16:creationId xmlns:a16="http://schemas.microsoft.com/office/drawing/2014/main" id="{A10099D8-7237-4C34-A094-5A35D7434D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07501" y="-3822700"/>
                <a:ext cx="26988" cy="5826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Line 71">
                <a:extLst>
                  <a:ext uri="{FF2B5EF4-FFF2-40B4-BE49-F238E27FC236}">
                    <a16:creationId xmlns:a16="http://schemas.microsoft.com/office/drawing/2014/main" id="{115C9DA6-6028-4DF1-8C16-04E3BB2ED9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975726" y="-3527425"/>
                <a:ext cx="20638" cy="50323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Freeform 144">
                <a:extLst>
                  <a:ext uri="{FF2B5EF4-FFF2-40B4-BE49-F238E27FC236}">
                    <a16:creationId xmlns:a16="http://schemas.microsoft.com/office/drawing/2014/main" id="{94BA5AEF-4F02-4244-97F2-064A2C50E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5576" y="-3600450"/>
                <a:ext cx="1709738" cy="1184275"/>
              </a:xfrm>
              <a:custGeom>
                <a:avLst/>
                <a:gdLst>
                  <a:gd name="T0" fmla="*/ 516 w 706"/>
                  <a:gd name="T1" fmla="*/ 421 h 489"/>
                  <a:gd name="T2" fmla="*/ 541 w 706"/>
                  <a:gd name="T3" fmla="*/ 489 h 489"/>
                  <a:gd name="T4" fmla="*/ 706 w 706"/>
                  <a:gd name="T5" fmla="*/ 472 h 489"/>
                  <a:gd name="T6" fmla="*/ 680 w 706"/>
                  <a:gd name="T7" fmla="*/ 319 h 489"/>
                  <a:gd name="T8" fmla="*/ 0 w 706"/>
                  <a:gd name="T9" fmla="*/ 277 h 489"/>
                  <a:gd name="T10" fmla="*/ 365 w 706"/>
                  <a:gd name="T11" fmla="*/ 472 h 489"/>
                  <a:gd name="T12" fmla="*/ 491 w 706"/>
                  <a:gd name="T13" fmla="*/ 488 h 489"/>
                  <a:gd name="T14" fmla="*/ 516 w 706"/>
                  <a:gd name="T15" fmla="*/ 421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489">
                    <a:moveTo>
                      <a:pt x="516" y="421"/>
                    </a:moveTo>
                    <a:cubicBezTo>
                      <a:pt x="541" y="489"/>
                      <a:pt x="541" y="489"/>
                      <a:pt x="541" y="489"/>
                    </a:cubicBezTo>
                    <a:cubicBezTo>
                      <a:pt x="599" y="489"/>
                      <a:pt x="655" y="483"/>
                      <a:pt x="706" y="472"/>
                    </a:cubicBezTo>
                    <a:cubicBezTo>
                      <a:pt x="704" y="421"/>
                      <a:pt x="695" y="369"/>
                      <a:pt x="680" y="319"/>
                    </a:cubicBezTo>
                    <a:cubicBezTo>
                      <a:pt x="604" y="70"/>
                      <a:pt x="199" y="0"/>
                      <a:pt x="0" y="277"/>
                    </a:cubicBezTo>
                    <a:cubicBezTo>
                      <a:pt x="69" y="365"/>
                      <a:pt x="200" y="439"/>
                      <a:pt x="365" y="472"/>
                    </a:cubicBezTo>
                    <a:cubicBezTo>
                      <a:pt x="407" y="480"/>
                      <a:pt x="450" y="486"/>
                      <a:pt x="491" y="488"/>
                    </a:cubicBezTo>
                    <a:lnTo>
                      <a:pt x="516" y="421"/>
                    </a:lnTo>
                    <a:close/>
                  </a:path>
                </a:pathLst>
              </a:custGeom>
              <a:solidFill>
                <a:srgbClr val="641B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Freeform 145">
                <a:extLst>
                  <a:ext uri="{FF2B5EF4-FFF2-40B4-BE49-F238E27FC236}">
                    <a16:creationId xmlns:a16="http://schemas.microsoft.com/office/drawing/2014/main" id="{11F188D0-DE59-4F28-ACD0-163EBBD07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5576" y="-3346450"/>
                <a:ext cx="1709738" cy="889000"/>
              </a:xfrm>
              <a:custGeom>
                <a:avLst/>
                <a:gdLst>
                  <a:gd name="T0" fmla="*/ 706 w 706"/>
                  <a:gd name="T1" fmla="*/ 367 h 367"/>
                  <a:gd name="T2" fmla="*/ 0 w 706"/>
                  <a:gd name="T3" fmla="*/ 172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6" h="367">
                    <a:moveTo>
                      <a:pt x="706" y="367"/>
                    </a:moveTo>
                    <a:cubicBezTo>
                      <a:pt x="706" y="367"/>
                      <a:pt x="433" y="0"/>
                      <a:pt x="0" y="172"/>
                    </a:cubicBezTo>
                  </a:path>
                </a:pathLst>
              </a:cu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Line 146">
                <a:extLst>
                  <a:ext uri="{FF2B5EF4-FFF2-40B4-BE49-F238E27FC236}">
                    <a16:creationId xmlns:a16="http://schemas.microsoft.com/office/drawing/2014/main" id="{1CB7630E-7F36-4515-9B42-BF9ED05BC5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510838" y="-2740025"/>
                <a:ext cx="206375" cy="428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Line 147">
                <a:extLst>
                  <a:ext uri="{FF2B5EF4-FFF2-40B4-BE49-F238E27FC236}">
                    <a16:creationId xmlns:a16="http://schemas.microsoft.com/office/drawing/2014/main" id="{F4076B19-9D17-49D2-88A3-DABF02AD53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321926" y="-2933700"/>
                <a:ext cx="323850" cy="984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Line 148">
                <a:extLst>
                  <a:ext uri="{FF2B5EF4-FFF2-40B4-BE49-F238E27FC236}">
                    <a16:creationId xmlns:a16="http://schemas.microsoft.com/office/drawing/2014/main" id="{2C2E6067-5C32-43E5-8E02-293EA01B0D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110788" y="-3103563"/>
                <a:ext cx="412750" cy="16510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Line 149">
                <a:extLst>
                  <a:ext uri="{FF2B5EF4-FFF2-40B4-BE49-F238E27FC236}">
                    <a16:creationId xmlns:a16="http://schemas.microsoft.com/office/drawing/2014/main" id="{C2142408-0ED1-4B6B-8F11-42F2C21B51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902826" y="-3255963"/>
                <a:ext cx="415925" cy="2508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Line 150">
                <a:extLst>
                  <a:ext uri="{FF2B5EF4-FFF2-40B4-BE49-F238E27FC236}">
                    <a16:creationId xmlns:a16="http://schemas.microsoft.com/office/drawing/2014/main" id="{7D01F95D-480E-454D-9B5D-834D9A846A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718676" y="-3333750"/>
                <a:ext cx="381000" cy="29845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Line 151">
                <a:extLst>
                  <a:ext uri="{FF2B5EF4-FFF2-40B4-BE49-F238E27FC236}">
                    <a16:creationId xmlns:a16="http://schemas.microsoft.com/office/drawing/2014/main" id="{B81C7CDD-F890-4589-ADB4-575CDED25F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471026" y="-3357563"/>
                <a:ext cx="349250" cy="32385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Line 152">
                <a:extLst>
                  <a:ext uri="{FF2B5EF4-FFF2-40B4-BE49-F238E27FC236}">
                    <a16:creationId xmlns:a16="http://schemas.microsoft.com/office/drawing/2014/main" id="{7619690F-5721-4784-AB61-6AB9DA3414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244013" y="-3302000"/>
                <a:ext cx="293688" cy="3095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Line 153">
                <a:extLst>
                  <a:ext uri="{FF2B5EF4-FFF2-40B4-BE49-F238E27FC236}">
                    <a16:creationId xmlns:a16="http://schemas.microsoft.com/office/drawing/2014/main" id="{478E6AAA-C922-48DE-9205-3ED66FC60C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0518776" y="-2697163"/>
                <a:ext cx="15875" cy="2714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Line 154">
                <a:extLst>
                  <a:ext uri="{FF2B5EF4-FFF2-40B4-BE49-F238E27FC236}">
                    <a16:creationId xmlns:a16="http://schemas.microsoft.com/office/drawing/2014/main" id="{284A3798-696C-4B87-804C-CF16683717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321926" y="-2835275"/>
                <a:ext cx="53975" cy="41910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Line 155">
                <a:extLst>
                  <a:ext uri="{FF2B5EF4-FFF2-40B4-BE49-F238E27FC236}">
                    <a16:creationId xmlns:a16="http://schemas.microsoft.com/office/drawing/2014/main" id="{146BDC6E-B234-4DD6-BBFF-AE7AE2E6C9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110788" y="-2938463"/>
                <a:ext cx="30163" cy="51117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Line 156">
                <a:extLst>
                  <a:ext uri="{FF2B5EF4-FFF2-40B4-BE49-F238E27FC236}">
                    <a16:creationId xmlns:a16="http://schemas.microsoft.com/office/drawing/2014/main" id="{31036A90-9E47-4DAD-96C7-D499314DEF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02826" y="-3005138"/>
                <a:ext cx="0" cy="5429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Line 157">
                <a:extLst>
                  <a:ext uri="{FF2B5EF4-FFF2-40B4-BE49-F238E27FC236}">
                    <a16:creationId xmlns:a16="http://schemas.microsoft.com/office/drawing/2014/main" id="{4D4BB189-0A98-46C7-8AC8-A372C9143A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701213" y="-3035300"/>
                <a:ext cx="17463" cy="5175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8" name="Line 158">
                <a:extLst>
                  <a:ext uri="{FF2B5EF4-FFF2-40B4-BE49-F238E27FC236}">
                    <a16:creationId xmlns:a16="http://schemas.microsoft.com/office/drawing/2014/main" id="{13E7618A-862F-45BD-9EAB-CFDD5104BC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71026" y="-3033713"/>
                <a:ext cx="3175" cy="4286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9" name="Line 159">
                <a:extLst>
                  <a:ext uri="{FF2B5EF4-FFF2-40B4-BE49-F238E27FC236}">
                    <a16:creationId xmlns:a16="http://schemas.microsoft.com/office/drawing/2014/main" id="{C6583027-1426-44C5-ADDD-D8C805B294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244013" y="-2992438"/>
                <a:ext cx="23813" cy="2635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630" name="Picture 629">
              <a:extLst>
                <a:ext uri="{FF2B5EF4-FFF2-40B4-BE49-F238E27FC236}">
                  <a16:creationId xmlns:a16="http://schemas.microsoft.com/office/drawing/2014/main" id="{984D61FB-F7EC-487A-BDC1-58DE14F06A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69" t="17291" r="12016" b="11631"/>
            <a:stretch/>
          </p:blipFill>
          <p:spPr>
            <a:xfrm>
              <a:off x="4748737" y="2085747"/>
              <a:ext cx="3359586" cy="3170530"/>
            </a:xfrm>
            <a:prstGeom prst="rect">
              <a:avLst/>
            </a:prstGeom>
          </p:spPr>
        </p:pic>
      </p:grpSp>
      <p:sp>
        <p:nvSpPr>
          <p:cNvPr id="659" name="Arc 658">
            <a:extLst>
              <a:ext uri="{FF2B5EF4-FFF2-40B4-BE49-F238E27FC236}">
                <a16:creationId xmlns:a16="http://schemas.microsoft.com/office/drawing/2014/main" id="{C4E6A427-D050-4DCC-AAAB-CFF2CD58EAD1}"/>
              </a:ext>
            </a:extLst>
          </p:cNvPr>
          <p:cNvSpPr/>
          <p:nvPr/>
        </p:nvSpPr>
        <p:spPr>
          <a:xfrm>
            <a:off x="3130824" y="1279621"/>
            <a:ext cx="4685148" cy="4685148"/>
          </a:xfrm>
          <a:prstGeom prst="arc">
            <a:avLst>
              <a:gd name="adj1" fmla="val 6989423"/>
              <a:gd name="adj2" fmla="val 1463117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38" name="Group 637">
            <a:extLst>
              <a:ext uri="{FF2B5EF4-FFF2-40B4-BE49-F238E27FC236}">
                <a16:creationId xmlns:a16="http://schemas.microsoft.com/office/drawing/2014/main" id="{41E5FFFB-3173-4B48-89D2-18A171233339}"/>
              </a:ext>
            </a:extLst>
          </p:cNvPr>
          <p:cNvGrpSpPr/>
          <p:nvPr/>
        </p:nvGrpSpPr>
        <p:grpSpPr>
          <a:xfrm>
            <a:off x="3246185" y="1838529"/>
            <a:ext cx="768244" cy="768242"/>
            <a:chOff x="8422581" y="812800"/>
            <a:chExt cx="564174" cy="564174"/>
          </a:xfrm>
        </p:grpSpPr>
        <p:sp>
          <p:nvSpPr>
            <p:cNvPr id="656" name="Oval 655">
              <a:extLst>
                <a:ext uri="{FF2B5EF4-FFF2-40B4-BE49-F238E27FC236}">
                  <a16:creationId xmlns:a16="http://schemas.microsoft.com/office/drawing/2014/main" id="{8F156C8E-4148-416B-B6A9-D32A3179EA77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Oval 656">
              <a:extLst>
                <a:ext uri="{FF2B5EF4-FFF2-40B4-BE49-F238E27FC236}">
                  <a16:creationId xmlns:a16="http://schemas.microsoft.com/office/drawing/2014/main" id="{9ABD80A8-B047-4C2C-9E39-5B3E4CD76418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61" name="Rectangle 660">
            <a:extLst>
              <a:ext uri="{FF2B5EF4-FFF2-40B4-BE49-F238E27FC236}">
                <a16:creationId xmlns:a16="http://schemas.microsoft.com/office/drawing/2014/main" id="{5CAF1DCF-81D0-4805-81A7-3FE3214079B6}"/>
              </a:ext>
            </a:extLst>
          </p:cNvPr>
          <p:cNvSpPr/>
          <p:nvPr/>
        </p:nvSpPr>
        <p:spPr>
          <a:xfrm>
            <a:off x="399912" y="4765435"/>
            <a:ext cx="296285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Тетрадь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kysmart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доступна на любом устройстве с доступом в Интернет.</a:t>
            </a:r>
          </a:p>
        </p:txBody>
      </p:sp>
      <p:grpSp>
        <p:nvGrpSpPr>
          <p:cNvPr id="666" name="Group 665">
            <a:extLst>
              <a:ext uri="{FF2B5EF4-FFF2-40B4-BE49-F238E27FC236}">
                <a16:creationId xmlns:a16="http://schemas.microsoft.com/office/drawing/2014/main" id="{70E61CE6-FBD2-49EA-92FC-268DD2A0946F}"/>
              </a:ext>
            </a:extLst>
          </p:cNvPr>
          <p:cNvGrpSpPr/>
          <p:nvPr/>
        </p:nvGrpSpPr>
        <p:grpSpPr>
          <a:xfrm>
            <a:off x="3246185" y="4637621"/>
            <a:ext cx="768244" cy="768242"/>
            <a:chOff x="8422581" y="812800"/>
            <a:chExt cx="564174" cy="564174"/>
          </a:xfrm>
        </p:grpSpPr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B9712A6-89BA-4691-9C87-998D92C39D03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F77E0DB-1DEC-47F6-AD9A-92AADD0562E4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90" name="Arc 689">
            <a:extLst>
              <a:ext uri="{FF2B5EF4-FFF2-40B4-BE49-F238E27FC236}">
                <a16:creationId xmlns:a16="http://schemas.microsoft.com/office/drawing/2014/main" id="{27B845D4-7942-4621-89FF-0C37A046A184}"/>
              </a:ext>
            </a:extLst>
          </p:cNvPr>
          <p:cNvSpPr/>
          <p:nvPr/>
        </p:nvSpPr>
        <p:spPr>
          <a:xfrm flipH="1">
            <a:off x="4372021" y="1279621"/>
            <a:ext cx="4685148" cy="4685148"/>
          </a:xfrm>
          <a:prstGeom prst="arc">
            <a:avLst>
              <a:gd name="adj1" fmla="val 6989423"/>
              <a:gd name="adj2" fmla="val 1463117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18" name="Group 717">
            <a:extLst>
              <a:ext uri="{FF2B5EF4-FFF2-40B4-BE49-F238E27FC236}">
                <a16:creationId xmlns:a16="http://schemas.microsoft.com/office/drawing/2014/main" id="{138506A7-8EF9-4181-9DBB-21E91DB1124B}"/>
              </a:ext>
            </a:extLst>
          </p:cNvPr>
          <p:cNvGrpSpPr/>
          <p:nvPr/>
        </p:nvGrpSpPr>
        <p:grpSpPr>
          <a:xfrm flipH="1">
            <a:off x="8173565" y="1838529"/>
            <a:ext cx="768242" cy="768242"/>
            <a:chOff x="8422581" y="812800"/>
            <a:chExt cx="564174" cy="564174"/>
          </a:xfrm>
        </p:grpSpPr>
        <p:sp>
          <p:nvSpPr>
            <p:cNvPr id="736" name="Oval 735">
              <a:extLst>
                <a:ext uri="{FF2B5EF4-FFF2-40B4-BE49-F238E27FC236}">
                  <a16:creationId xmlns:a16="http://schemas.microsoft.com/office/drawing/2014/main" id="{CE5E7058-5EBE-43D2-88EC-5AD48B1CE42E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Oval 736">
              <a:extLst>
                <a:ext uri="{FF2B5EF4-FFF2-40B4-BE49-F238E27FC236}">
                  <a16:creationId xmlns:a16="http://schemas.microsoft.com/office/drawing/2014/main" id="{189AAE49-9DED-45CE-9A9A-33E90406298F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96" name="Group 695">
            <a:extLst>
              <a:ext uri="{FF2B5EF4-FFF2-40B4-BE49-F238E27FC236}">
                <a16:creationId xmlns:a16="http://schemas.microsoft.com/office/drawing/2014/main" id="{DA746FFB-E5AA-4418-9B1A-7262096F7A31}"/>
              </a:ext>
            </a:extLst>
          </p:cNvPr>
          <p:cNvGrpSpPr/>
          <p:nvPr/>
        </p:nvGrpSpPr>
        <p:grpSpPr>
          <a:xfrm flipH="1">
            <a:off x="8173565" y="4637621"/>
            <a:ext cx="768242" cy="768242"/>
            <a:chOff x="8422581" y="812800"/>
            <a:chExt cx="564174" cy="564174"/>
          </a:xfrm>
        </p:grpSpPr>
        <p:sp>
          <p:nvSpPr>
            <p:cNvPr id="714" name="Oval 713">
              <a:extLst>
                <a:ext uri="{FF2B5EF4-FFF2-40B4-BE49-F238E27FC236}">
                  <a16:creationId xmlns:a16="http://schemas.microsoft.com/office/drawing/2014/main" id="{9CDB66C3-33FE-45E8-959D-2803BB53B8FB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Oval 714">
              <a:extLst>
                <a:ext uri="{FF2B5EF4-FFF2-40B4-BE49-F238E27FC236}">
                  <a16:creationId xmlns:a16="http://schemas.microsoft.com/office/drawing/2014/main" id="{05C58D9D-7243-4D3D-A5E1-27E89B8DAC55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" name="Rectangle 660">
            <a:extLst>
              <a:ext uri="{FF2B5EF4-FFF2-40B4-BE49-F238E27FC236}">
                <a16:creationId xmlns:a16="http://schemas.microsoft.com/office/drawing/2014/main" id="{48FDF808-97F7-45BD-849D-7E71A73C2130}"/>
              </a:ext>
            </a:extLst>
          </p:cNvPr>
          <p:cNvSpPr/>
          <p:nvPr/>
        </p:nvSpPr>
        <p:spPr>
          <a:xfrm>
            <a:off x="378056" y="1982768"/>
            <a:ext cx="260017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Бесплатный ресурс.</a:t>
            </a:r>
          </a:p>
        </p:txBody>
      </p:sp>
      <p:sp>
        <p:nvSpPr>
          <p:cNvPr id="4" name="Rectangle 660">
            <a:extLst>
              <a:ext uri="{FF2B5EF4-FFF2-40B4-BE49-F238E27FC236}">
                <a16:creationId xmlns:a16="http://schemas.microsoft.com/office/drawing/2014/main" id="{1C0D0F21-B2AE-4A0F-BC95-5D8C39E98FEE}"/>
              </a:ext>
            </a:extLst>
          </p:cNvPr>
          <p:cNvSpPr/>
          <p:nvPr/>
        </p:nvSpPr>
        <p:spPr>
          <a:xfrm>
            <a:off x="9142188" y="4729779"/>
            <a:ext cx="296285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В интерактивных тетрадях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kysmart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собраны задан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я по основным предметам.</a:t>
            </a:r>
          </a:p>
        </p:txBody>
      </p:sp>
      <p:sp>
        <p:nvSpPr>
          <p:cNvPr id="5" name="Rectangle 660">
            <a:extLst>
              <a:ext uri="{FF2B5EF4-FFF2-40B4-BE49-F238E27FC236}">
                <a16:creationId xmlns:a16="http://schemas.microsoft.com/office/drawing/2014/main" id="{BB68F843-A530-411F-B3A7-4AF822735797}"/>
              </a:ext>
            </a:extLst>
          </p:cNvPr>
          <p:cNvSpPr/>
          <p:nvPr/>
        </p:nvSpPr>
        <p:spPr>
          <a:xfrm>
            <a:off x="9093675" y="1504295"/>
            <a:ext cx="2962859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Ссылку на задание можно отправить ученикам любым удобным способом: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чат во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ВКонтакт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Whatsapp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Viber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, электронная почта, электронный журнал.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kumimoji="0" lang="ru-RU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F23C0A0-2791-4F50-A55D-B9D05AFD1F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87857" y="1961469"/>
            <a:ext cx="515165" cy="52192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3D914DD-DF45-4795-B6EE-514248489A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94268" y="4750369"/>
            <a:ext cx="515165" cy="52192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537A32D-295E-4BF5-938C-2B6BB8F6F4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46777" y="1951981"/>
            <a:ext cx="515165" cy="521924"/>
          </a:xfrm>
          <a:prstGeom prst="rect">
            <a:avLst/>
          </a:prstGeom>
        </p:spPr>
      </p:pic>
      <p:pic>
        <p:nvPicPr>
          <p:cNvPr id="8194" name="Picture 2">
            <a:extLst>
              <a:ext uri="{FF2B5EF4-FFF2-40B4-BE49-F238E27FC236}">
                <a16:creationId xmlns:a16="http://schemas.microsoft.com/office/drawing/2014/main" id="{8EA3A921-685B-4230-B8AA-71A4D2A31D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9282" y="753259"/>
            <a:ext cx="4277882" cy="606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3836EE9-528F-473F-BFCF-F18627A38A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29123" y="4761660"/>
            <a:ext cx="515165" cy="521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9860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73A7CE6-7D49-49E8-8BA4-1D8C83EC7131}"/>
              </a:ext>
            </a:extLst>
          </p:cNvPr>
          <p:cNvSpPr/>
          <p:nvPr/>
        </p:nvSpPr>
        <p:spPr>
          <a:xfrm>
            <a:off x="0" y="0"/>
            <a:ext cx="4880008" cy="6858000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9A6E10-591C-4B02-82AA-479EF78F6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63" y="347617"/>
            <a:ext cx="3906202" cy="678656"/>
          </a:xfrm>
        </p:spPr>
        <p:txBody>
          <a:bodyPr>
            <a:noAutofit/>
          </a:bodyPr>
          <a:lstStyle/>
          <a:p>
            <a:r>
              <a:rPr lang="ru-RU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ЯКласс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4220CCB-3AB9-4239-8B38-3DA9A8554954}"/>
              </a:ext>
            </a:extLst>
          </p:cNvPr>
          <p:cNvSpPr/>
          <p:nvPr/>
        </p:nvSpPr>
        <p:spPr>
          <a:xfrm>
            <a:off x="0" y="2604282"/>
            <a:ext cx="3754392" cy="4253718"/>
          </a:xfrm>
          <a:custGeom>
            <a:avLst/>
            <a:gdLst>
              <a:gd name="connsiteX0" fmla="*/ 0 w 3754392"/>
              <a:gd name="connsiteY0" fmla="*/ 0 h 4231726"/>
              <a:gd name="connsiteX1" fmla="*/ 72692 w 3754392"/>
              <a:gd name="connsiteY1" fmla="*/ 1838 h 4231726"/>
              <a:gd name="connsiteX2" fmla="*/ 3754392 w 3754392"/>
              <a:gd name="connsiteY2" fmla="*/ 3878225 h 4231726"/>
              <a:gd name="connsiteX3" fmla="*/ 3749341 w 3754392"/>
              <a:gd name="connsiteY3" fmla="*/ 4077963 h 4231726"/>
              <a:gd name="connsiteX4" fmla="*/ 3737650 w 3754392"/>
              <a:gd name="connsiteY4" fmla="*/ 4231726 h 4231726"/>
              <a:gd name="connsiteX5" fmla="*/ 0 w 3754392"/>
              <a:gd name="connsiteY5" fmla="*/ 4231726 h 4231726"/>
              <a:gd name="connsiteX6" fmla="*/ 0 w 3754392"/>
              <a:gd name="connsiteY6" fmla="*/ 0 h 4231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54392" h="4231726">
                <a:moveTo>
                  <a:pt x="0" y="0"/>
                </a:moveTo>
                <a:lnTo>
                  <a:pt x="72692" y="1838"/>
                </a:lnTo>
                <a:cubicBezTo>
                  <a:pt x="2123527" y="105794"/>
                  <a:pt x="3754392" y="1801555"/>
                  <a:pt x="3754392" y="3878225"/>
                </a:cubicBezTo>
                <a:cubicBezTo>
                  <a:pt x="3754392" y="3945214"/>
                  <a:pt x="3752695" y="4011807"/>
                  <a:pt x="3749341" y="4077963"/>
                </a:cubicBezTo>
                <a:lnTo>
                  <a:pt x="3737650" y="4231726"/>
                </a:lnTo>
                <a:lnTo>
                  <a:pt x="0" y="4231726"/>
                </a:lnTo>
                <a:lnTo>
                  <a:pt x="0" y="0"/>
                </a:lnTo>
                <a:close/>
              </a:path>
            </a:pathLst>
          </a:custGeom>
          <a:solidFill>
            <a:srgbClr val="2948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EEDB7BB-67BF-4F13-83AE-4F0395387D6B}"/>
              </a:ext>
            </a:extLst>
          </p:cNvPr>
          <p:cNvGrpSpPr/>
          <p:nvPr/>
        </p:nvGrpSpPr>
        <p:grpSpPr>
          <a:xfrm rot="1758132">
            <a:off x="3203491" y="2477768"/>
            <a:ext cx="649522" cy="574314"/>
            <a:chOff x="2191671" y="3790700"/>
            <a:chExt cx="904875" cy="8001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9ED76D1-DA3C-4272-A9B6-69392D513E9D}"/>
                </a:ext>
              </a:extLst>
            </p:cNvPr>
            <p:cNvSpPr/>
            <p:nvPr/>
          </p:nvSpPr>
          <p:spPr>
            <a:xfrm>
              <a:off x="2191671" y="3790700"/>
              <a:ext cx="904875" cy="800100"/>
            </a:xfrm>
            <a:custGeom>
              <a:avLst/>
              <a:gdLst>
                <a:gd name="connsiteX0" fmla="*/ 793807 w 904875"/>
                <a:gd name="connsiteY0" fmla="*/ 94576 h 800100"/>
                <a:gd name="connsiteX1" fmla="*/ 212305 w 904875"/>
                <a:gd name="connsiteY1" fmla="*/ 1708 h 800100"/>
                <a:gd name="connsiteX2" fmla="*/ 58858 w 904875"/>
                <a:gd name="connsiteY2" fmla="*/ 112864 h 800100"/>
                <a:gd name="connsiteX3" fmla="*/ 1708 w 904875"/>
                <a:gd name="connsiteY3" fmla="*/ 470623 h 800100"/>
                <a:gd name="connsiteX4" fmla="*/ 112864 w 904875"/>
                <a:gd name="connsiteY4" fmla="*/ 624071 h 800100"/>
                <a:gd name="connsiteX5" fmla="*/ 317938 w 904875"/>
                <a:gd name="connsiteY5" fmla="*/ 656837 h 800100"/>
                <a:gd name="connsiteX6" fmla="*/ 359657 w 904875"/>
                <a:gd name="connsiteY6" fmla="*/ 778662 h 800100"/>
                <a:gd name="connsiteX7" fmla="*/ 428237 w 904875"/>
                <a:gd name="connsiteY7" fmla="*/ 788282 h 800100"/>
                <a:gd name="connsiteX8" fmla="*/ 499770 w 904875"/>
                <a:gd name="connsiteY8" fmla="*/ 685888 h 800100"/>
                <a:gd name="connsiteX9" fmla="*/ 694366 w 904875"/>
                <a:gd name="connsiteY9" fmla="*/ 716940 h 800100"/>
                <a:gd name="connsiteX10" fmla="*/ 847813 w 904875"/>
                <a:gd name="connsiteY10" fmla="*/ 605783 h 800100"/>
                <a:gd name="connsiteX11" fmla="*/ 904963 w 904875"/>
                <a:gd name="connsiteY11" fmla="*/ 248024 h 800100"/>
                <a:gd name="connsiteX12" fmla="*/ 793807 w 904875"/>
                <a:gd name="connsiteY12" fmla="*/ 94576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4875" h="800100">
                  <a:moveTo>
                    <a:pt x="793807" y="94576"/>
                  </a:moveTo>
                  <a:lnTo>
                    <a:pt x="212305" y="1708"/>
                  </a:lnTo>
                  <a:cubicBezTo>
                    <a:pt x="139249" y="-10008"/>
                    <a:pt x="70573" y="39808"/>
                    <a:pt x="58858" y="112864"/>
                  </a:cubicBezTo>
                  <a:lnTo>
                    <a:pt x="1708" y="470623"/>
                  </a:lnTo>
                  <a:cubicBezTo>
                    <a:pt x="-10008" y="543680"/>
                    <a:pt x="39808" y="612355"/>
                    <a:pt x="112864" y="624071"/>
                  </a:cubicBezTo>
                  <a:lnTo>
                    <a:pt x="317938" y="656837"/>
                  </a:lnTo>
                  <a:lnTo>
                    <a:pt x="359657" y="778662"/>
                  </a:lnTo>
                  <a:cubicBezTo>
                    <a:pt x="369944" y="808761"/>
                    <a:pt x="410044" y="814381"/>
                    <a:pt x="428237" y="788282"/>
                  </a:cubicBezTo>
                  <a:lnTo>
                    <a:pt x="499770" y="685888"/>
                  </a:lnTo>
                  <a:lnTo>
                    <a:pt x="694366" y="716940"/>
                  </a:lnTo>
                  <a:cubicBezTo>
                    <a:pt x="767422" y="728560"/>
                    <a:pt x="836098" y="678840"/>
                    <a:pt x="847813" y="605783"/>
                  </a:cubicBezTo>
                  <a:lnTo>
                    <a:pt x="904963" y="248024"/>
                  </a:lnTo>
                  <a:cubicBezTo>
                    <a:pt x="916584" y="174967"/>
                    <a:pt x="866863" y="106292"/>
                    <a:pt x="793807" y="94576"/>
                  </a:cubicBezTo>
                  <a:close/>
                </a:path>
              </a:pathLst>
            </a:custGeom>
            <a:solidFill>
              <a:srgbClr val="F15268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98B0482-A803-4474-A1C9-5881DDEFC9B8}"/>
                </a:ext>
              </a:extLst>
            </p:cNvPr>
            <p:cNvSpPr/>
            <p:nvPr/>
          </p:nvSpPr>
          <p:spPr>
            <a:xfrm>
              <a:off x="2475277" y="3994502"/>
              <a:ext cx="361950" cy="314325"/>
            </a:xfrm>
            <a:custGeom>
              <a:avLst/>
              <a:gdLst>
                <a:gd name="connsiteX0" fmla="*/ 365802 w 361950"/>
                <a:gd name="connsiteY0" fmla="*/ 143853 h 314325"/>
                <a:gd name="connsiteX1" fmla="*/ 287506 w 361950"/>
                <a:gd name="connsiteY1" fmla="*/ 30791 h 314325"/>
                <a:gd name="connsiteX2" fmla="*/ 191113 w 361950"/>
                <a:gd name="connsiteY2" fmla="*/ 70796 h 314325"/>
                <a:gd name="connsiteX3" fmla="*/ 113103 w 361950"/>
                <a:gd name="connsiteY3" fmla="*/ 1550 h 314325"/>
                <a:gd name="connsiteX4" fmla="*/ 5376 w 361950"/>
                <a:gd name="connsiteY4" fmla="*/ 144615 h 314325"/>
                <a:gd name="connsiteX5" fmla="*/ 148346 w 361950"/>
                <a:gd name="connsiteY5" fmla="*/ 322066 h 314325"/>
                <a:gd name="connsiteX6" fmla="*/ 149584 w 361950"/>
                <a:gd name="connsiteY6" fmla="*/ 322256 h 314325"/>
                <a:gd name="connsiteX7" fmla="*/ 340846 w 361950"/>
                <a:gd name="connsiteY7" fmla="*/ 207290 h 314325"/>
                <a:gd name="connsiteX8" fmla="*/ 365802 w 361950"/>
                <a:gd name="connsiteY8" fmla="*/ 143853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950" h="314325">
                  <a:moveTo>
                    <a:pt x="365802" y="143853"/>
                  </a:moveTo>
                  <a:cubicBezTo>
                    <a:pt x="372469" y="92609"/>
                    <a:pt x="349323" y="41174"/>
                    <a:pt x="287506" y="30791"/>
                  </a:cubicBezTo>
                  <a:cubicBezTo>
                    <a:pt x="249120" y="24314"/>
                    <a:pt x="212354" y="41078"/>
                    <a:pt x="191113" y="70796"/>
                  </a:cubicBezTo>
                  <a:cubicBezTo>
                    <a:pt x="180731" y="35840"/>
                    <a:pt x="151489" y="7931"/>
                    <a:pt x="113103" y="1550"/>
                  </a:cubicBezTo>
                  <a:cubicBezTo>
                    <a:pt x="28426" y="-12643"/>
                    <a:pt x="-16151" y="73463"/>
                    <a:pt x="5376" y="144615"/>
                  </a:cubicBezTo>
                  <a:cubicBezTo>
                    <a:pt x="28140" y="219863"/>
                    <a:pt x="82528" y="280727"/>
                    <a:pt x="148346" y="322066"/>
                  </a:cubicBezTo>
                  <a:lnTo>
                    <a:pt x="149584" y="322256"/>
                  </a:lnTo>
                  <a:cubicBezTo>
                    <a:pt x="220926" y="305683"/>
                    <a:pt x="297222" y="268059"/>
                    <a:pt x="340846" y="207290"/>
                  </a:cubicBezTo>
                  <a:cubicBezTo>
                    <a:pt x="354276" y="188430"/>
                    <a:pt x="362849" y="166142"/>
                    <a:pt x="365802" y="143853"/>
                  </a:cubicBezTo>
                  <a:close/>
                </a:path>
              </a:pathLst>
            </a:custGeom>
            <a:solidFill>
              <a:srgbClr val="F4F5F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A5AA195-CBD7-40F4-813F-67FAA35AF518}"/>
              </a:ext>
            </a:extLst>
          </p:cNvPr>
          <p:cNvGrpSpPr/>
          <p:nvPr/>
        </p:nvGrpSpPr>
        <p:grpSpPr>
          <a:xfrm>
            <a:off x="2393742" y="2752970"/>
            <a:ext cx="676870" cy="594825"/>
            <a:chOff x="1492752" y="5127283"/>
            <a:chExt cx="942975" cy="828675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74D6DD8-F117-4588-B059-1BD9CFF1CB8E}"/>
                </a:ext>
              </a:extLst>
            </p:cNvPr>
            <p:cNvSpPr/>
            <p:nvPr/>
          </p:nvSpPr>
          <p:spPr>
            <a:xfrm>
              <a:off x="1492752" y="5127283"/>
              <a:ext cx="942975" cy="828675"/>
            </a:xfrm>
            <a:custGeom>
              <a:avLst/>
              <a:gdLst>
                <a:gd name="connsiteX0" fmla="*/ 628766 w 942975"/>
                <a:gd name="connsiteY0" fmla="*/ 9928 h 828675"/>
                <a:gd name="connsiteX1" fmla="*/ 83460 w 942975"/>
                <a:gd name="connsiteY1" fmla="*/ 232147 h 828675"/>
                <a:gd name="connsiteX2" fmla="*/ 9927 w 942975"/>
                <a:gd name="connsiteY2" fmla="*/ 406740 h 828675"/>
                <a:gd name="connsiteX3" fmla="*/ 146611 w 942975"/>
                <a:gd name="connsiteY3" fmla="*/ 742211 h 828675"/>
                <a:gd name="connsiteX4" fmla="*/ 321204 w 942975"/>
                <a:gd name="connsiteY4" fmla="*/ 815744 h 828675"/>
                <a:gd name="connsiteX5" fmla="*/ 513514 w 942975"/>
                <a:gd name="connsiteY5" fmla="*/ 737353 h 828675"/>
                <a:gd name="connsiteX6" fmla="*/ 612383 w 942975"/>
                <a:gd name="connsiteY6" fmla="*/ 819839 h 828675"/>
                <a:gd name="connsiteX7" fmla="*/ 676010 w 942975"/>
                <a:gd name="connsiteY7" fmla="*/ 792503 h 828675"/>
                <a:gd name="connsiteX8" fmla="*/ 684107 w 942975"/>
                <a:gd name="connsiteY8" fmla="*/ 667820 h 828675"/>
                <a:gd name="connsiteX9" fmla="*/ 866606 w 942975"/>
                <a:gd name="connsiteY9" fmla="*/ 593430 h 828675"/>
                <a:gd name="connsiteX10" fmla="*/ 940139 w 942975"/>
                <a:gd name="connsiteY10" fmla="*/ 418837 h 828675"/>
                <a:gd name="connsiteX11" fmla="*/ 803455 w 942975"/>
                <a:gd name="connsiteY11" fmla="*/ 83366 h 828675"/>
                <a:gd name="connsiteX12" fmla="*/ 628766 w 942975"/>
                <a:gd name="connsiteY12" fmla="*/ 9928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2975" h="828675">
                  <a:moveTo>
                    <a:pt x="628766" y="9928"/>
                  </a:moveTo>
                  <a:lnTo>
                    <a:pt x="83460" y="232147"/>
                  </a:lnTo>
                  <a:cubicBezTo>
                    <a:pt x="14975" y="260055"/>
                    <a:pt x="-17981" y="338255"/>
                    <a:pt x="9927" y="406740"/>
                  </a:cubicBezTo>
                  <a:lnTo>
                    <a:pt x="146611" y="742211"/>
                  </a:lnTo>
                  <a:cubicBezTo>
                    <a:pt x="174519" y="810695"/>
                    <a:pt x="252719" y="843652"/>
                    <a:pt x="321204" y="815744"/>
                  </a:cubicBezTo>
                  <a:lnTo>
                    <a:pt x="513514" y="737353"/>
                  </a:lnTo>
                  <a:lnTo>
                    <a:pt x="612383" y="819839"/>
                  </a:lnTo>
                  <a:cubicBezTo>
                    <a:pt x="636767" y="840223"/>
                    <a:pt x="673915" y="824221"/>
                    <a:pt x="676010" y="792503"/>
                  </a:cubicBezTo>
                  <a:lnTo>
                    <a:pt x="684107" y="667820"/>
                  </a:lnTo>
                  <a:lnTo>
                    <a:pt x="866606" y="593430"/>
                  </a:lnTo>
                  <a:cubicBezTo>
                    <a:pt x="935090" y="565522"/>
                    <a:pt x="968047" y="487321"/>
                    <a:pt x="940139" y="418837"/>
                  </a:cubicBezTo>
                  <a:lnTo>
                    <a:pt x="803455" y="83366"/>
                  </a:lnTo>
                  <a:cubicBezTo>
                    <a:pt x="775547" y="14977"/>
                    <a:pt x="697346" y="-17980"/>
                    <a:pt x="628766" y="9928"/>
                  </a:cubicBezTo>
                  <a:close/>
                </a:path>
              </a:pathLst>
            </a:custGeom>
            <a:solidFill>
              <a:srgbClr val="F15268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96BBD93-0E76-463E-82A8-F6999C20D84F}"/>
                </a:ext>
              </a:extLst>
            </p:cNvPr>
            <p:cNvSpPr/>
            <p:nvPr/>
          </p:nvSpPr>
          <p:spPr>
            <a:xfrm>
              <a:off x="1779694" y="5364712"/>
              <a:ext cx="352425" cy="323850"/>
            </a:xfrm>
            <a:custGeom>
              <a:avLst/>
              <a:gdLst>
                <a:gd name="connsiteX0" fmla="*/ 349635 w 352425"/>
                <a:gd name="connsiteY0" fmla="*/ 63774 h 323850"/>
                <a:gd name="connsiteX1" fmla="*/ 224000 w 352425"/>
                <a:gd name="connsiteY1" fmla="*/ 7767 h 323850"/>
                <a:gd name="connsiteX2" fmla="*/ 162373 w 352425"/>
                <a:gd name="connsiteY2" fmla="*/ 91968 h 323850"/>
                <a:gd name="connsiteX3" fmla="*/ 59694 w 352425"/>
                <a:gd name="connsiteY3" fmla="*/ 73204 h 323850"/>
                <a:gd name="connsiteX4" fmla="*/ 41787 w 352425"/>
                <a:gd name="connsiteY4" fmla="*/ 251417 h 323850"/>
                <a:gd name="connsiteX5" fmla="*/ 256004 w 352425"/>
                <a:gd name="connsiteY5" fmla="*/ 329046 h 323850"/>
                <a:gd name="connsiteX6" fmla="*/ 257242 w 352425"/>
                <a:gd name="connsiteY6" fmla="*/ 328569 h 323850"/>
                <a:gd name="connsiteX7" fmla="*/ 361065 w 352425"/>
                <a:gd name="connsiteY7" fmla="*/ 131116 h 323850"/>
                <a:gd name="connsiteX8" fmla="*/ 349635 w 352425"/>
                <a:gd name="connsiteY8" fmla="*/ 6377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425" h="323850">
                  <a:moveTo>
                    <a:pt x="349635" y="63774"/>
                  </a:moveTo>
                  <a:cubicBezTo>
                    <a:pt x="328775" y="16435"/>
                    <a:pt x="282293" y="-15474"/>
                    <a:pt x="224000" y="7767"/>
                  </a:cubicBezTo>
                  <a:cubicBezTo>
                    <a:pt x="187900" y="22150"/>
                    <a:pt x="165040" y="55583"/>
                    <a:pt x="162373" y="91968"/>
                  </a:cubicBezTo>
                  <a:cubicBezTo>
                    <a:pt x="135417" y="67489"/>
                    <a:pt x="95889" y="58821"/>
                    <a:pt x="59694" y="73204"/>
                  </a:cubicBezTo>
                  <a:cubicBezTo>
                    <a:pt x="-20031" y="104922"/>
                    <a:pt x="-13554" y="201696"/>
                    <a:pt x="41787" y="251417"/>
                  </a:cubicBezTo>
                  <a:cubicBezTo>
                    <a:pt x="100270" y="303995"/>
                    <a:pt x="178375" y="327807"/>
                    <a:pt x="256004" y="329046"/>
                  </a:cubicBezTo>
                  <a:lnTo>
                    <a:pt x="257242" y="328569"/>
                  </a:lnTo>
                  <a:cubicBezTo>
                    <a:pt x="309630" y="277325"/>
                    <a:pt x="355350" y="205697"/>
                    <a:pt x="361065" y="131116"/>
                  </a:cubicBezTo>
                  <a:cubicBezTo>
                    <a:pt x="362970" y="107875"/>
                    <a:pt x="358683" y="84348"/>
                    <a:pt x="349635" y="63774"/>
                  </a:cubicBezTo>
                  <a:close/>
                </a:path>
              </a:pathLst>
            </a:custGeom>
            <a:solidFill>
              <a:srgbClr val="F4F5F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A3EC4A5-CE10-43F2-8783-886524EB1AB2}"/>
              </a:ext>
            </a:extLst>
          </p:cNvPr>
          <p:cNvGrpSpPr/>
          <p:nvPr/>
        </p:nvGrpSpPr>
        <p:grpSpPr>
          <a:xfrm rot="2917994">
            <a:off x="3167304" y="3300520"/>
            <a:ext cx="594825" cy="526455"/>
            <a:chOff x="1644063" y="6099154"/>
            <a:chExt cx="828675" cy="733425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7EE3E34-A89E-4F6F-BBCB-66B5854AFA70}"/>
                </a:ext>
              </a:extLst>
            </p:cNvPr>
            <p:cNvSpPr/>
            <p:nvPr/>
          </p:nvSpPr>
          <p:spPr>
            <a:xfrm>
              <a:off x="1644063" y="6099154"/>
              <a:ext cx="828675" cy="733425"/>
            </a:xfrm>
            <a:custGeom>
              <a:avLst/>
              <a:gdLst>
                <a:gd name="connsiteX0" fmla="*/ 730581 w 828675"/>
                <a:gd name="connsiteY0" fmla="*/ 81167 h 733425"/>
                <a:gd name="connsiteX1" fmla="*/ 191371 w 828675"/>
                <a:gd name="connsiteY1" fmla="*/ 1347 h 733425"/>
                <a:gd name="connsiteX2" fmla="*/ 50496 w 828675"/>
                <a:gd name="connsiteY2" fmla="*/ 105836 h 733425"/>
                <a:gd name="connsiteX3" fmla="*/ 1347 w 828675"/>
                <a:gd name="connsiteY3" fmla="*/ 437497 h 733425"/>
                <a:gd name="connsiteX4" fmla="*/ 105836 w 828675"/>
                <a:gd name="connsiteY4" fmla="*/ 578372 h 733425"/>
                <a:gd name="connsiteX5" fmla="*/ 296051 w 828675"/>
                <a:gd name="connsiteY5" fmla="*/ 606566 h 733425"/>
                <a:gd name="connsiteX6" fmla="*/ 335960 w 828675"/>
                <a:gd name="connsiteY6" fmla="*/ 718865 h 733425"/>
                <a:gd name="connsiteX7" fmla="*/ 399492 w 828675"/>
                <a:gd name="connsiteY7" fmla="*/ 727057 h 733425"/>
                <a:gd name="connsiteX8" fmla="*/ 464643 w 828675"/>
                <a:gd name="connsiteY8" fmla="*/ 631521 h 733425"/>
                <a:gd name="connsiteX9" fmla="*/ 645047 w 828675"/>
                <a:gd name="connsiteY9" fmla="*/ 658286 h 733425"/>
                <a:gd name="connsiteX10" fmla="*/ 785921 w 828675"/>
                <a:gd name="connsiteY10" fmla="*/ 553797 h 733425"/>
                <a:gd name="connsiteX11" fmla="*/ 835070 w 828675"/>
                <a:gd name="connsiteY11" fmla="*/ 222137 h 733425"/>
                <a:gd name="connsiteX12" fmla="*/ 730581 w 828675"/>
                <a:gd name="connsiteY12" fmla="*/ 81167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8675" h="733425">
                  <a:moveTo>
                    <a:pt x="730581" y="81167"/>
                  </a:moveTo>
                  <a:lnTo>
                    <a:pt x="191371" y="1347"/>
                  </a:lnTo>
                  <a:cubicBezTo>
                    <a:pt x="123648" y="-8654"/>
                    <a:pt x="60593" y="38114"/>
                    <a:pt x="50496" y="105836"/>
                  </a:cubicBezTo>
                  <a:lnTo>
                    <a:pt x="1347" y="437497"/>
                  </a:lnTo>
                  <a:cubicBezTo>
                    <a:pt x="-8654" y="505220"/>
                    <a:pt x="38114" y="568275"/>
                    <a:pt x="105836" y="578372"/>
                  </a:cubicBezTo>
                  <a:lnTo>
                    <a:pt x="296051" y="606566"/>
                  </a:lnTo>
                  <a:lnTo>
                    <a:pt x="335960" y="718865"/>
                  </a:lnTo>
                  <a:cubicBezTo>
                    <a:pt x="345771" y="746583"/>
                    <a:pt x="382919" y="751346"/>
                    <a:pt x="399492" y="727057"/>
                  </a:cubicBezTo>
                  <a:lnTo>
                    <a:pt x="464643" y="631521"/>
                  </a:lnTo>
                  <a:lnTo>
                    <a:pt x="645047" y="658286"/>
                  </a:lnTo>
                  <a:cubicBezTo>
                    <a:pt x="712769" y="668288"/>
                    <a:pt x="775825" y="621520"/>
                    <a:pt x="785921" y="553797"/>
                  </a:cubicBezTo>
                  <a:lnTo>
                    <a:pt x="835070" y="222137"/>
                  </a:lnTo>
                  <a:cubicBezTo>
                    <a:pt x="845167" y="154223"/>
                    <a:pt x="798304" y="91168"/>
                    <a:pt x="730581" y="81167"/>
                  </a:cubicBezTo>
                  <a:close/>
                </a:path>
              </a:pathLst>
            </a:custGeom>
            <a:solidFill>
              <a:srgbClr val="F9F9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B1CB38F-1B02-446F-AAA7-0CDBAE0669BB}"/>
                </a:ext>
              </a:extLst>
            </p:cNvPr>
            <p:cNvSpPr/>
            <p:nvPr/>
          </p:nvSpPr>
          <p:spPr>
            <a:xfrm>
              <a:off x="1802950" y="6169087"/>
              <a:ext cx="514350" cy="514350"/>
            </a:xfrm>
            <a:custGeom>
              <a:avLst/>
              <a:gdLst>
                <a:gd name="connsiteX0" fmla="*/ 484072 w 514350"/>
                <a:gd name="connsiteY0" fmla="*/ 224981 h 514350"/>
                <a:gd name="connsiteX1" fmla="*/ 293201 w 514350"/>
                <a:gd name="connsiteY1" fmla="*/ 484072 h 514350"/>
                <a:gd name="connsiteX2" fmla="*/ 34110 w 514350"/>
                <a:gd name="connsiteY2" fmla="*/ 293201 h 514350"/>
                <a:gd name="connsiteX3" fmla="*/ 224981 w 514350"/>
                <a:gd name="connsiteY3" fmla="*/ 34110 h 514350"/>
                <a:gd name="connsiteX4" fmla="*/ 484072 w 514350"/>
                <a:gd name="connsiteY4" fmla="*/ 224981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50" h="514350">
                  <a:moveTo>
                    <a:pt x="484072" y="224981"/>
                  </a:moveTo>
                  <a:cubicBezTo>
                    <a:pt x="502910" y="349234"/>
                    <a:pt x="417455" y="465233"/>
                    <a:pt x="293201" y="484072"/>
                  </a:cubicBezTo>
                  <a:cubicBezTo>
                    <a:pt x="168948" y="502910"/>
                    <a:pt x="52949" y="417455"/>
                    <a:pt x="34110" y="293201"/>
                  </a:cubicBezTo>
                  <a:cubicBezTo>
                    <a:pt x="15272" y="168947"/>
                    <a:pt x="100727" y="52948"/>
                    <a:pt x="224981" y="34110"/>
                  </a:cubicBezTo>
                  <a:cubicBezTo>
                    <a:pt x="349234" y="15272"/>
                    <a:pt x="465233" y="100727"/>
                    <a:pt x="484072" y="224981"/>
                  </a:cubicBezTo>
                  <a:close/>
                </a:path>
              </a:pathLst>
            </a:custGeom>
            <a:solidFill>
              <a:srgbClr val="F2D46A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B58E91F0-CCD9-4F28-92FA-D949D94BA955}"/>
                </a:ext>
              </a:extLst>
            </p:cNvPr>
            <p:cNvSpPr/>
            <p:nvPr/>
          </p:nvSpPr>
          <p:spPr>
            <a:xfrm>
              <a:off x="1931922" y="6306813"/>
              <a:ext cx="57150" cy="66675"/>
            </a:xfrm>
            <a:custGeom>
              <a:avLst/>
              <a:gdLst>
                <a:gd name="connsiteX0" fmla="*/ 8763 w 57150"/>
                <a:gd name="connsiteY0" fmla="*/ 0 h 66675"/>
                <a:gd name="connsiteX1" fmla="*/ 61246 w 57150"/>
                <a:gd name="connsiteY1" fmla="*/ 39815 h 66675"/>
                <a:gd name="connsiteX2" fmla="*/ 0 w 57150"/>
                <a:gd name="connsiteY2" fmla="*/ 6734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66675">
                  <a:moveTo>
                    <a:pt x="8763" y="0"/>
                  </a:moveTo>
                  <a:lnTo>
                    <a:pt x="61246" y="39815"/>
                  </a:lnTo>
                  <a:lnTo>
                    <a:pt x="0" y="67342"/>
                  </a:lnTo>
                </a:path>
              </a:pathLst>
            </a:custGeom>
            <a:noFill/>
            <a:ln w="22337" cap="rnd">
              <a:solidFill>
                <a:srgbClr val="252935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5FC0443-7DE5-4A97-8986-FE08FFFE005F}"/>
                </a:ext>
              </a:extLst>
            </p:cNvPr>
            <p:cNvSpPr/>
            <p:nvPr/>
          </p:nvSpPr>
          <p:spPr>
            <a:xfrm>
              <a:off x="2152140" y="6338722"/>
              <a:ext cx="57150" cy="66675"/>
            </a:xfrm>
            <a:custGeom>
              <a:avLst/>
              <a:gdLst>
                <a:gd name="connsiteX0" fmla="*/ 52483 w 57150"/>
                <a:gd name="connsiteY0" fmla="*/ 67342 h 66675"/>
                <a:gd name="connsiteX1" fmla="*/ 0 w 57150"/>
                <a:gd name="connsiteY1" fmla="*/ 27432 h 66675"/>
                <a:gd name="connsiteX2" fmla="*/ 61246 w 57150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66675">
                  <a:moveTo>
                    <a:pt x="52483" y="67342"/>
                  </a:moveTo>
                  <a:lnTo>
                    <a:pt x="0" y="27432"/>
                  </a:lnTo>
                  <a:lnTo>
                    <a:pt x="61246" y="0"/>
                  </a:lnTo>
                </a:path>
              </a:pathLst>
            </a:custGeom>
            <a:noFill/>
            <a:ln w="22337" cap="rnd">
              <a:solidFill>
                <a:srgbClr val="252935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2EED3F2-E43F-41F4-9E5F-DC830E7D75C6}"/>
                </a:ext>
              </a:extLst>
            </p:cNvPr>
            <p:cNvSpPr/>
            <p:nvPr/>
          </p:nvSpPr>
          <p:spPr>
            <a:xfrm>
              <a:off x="1932208" y="6475709"/>
              <a:ext cx="238125" cy="95250"/>
            </a:xfrm>
            <a:custGeom>
              <a:avLst/>
              <a:gdLst>
                <a:gd name="connsiteX0" fmla="*/ 0 w 238125"/>
                <a:gd name="connsiteY0" fmla="*/ 18556 h 95250"/>
                <a:gd name="connsiteX1" fmla="*/ 112776 w 238125"/>
                <a:gd name="connsiteY1" fmla="*/ 97138 h 95250"/>
                <a:gd name="connsiteX2" fmla="*/ 240697 w 238125"/>
                <a:gd name="connsiteY2" fmla="*/ 46655 h 95250"/>
                <a:gd name="connsiteX3" fmla="*/ 123920 w 238125"/>
                <a:gd name="connsiteY3" fmla="*/ 2078 h 95250"/>
                <a:gd name="connsiteX4" fmla="*/ 0 w 238125"/>
                <a:gd name="connsiteY4" fmla="*/ 1855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125" h="95250">
                  <a:moveTo>
                    <a:pt x="0" y="18556"/>
                  </a:moveTo>
                  <a:cubicBezTo>
                    <a:pt x="21336" y="60466"/>
                    <a:pt x="62579" y="91232"/>
                    <a:pt x="112776" y="97138"/>
                  </a:cubicBezTo>
                  <a:cubicBezTo>
                    <a:pt x="162973" y="103043"/>
                    <a:pt x="210217" y="82565"/>
                    <a:pt x="240697" y="46655"/>
                  </a:cubicBezTo>
                  <a:cubicBezTo>
                    <a:pt x="216979" y="25224"/>
                    <a:pt x="174117" y="7984"/>
                    <a:pt x="123920" y="2078"/>
                  </a:cubicBezTo>
                  <a:cubicBezTo>
                    <a:pt x="73628" y="-3827"/>
                    <a:pt x="28003" y="3221"/>
                    <a:pt x="0" y="18556"/>
                  </a:cubicBezTo>
                  <a:close/>
                </a:path>
              </a:pathLst>
            </a:custGeom>
            <a:solidFill>
              <a:srgbClr val="DB3A63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70A5929-B762-414E-8079-8F679992661F}"/>
                </a:ext>
              </a:extLst>
            </p:cNvPr>
            <p:cNvSpPr/>
            <p:nvPr/>
          </p:nvSpPr>
          <p:spPr>
            <a:xfrm>
              <a:off x="1916368" y="6406254"/>
              <a:ext cx="285750" cy="114300"/>
            </a:xfrm>
            <a:custGeom>
              <a:avLst/>
              <a:gdLst>
                <a:gd name="connsiteX0" fmla="*/ 1647 w 285750"/>
                <a:gd name="connsiteY0" fmla="*/ 0 h 114300"/>
                <a:gd name="connsiteX1" fmla="*/ 980 w 285750"/>
                <a:gd name="connsiteY1" fmla="*/ 5048 h 114300"/>
                <a:gd name="connsiteX2" fmla="*/ 15839 w 285750"/>
                <a:gd name="connsiteY2" fmla="*/ 88011 h 114300"/>
                <a:gd name="connsiteX3" fmla="*/ 139759 w 285750"/>
                <a:gd name="connsiteY3" fmla="*/ 71533 h 114300"/>
                <a:gd name="connsiteX4" fmla="*/ 256536 w 285750"/>
                <a:gd name="connsiteY4" fmla="*/ 116110 h 114300"/>
                <a:gd name="connsiteX5" fmla="*/ 290159 w 285750"/>
                <a:gd name="connsiteY5" fmla="*/ 38862 h 114300"/>
                <a:gd name="connsiteX6" fmla="*/ 1647 w 285750"/>
                <a:gd name="connsiteY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0" h="114300">
                  <a:moveTo>
                    <a:pt x="1647" y="0"/>
                  </a:moveTo>
                  <a:cubicBezTo>
                    <a:pt x="1361" y="1715"/>
                    <a:pt x="1171" y="3429"/>
                    <a:pt x="980" y="5048"/>
                  </a:cubicBezTo>
                  <a:cubicBezTo>
                    <a:pt x="-2449" y="34671"/>
                    <a:pt x="3266" y="63246"/>
                    <a:pt x="15839" y="88011"/>
                  </a:cubicBezTo>
                  <a:cubicBezTo>
                    <a:pt x="43938" y="72676"/>
                    <a:pt x="89467" y="65627"/>
                    <a:pt x="139759" y="71533"/>
                  </a:cubicBezTo>
                  <a:cubicBezTo>
                    <a:pt x="189956" y="77438"/>
                    <a:pt x="232819" y="94679"/>
                    <a:pt x="256536" y="116110"/>
                  </a:cubicBezTo>
                  <a:cubicBezTo>
                    <a:pt x="274538" y="94964"/>
                    <a:pt x="286635" y="68485"/>
                    <a:pt x="290159" y="38862"/>
                  </a:cubicBezTo>
                  <a:lnTo>
                    <a:pt x="1647" y="0"/>
                  </a:lnTo>
                  <a:close/>
                </a:path>
              </a:pathLst>
            </a:custGeom>
            <a:solidFill>
              <a:srgbClr val="25293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9" name="Graphic 58">
            <a:extLst>
              <a:ext uri="{FF2B5EF4-FFF2-40B4-BE49-F238E27FC236}">
                <a16:creationId xmlns:a16="http://schemas.microsoft.com/office/drawing/2014/main" id="{EBD44257-EF71-4321-8011-620DDF2C01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50985" y="4959179"/>
            <a:ext cx="3595642" cy="1898822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8FBFD9DB-8811-4B4E-8EA9-236F786354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5899" y="1627880"/>
            <a:ext cx="2724150" cy="6096908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E74A2E9E-539F-41EF-B425-A92F32645B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439041" y="5419405"/>
            <a:ext cx="2724150" cy="1438596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EB3DEA1A-F5E8-43BC-A8D6-1817351AA5E3}"/>
              </a:ext>
            </a:extLst>
          </p:cNvPr>
          <p:cNvGrpSpPr/>
          <p:nvPr/>
        </p:nvGrpSpPr>
        <p:grpSpPr>
          <a:xfrm rot="20887923">
            <a:off x="2497786" y="1981174"/>
            <a:ext cx="676870" cy="600722"/>
            <a:chOff x="212807" y="3831951"/>
            <a:chExt cx="1524000" cy="1352550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5B03640-D481-4060-A712-84B478E27F04}"/>
                </a:ext>
              </a:extLst>
            </p:cNvPr>
            <p:cNvSpPr/>
            <p:nvPr/>
          </p:nvSpPr>
          <p:spPr>
            <a:xfrm>
              <a:off x="212807" y="3831951"/>
              <a:ext cx="1524000" cy="1352550"/>
            </a:xfrm>
            <a:custGeom>
              <a:avLst/>
              <a:gdLst>
                <a:gd name="connsiteX0" fmla="*/ 1319952 w 1524000"/>
                <a:gd name="connsiteY0" fmla="*/ 95799 h 1352550"/>
                <a:gd name="connsiteX1" fmla="*/ 310493 w 1524000"/>
                <a:gd name="connsiteY1" fmla="*/ 1025 h 1352550"/>
                <a:gd name="connsiteX2" fmla="*/ 59318 w 1524000"/>
                <a:gd name="connsiteY2" fmla="*/ 209147 h 1352550"/>
                <a:gd name="connsiteX3" fmla="*/ 1025 w 1524000"/>
                <a:gd name="connsiteY3" fmla="*/ 830081 h 1352550"/>
                <a:gd name="connsiteX4" fmla="*/ 209147 w 1524000"/>
                <a:gd name="connsiteY4" fmla="*/ 1081256 h 1352550"/>
                <a:gd name="connsiteX5" fmla="*/ 565191 w 1524000"/>
                <a:gd name="connsiteY5" fmla="*/ 1114688 h 1352550"/>
                <a:gd name="connsiteX6" fmla="*/ 650440 w 1524000"/>
                <a:gd name="connsiteY6" fmla="*/ 1319381 h 1352550"/>
                <a:gd name="connsiteX7" fmla="*/ 769312 w 1524000"/>
                <a:gd name="connsiteY7" fmla="*/ 1328334 h 1352550"/>
                <a:gd name="connsiteX8" fmla="*/ 880850 w 1524000"/>
                <a:gd name="connsiteY8" fmla="*/ 1144311 h 1352550"/>
                <a:gd name="connsiteX9" fmla="*/ 1218606 w 1524000"/>
                <a:gd name="connsiteY9" fmla="*/ 1176029 h 1352550"/>
                <a:gd name="connsiteX10" fmla="*/ 1469780 w 1524000"/>
                <a:gd name="connsiteY10" fmla="*/ 967908 h 1352550"/>
                <a:gd name="connsiteX11" fmla="*/ 1528073 w 1524000"/>
                <a:gd name="connsiteY11" fmla="*/ 346973 h 1352550"/>
                <a:gd name="connsiteX12" fmla="*/ 1319952 w 1524000"/>
                <a:gd name="connsiteY12" fmla="*/ 95799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24000" h="1352550">
                  <a:moveTo>
                    <a:pt x="1319952" y="95799"/>
                  </a:moveTo>
                  <a:lnTo>
                    <a:pt x="310493" y="1025"/>
                  </a:lnTo>
                  <a:cubicBezTo>
                    <a:pt x="183620" y="-10881"/>
                    <a:pt x="71225" y="82274"/>
                    <a:pt x="59318" y="209147"/>
                  </a:cubicBezTo>
                  <a:lnTo>
                    <a:pt x="1025" y="830081"/>
                  </a:lnTo>
                  <a:cubicBezTo>
                    <a:pt x="-10881" y="956954"/>
                    <a:pt x="82274" y="1069349"/>
                    <a:pt x="209147" y="1081256"/>
                  </a:cubicBezTo>
                  <a:lnTo>
                    <a:pt x="565191" y="1114688"/>
                  </a:lnTo>
                  <a:lnTo>
                    <a:pt x="650440" y="1319381"/>
                  </a:lnTo>
                  <a:cubicBezTo>
                    <a:pt x="671490" y="1369863"/>
                    <a:pt x="740927" y="1375102"/>
                    <a:pt x="769312" y="1328334"/>
                  </a:cubicBezTo>
                  <a:lnTo>
                    <a:pt x="880850" y="1144311"/>
                  </a:lnTo>
                  <a:lnTo>
                    <a:pt x="1218606" y="1176029"/>
                  </a:lnTo>
                  <a:cubicBezTo>
                    <a:pt x="1345384" y="1187936"/>
                    <a:pt x="1457874" y="1094781"/>
                    <a:pt x="1469780" y="967908"/>
                  </a:cubicBezTo>
                  <a:lnTo>
                    <a:pt x="1528073" y="346973"/>
                  </a:lnTo>
                  <a:cubicBezTo>
                    <a:pt x="1539980" y="220100"/>
                    <a:pt x="1446825" y="107705"/>
                    <a:pt x="1319952" y="95799"/>
                  </a:cubicBezTo>
                  <a:close/>
                </a:path>
              </a:pathLst>
            </a:custGeom>
            <a:solidFill>
              <a:srgbClr val="407FFE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342E5D2-7FE6-4D72-BF64-D125C447AAAE}"/>
                </a:ext>
              </a:extLst>
            </p:cNvPr>
            <p:cNvSpPr/>
            <p:nvPr/>
          </p:nvSpPr>
          <p:spPr>
            <a:xfrm>
              <a:off x="863273" y="4091775"/>
              <a:ext cx="495300" cy="590550"/>
            </a:xfrm>
            <a:custGeom>
              <a:avLst/>
              <a:gdLst>
                <a:gd name="connsiteX0" fmla="*/ 65316 w 495300"/>
                <a:gd name="connsiteY0" fmla="*/ 570448 h 590550"/>
                <a:gd name="connsiteX1" fmla="*/ 350304 w 495300"/>
                <a:gd name="connsiteY1" fmla="*/ 596546 h 590550"/>
                <a:gd name="connsiteX2" fmla="*/ 356972 w 495300"/>
                <a:gd name="connsiteY2" fmla="*/ 595879 h 590550"/>
                <a:gd name="connsiteX3" fmla="*/ 400596 w 495300"/>
                <a:gd name="connsiteY3" fmla="*/ 566447 h 590550"/>
                <a:gd name="connsiteX4" fmla="*/ 402977 w 495300"/>
                <a:gd name="connsiteY4" fmla="*/ 528728 h 590550"/>
                <a:gd name="connsiteX5" fmla="*/ 402977 w 495300"/>
                <a:gd name="connsiteY5" fmla="*/ 528728 h 590550"/>
                <a:gd name="connsiteX6" fmla="*/ 411359 w 495300"/>
                <a:gd name="connsiteY6" fmla="*/ 507964 h 590550"/>
                <a:gd name="connsiteX7" fmla="*/ 411359 w 495300"/>
                <a:gd name="connsiteY7" fmla="*/ 507964 h 590550"/>
                <a:gd name="connsiteX8" fmla="*/ 435362 w 495300"/>
                <a:gd name="connsiteY8" fmla="*/ 445194 h 590550"/>
                <a:gd name="connsiteX9" fmla="*/ 435362 w 495300"/>
                <a:gd name="connsiteY9" fmla="*/ 445194 h 590550"/>
                <a:gd name="connsiteX10" fmla="*/ 442982 w 495300"/>
                <a:gd name="connsiteY10" fmla="*/ 423572 h 590550"/>
                <a:gd name="connsiteX11" fmla="*/ 442982 w 495300"/>
                <a:gd name="connsiteY11" fmla="*/ 423572 h 590550"/>
                <a:gd name="connsiteX12" fmla="*/ 462318 w 495300"/>
                <a:gd name="connsiteY12" fmla="*/ 365374 h 590550"/>
                <a:gd name="connsiteX13" fmla="*/ 462318 w 495300"/>
                <a:gd name="connsiteY13" fmla="*/ 365374 h 590550"/>
                <a:gd name="connsiteX14" fmla="*/ 470510 w 495300"/>
                <a:gd name="connsiteY14" fmla="*/ 342991 h 590550"/>
                <a:gd name="connsiteX15" fmla="*/ 470510 w 495300"/>
                <a:gd name="connsiteY15" fmla="*/ 342991 h 590550"/>
                <a:gd name="connsiteX16" fmla="*/ 497275 w 495300"/>
                <a:gd name="connsiteY16" fmla="*/ 301843 h 590550"/>
                <a:gd name="connsiteX17" fmla="*/ 449173 w 495300"/>
                <a:gd name="connsiteY17" fmla="*/ 274887 h 590550"/>
                <a:gd name="connsiteX18" fmla="*/ 259435 w 495300"/>
                <a:gd name="connsiteY18" fmla="*/ 255837 h 590550"/>
                <a:gd name="connsiteX19" fmla="*/ 245053 w 495300"/>
                <a:gd name="connsiteY19" fmla="*/ 230786 h 590550"/>
                <a:gd name="connsiteX20" fmla="*/ 245053 w 495300"/>
                <a:gd name="connsiteY20" fmla="*/ 230786 h 590550"/>
                <a:gd name="connsiteX21" fmla="*/ 274009 w 495300"/>
                <a:gd name="connsiteY21" fmla="*/ 104199 h 590550"/>
                <a:gd name="connsiteX22" fmla="*/ 249625 w 495300"/>
                <a:gd name="connsiteY22" fmla="*/ 15045 h 590550"/>
                <a:gd name="connsiteX23" fmla="*/ 243910 w 495300"/>
                <a:gd name="connsiteY23" fmla="*/ 7425 h 590550"/>
                <a:gd name="connsiteX24" fmla="*/ 233623 w 495300"/>
                <a:gd name="connsiteY24" fmla="*/ 1710 h 590550"/>
                <a:gd name="connsiteX25" fmla="*/ 207334 w 495300"/>
                <a:gd name="connsiteY25" fmla="*/ 3520 h 590550"/>
                <a:gd name="connsiteX26" fmla="*/ 197047 w 495300"/>
                <a:gd name="connsiteY26" fmla="*/ 18093 h 590550"/>
                <a:gd name="connsiteX27" fmla="*/ 189427 w 495300"/>
                <a:gd name="connsiteY27" fmla="*/ 101722 h 590550"/>
                <a:gd name="connsiteX28" fmla="*/ 188093 w 495300"/>
                <a:gd name="connsiteY28" fmla="*/ 104580 h 590550"/>
                <a:gd name="connsiteX29" fmla="*/ 67983 w 495300"/>
                <a:gd name="connsiteY29" fmla="*/ 270315 h 590550"/>
                <a:gd name="connsiteX30" fmla="*/ 65887 w 495300"/>
                <a:gd name="connsiteY30" fmla="*/ 272506 h 590550"/>
                <a:gd name="connsiteX31" fmla="*/ 29121 w 495300"/>
                <a:gd name="connsiteY31" fmla="*/ 291270 h 590550"/>
                <a:gd name="connsiteX32" fmla="*/ 21025 w 495300"/>
                <a:gd name="connsiteY32" fmla="*/ 293365 h 590550"/>
                <a:gd name="connsiteX33" fmla="*/ 70 w 495300"/>
                <a:gd name="connsiteY33" fmla="*/ 522156 h 590550"/>
                <a:gd name="connsiteX34" fmla="*/ 16167 w 495300"/>
                <a:gd name="connsiteY34" fmla="*/ 541492 h 590550"/>
                <a:gd name="connsiteX35" fmla="*/ 16167 w 495300"/>
                <a:gd name="connsiteY35" fmla="*/ 541492 h 590550"/>
                <a:gd name="connsiteX36" fmla="*/ 24835 w 495300"/>
                <a:gd name="connsiteY36" fmla="*/ 544635 h 590550"/>
                <a:gd name="connsiteX37" fmla="*/ 56648 w 495300"/>
                <a:gd name="connsiteY37" fmla="*/ 567114 h 590550"/>
                <a:gd name="connsiteX38" fmla="*/ 65316 w 495300"/>
                <a:gd name="connsiteY38" fmla="*/ 570448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95300" h="590550">
                  <a:moveTo>
                    <a:pt x="65316" y="570448"/>
                  </a:moveTo>
                  <a:lnTo>
                    <a:pt x="350304" y="596546"/>
                  </a:lnTo>
                  <a:cubicBezTo>
                    <a:pt x="352590" y="596737"/>
                    <a:pt x="354781" y="596546"/>
                    <a:pt x="356972" y="595879"/>
                  </a:cubicBezTo>
                  <a:cubicBezTo>
                    <a:pt x="367544" y="592641"/>
                    <a:pt x="390309" y="583973"/>
                    <a:pt x="400596" y="566447"/>
                  </a:cubicBezTo>
                  <a:cubicBezTo>
                    <a:pt x="406787" y="555970"/>
                    <a:pt x="407549" y="543587"/>
                    <a:pt x="402977" y="528728"/>
                  </a:cubicBezTo>
                  <a:lnTo>
                    <a:pt x="402977" y="528728"/>
                  </a:lnTo>
                  <a:cubicBezTo>
                    <a:pt x="400501" y="520727"/>
                    <a:pt x="404025" y="512059"/>
                    <a:pt x="411359" y="507964"/>
                  </a:cubicBezTo>
                  <a:lnTo>
                    <a:pt x="411359" y="507964"/>
                  </a:lnTo>
                  <a:cubicBezTo>
                    <a:pt x="415264" y="505678"/>
                    <a:pt x="450221" y="484532"/>
                    <a:pt x="435362" y="445194"/>
                  </a:cubicBezTo>
                  <a:lnTo>
                    <a:pt x="435362" y="445194"/>
                  </a:lnTo>
                  <a:cubicBezTo>
                    <a:pt x="432314" y="437098"/>
                    <a:pt x="435553" y="427954"/>
                    <a:pt x="442982" y="423572"/>
                  </a:cubicBezTo>
                  <a:lnTo>
                    <a:pt x="442982" y="423572"/>
                  </a:lnTo>
                  <a:cubicBezTo>
                    <a:pt x="446411" y="421477"/>
                    <a:pt x="476986" y="401665"/>
                    <a:pt x="462318" y="365374"/>
                  </a:cubicBezTo>
                  <a:lnTo>
                    <a:pt x="462318" y="365374"/>
                  </a:lnTo>
                  <a:cubicBezTo>
                    <a:pt x="458889" y="356897"/>
                    <a:pt x="462413" y="347277"/>
                    <a:pt x="470510" y="342991"/>
                  </a:cubicBezTo>
                  <a:lnTo>
                    <a:pt x="470510" y="342991"/>
                  </a:lnTo>
                  <a:cubicBezTo>
                    <a:pt x="470700" y="342895"/>
                    <a:pt x="499275" y="327084"/>
                    <a:pt x="497275" y="301843"/>
                  </a:cubicBezTo>
                  <a:cubicBezTo>
                    <a:pt x="495751" y="282983"/>
                    <a:pt x="458984" y="275839"/>
                    <a:pt x="449173" y="274887"/>
                  </a:cubicBezTo>
                  <a:lnTo>
                    <a:pt x="259435" y="255837"/>
                  </a:lnTo>
                  <a:cubicBezTo>
                    <a:pt x="247339" y="254599"/>
                    <a:pt x="240004" y="241835"/>
                    <a:pt x="245053" y="230786"/>
                  </a:cubicBezTo>
                  <a:lnTo>
                    <a:pt x="245053" y="230786"/>
                  </a:lnTo>
                  <a:cubicBezTo>
                    <a:pt x="255149" y="208688"/>
                    <a:pt x="280010" y="142966"/>
                    <a:pt x="274009" y="104199"/>
                  </a:cubicBezTo>
                  <a:cubicBezTo>
                    <a:pt x="268008" y="65432"/>
                    <a:pt x="255149" y="29332"/>
                    <a:pt x="249625" y="15045"/>
                  </a:cubicBezTo>
                  <a:cubicBezTo>
                    <a:pt x="248482" y="11997"/>
                    <a:pt x="246481" y="9425"/>
                    <a:pt x="243910" y="7425"/>
                  </a:cubicBezTo>
                  <a:cubicBezTo>
                    <a:pt x="241338" y="5425"/>
                    <a:pt x="237814" y="3234"/>
                    <a:pt x="233623" y="1710"/>
                  </a:cubicBezTo>
                  <a:cubicBezTo>
                    <a:pt x="225526" y="-1052"/>
                    <a:pt x="216668" y="-481"/>
                    <a:pt x="207334" y="3520"/>
                  </a:cubicBezTo>
                  <a:cubicBezTo>
                    <a:pt x="201523" y="5996"/>
                    <a:pt x="197618" y="11806"/>
                    <a:pt x="197047" y="18093"/>
                  </a:cubicBezTo>
                  <a:lnTo>
                    <a:pt x="189427" y="101722"/>
                  </a:lnTo>
                  <a:lnTo>
                    <a:pt x="188093" y="104580"/>
                  </a:lnTo>
                  <a:cubicBezTo>
                    <a:pt x="186569" y="107818"/>
                    <a:pt x="149803" y="184304"/>
                    <a:pt x="67983" y="270315"/>
                  </a:cubicBezTo>
                  <a:lnTo>
                    <a:pt x="65887" y="272506"/>
                  </a:lnTo>
                  <a:lnTo>
                    <a:pt x="29121" y="291270"/>
                  </a:lnTo>
                  <a:lnTo>
                    <a:pt x="21025" y="293365"/>
                  </a:lnTo>
                  <a:lnTo>
                    <a:pt x="70" y="522156"/>
                  </a:lnTo>
                  <a:cubicBezTo>
                    <a:pt x="-788" y="531967"/>
                    <a:pt x="6356" y="540539"/>
                    <a:pt x="16167" y="541492"/>
                  </a:cubicBezTo>
                  <a:lnTo>
                    <a:pt x="16167" y="541492"/>
                  </a:lnTo>
                  <a:cubicBezTo>
                    <a:pt x="19310" y="541777"/>
                    <a:pt x="22263" y="542825"/>
                    <a:pt x="24835" y="544635"/>
                  </a:cubicBezTo>
                  <a:lnTo>
                    <a:pt x="56648" y="567114"/>
                  </a:lnTo>
                  <a:cubicBezTo>
                    <a:pt x="59315" y="569019"/>
                    <a:pt x="62268" y="570162"/>
                    <a:pt x="65316" y="570448"/>
                  </a:cubicBezTo>
                  <a:close/>
                </a:path>
              </a:pathLst>
            </a:custGeom>
            <a:solidFill>
              <a:srgbClr val="EDF4F6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C8EF0A1-DE42-40E8-A1A1-B83680C36382}"/>
                </a:ext>
              </a:extLst>
            </p:cNvPr>
            <p:cNvSpPr/>
            <p:nvPr/>
          </p:nvSpPr>
          <p:spPr>
            <a:xfrm>
              <a:off x="642458" y="4346659"/>
              <a:ext cx="200025" cy="323850"/>
            </a:xfrm>
            <a:custGeom>
              <a:avLst/>
              <a:gdLst>
                <a:gd name="connsiteX0" fmla="*/ 0 w 200025"/>
                <a:gd name="connsiteY0" fmla="*/ 308801 h 323850"/>
                <a:gd name="connsiteX1" fmla="*/ 180118 w 200025"/>
                <a:gd name="connsiteY1" fmla="*/ 325279 h 323850"/>
                <a:gd name="connsiteX2" fmla="*/ 192976 w 200025"/>
                <a:gd name="connsiteY2" fmla="*/ 184690 h 323850"/>
                <a:gd name="connsiteX3" fmla="*/ 208407 w 200025"/>
                <a:gd name="connsiteY3" fmla="*/ 16478 h 323850"/>
                <a:gd name="connsiteX4" fmla="*/ 28289 w 200025"/>
                <a:gd name="connsiteY4" fmla="*/ 0 h 323850"/>
                <a:gd name="connsiteX5" fmla="*/ 0 w 200025"/>
                <a:gd name="connsiteY5" fmla="*/ 30880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025" h="323850">
                  <a:moveTo>
                    <a:pt x="0" y="308801"/>
                  </a:moveTo>
                  <a:lnTo>
                    <a:pt x="180118" y="325279"/>
                  </a:lnTo>
                  <a:lnTo>
                    <a:pt x="192976" y="184690"/>
                  </a:lnTo>
                  <a:lnTo>
                    <a:pt x="208407" y="16478"/>
                  </a:lnTo>
                  <a:lnTo>
                    <a:pt x="28289" y="0"/>
                  </a:lnTo>
                  <a:lnTo>
                    <a:pt x="0" y="308801"/>
                  </a:lnTo>
                  <a:close/>
                </a:path>
              </a:pathLst>
            </a:custGeom>
            <a:solidFill>
              <a:srgbClr val="EDF4F6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F013860-7EEE-4E13-8709-CB3A84DBEE71}"/>
              </a:ext>
            </a:extLst>
          </p:cNvPr>
          <p:cNvSpPr/>
          <p:nvPr/>
        </p:nvSpPr>
        <p:spPr>
          <a:xfrm>
            <a:off x="4301366" y="347617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ED345FC-28B5-40DD-83E6-12D1C049D463}"/>
              </a:ext>
            </a:extLst>
          </p:cNvPr>
          <p:cNvSpPr/>
          <p:nvPr/>
        </p:nvSpPr>
        <p:spPr>
          <a:xfrm>
            <a:off x="4301366" y="1449459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AF20AAF-F8B5-4C59-9A71-18C6B30FEC0E}"/>
              </a:ext>
            </a:extLst>
          </p:cNvPr>
          <p:cNvSpPr/>
          <p:nvPr/>
        </p:nvSpPr>
        <p:spPr>
          <a:xfrm>
            <a:off x="4301366" y="2551302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6319277-F970-44A6-96A5-8EE1BA9AEBF2}"/>
              </a:ext>
            </a:extLst>
          </p:cNvPr>
          <p:cNvSpPr/>
          <p:nvPr/>
        </p:nvSpPr>
        <p:spPr>
          <a:xfrm>
            <a:off x="4301366" y="3653144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EE53B54-DAC5-4221-AE62-FDC577B1151A}"/>
              </a:ext>
            </a:extLst>
          </p:cNvPr>
          <p:cNvSpPr/>
          <p:nvPr/>
        </p:nvSpPr>
        <p:spPr>
          <a:xfrm>
            <a:off x="4428438" y="465337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87625EB-742E-47F7-BB87-75EC1A279AE0}"/>
              </a:ext>
            </a:extLst>
          </p:cNvPr>
          <p:cNvSpPr/>
          <p:nvPr/>
        </p:nvSpPr>
        <p:spPr>
          <a:xfrm>
            <a:off x="4428438" y="1567178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DE09517-3ABE-4E7B-84D4-2172C044FB16}"/>
              </a:ext>
            </a:extLst>
          </p:cNvPr>
          <p:cNvSpPr/>
          <p:nvPr/>
        </p:nvSpPr>
        <p:spPr>
          <a:xfrm>
            <a:off x="4428438" y="2669021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710F99D-5217-431B-B42B-F6686867D9DA}"/>
              </a:ext>
            </a:extLst>
          </p:cNvPr>
          <p:cNvSpPr/>
          <p:nvPr/>
        </p:nvSpPr>
        <p:spPr>
          <a:xfrm>
            <a:off x="4428438" y="3770863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FFC000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-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3A3055C-9921-4FC6-B563-D2BE977AD415}"/>
              </a:ext>
            </a:extLst>
          </p:cNvPr>
          <p:cNvSpPr txBox="1"/>
          <p:nvPr/>
        </p:nvSpPr>
        <p:spPr>
          <a:xfrm>
            <a:off x="5673420" y="525749"/>
            <a:ext cx="608276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Задания проверяются и оценки выставляются автоматически.</a:t>
            </a:r>
            <a:b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итель сам определяет </a:t>
            </a:r>
            <a:r>
              <a:rPr lang="ru-RU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критериальную</a:t>
            </a: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 базу баллов за задания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4E613C-0D13-46A1-8BAC-4DCEDDE3B5A9}"/>
              </a:ext>
            </a:extLst>
          </p:cNvPr>
          <p:cNvSpPr txBox="1"/>
          <p:nvPr/>
        </p:nvSpPr>
        <p:spPr>
          <a:xfrm>
            <a:off x="5621332" y="1513432"/>
            <a:ext cx="6082765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итель на своей странице может просмотреть не только статистику по классу (баллы, оценки учеников, средний балл выполнения заданий), но и ознакомиться с работой каждого ученика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8B6E60-0814-4D25-9D89-6A78FD2113DA}"/>
              </a:ext>
            </a:extLst>
          </p:cNvPr>
          <p:cNvSpPr txBox="1"/>
          <p:nvPr/>
        </p:nvSpPr>
        <p:spPr>
          <a:xfrm>
            <a:off x="5673420" y="2836465"/>
            <a:ext cx="6082765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еник, сразу видит общий результат в баллах и оценку за работу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3728C8-99CE-4633-ACB3-AC37ED396C84}"/>
              </a:ext>
            </a:extLst>
          </p:cNvPr>
          <p:cNvSpPr txBox="1"/>
          <p:nvPr/>
        </p:nvSpPr>
        <p:spPr>
          <a:xfrm>
            <a:off x="5631250" y="3792584"/>
            <a:ext cx="6082765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Нет выбора учебников. Содержание интерактивных рабочих тетрадей максимально приближено к учебникам и рабочим программам только издательства «Просвещение».</a:t>
            </a:r>
          </a:p>
        </p:txBody>
      </p:sp>
      <p:sp>
        <p:nvSpPr>
          <p:cNvPr id="14" name="Rectangle: Rounded Corners 6">
            <a:extLst>
              <a:ext uri="{FF2B5EF4-FFF2-40B4-BE49-F238E27FC236}">
                <a16:creationId xmlns:a16="http://schemas.microsoft.com/office/drawing/2014/main" id="{1385E563-8D44-4230-869B-2ED424C9701F}"/>
              </a:ext>
            </a:extLst>
          </p:cNvPr>
          <p:cNvSpPr/>
          <p:nvPr/>
        </p:nvSpPr>
        <p:spPr>
          <a:xfrm>
            <a:off x="4301366" y="5724127"/>
            <a:ext cx="7644735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: Rounded Corners 16">
            <a:extLst>
              <a:ext uri="{FF2B5EF4-FFF2-40B4-BE49-F238E27FC236}">
                <a16:creationId xmlns:a16="http://schemas.microsoft.com/office/drawing/2014/main" id="{825CFCE6-5387-46BC-865A-FB9431247069}"/>
              </a:ext>
            </a:extLst>
          </p:cNvPr>
          <p:cNvSpPr/>
          <p:nvPr/>
        </p:nvSpPr>
        <p:spPr>
          <a:xfrm>
            <a:off x="4428438" y="5841846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FFC000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-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7C81E1C-95F4-420E-9B60-3EB7AC4AE534}"/>
              </a:ext>
            </a:extLst>
          </p:cNvPr>
          <p:cNvSpPr txBox="1"/>
          <p:nvPr/>
        </p:nvSpPr>
        <p:spPr>
          <a:xfrm>
            <a:off x="5593601" y="5715778"/>
            <a:ext cx="6545298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еник может зарегистрироваться только один раз.</a:t>
            </a:r>
            <a:b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Если ребенок забыл или потерял свой электронный адрес или пароль,</a:t>
            </a:r>
            <a:b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то повторно зайти он уже не сможет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Много ошибок при оценивании (по отзывам о работе сервиса).</a:t>
            </a:r>
          </a:p>
        </p:txBody>
      </p:sp>
      <p:sp>
        <p:nvSpPr>
          <p:cNvPr id="71" name="Rectangle: Rounded Corners 6">
            <a:extLst>
              <a:ext uri="{FF2B5EF4-FFF2-40B4-BE49-F238E27FC236}">
                <a16:creationId xmlns:a16="http://schemas.microsoft.com/office/drawing/2014/main" id="{15766686-1BFC-47BE-BA4F-63DE913D5877}"/>
              </a:ext>
            </a:extLst>
          </p:cNvPr>
          <p:cNvSpPr/>
          <p:nvPr/>
        </p:nvSpPr>
        <p:spPr>
          <a:xfrm>
            <a:off x="4301366" y="4676499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: Rounded Corners 16">
            <a:extLst>
              <a:ext uri="{FF2B5EF4-FFF2-40B4-BE49-F238E27FC236}">
                <a16:creationId xmlns:a16="http://schemas.microsoft.com/office/drawing/2014/main" id="{33E78FBC-59CA-4384-9B45-41BC6A8240A0}"/>
              </a:ext>
            </a:extLst>
          </p:cNvPr>
          <p:cNvSpPr/>
          <p:nvPr/>
        </p:nvSpPr>
        <p:spPr>
          <a:xfrm>
            <a:off x="4428438" y="4794218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FFC000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-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7949EFA-3E28-481F-A7FB-0B22D9082A2F}"/>
              </a:ext>
            </a:extLst>
          </p:cNvPr>
          <p:cNvSpPr txBox="1"/>
          <p:nvPr/>
        </p:nvSpPr>
        <p:spPr>
          <a:xfrm>
            <a:off x="5631250" y="4837674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Были представлены задания только по темам 4 четверти. Нет возможно повторить пройденный материал 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BF541303-1848-401B-B729-8E558AB61C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1548" y="4986824"/>
            <a:ext cx="2299340" cy="47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807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56">
            <a:extLst>
              <a:ext uri="{FF2B5EF4-FFF2-40B4-BE49-F238E27FC236}">
                <a16:creationId xmlns:a16="http://schemas.microsoft.com/office/drawing/2014/main" id="{34E8DB45-15BF-42B1-A5AB-0A441B49CD7E}"/>
              </a:ext>
            </a:extLst>
          </p:cNvPr>
          <p:cNvGrpSpPr/>
          <p:nvPr/>
        </p:nvGrpSpPr>
        <p:grpSpPr>
          <a:xfrm flipH="1">
            <a:off x="2532769" y="2590864"/>
            <a:ext cx="4356531" cy="1212983"/>
            <a:chOff x="1209676" y="-11126947"/>
            <a:chExt cx="10492578" cy="2921436"/>
          </a:xfrm>
        </p:grpSpPr>
        <p:sp>
          <p:nvSpPr>
            <p:cNvPr id="58" name="Freeform 6">
              <a:extLst>
                <a:ext uri="{FF2B5EF4-FFF2-40B4-BE49-F238E27FC236}">
                  <a16:creationId xmlns:a16="http://schemas.microsoft.com/office/drawing/2014/main" id="{B944E552-E342-43AB-924E-0EA10FA7D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676" y="-11126947"/>
              <a:ext cx="10492578" cy="1659578"/>
            </a:xfrm>
            <a:custGeom>
              <a:avLst/>
              <a:gdLst>
                <a:gd name="T0" fmla="*/ 1542 w 1542"/>
                <a:gd name="T1" fmla="*/ 29 h 244"/>
                <a:gd name="T2" fmla="*/ 1542 w 1542"/>
                <a:gd name="T3" fmla="*/ 34 h 244"/>
                <a:gd name="T4" fmla="*/ 1512 w 1542"/>
                <a:gd name="T5" fmla="*/ 63 h 244"/>
                <a:gd name="T6" fmla="*/ 608 w 1542"/>
                <a:gd name="T7" fmla="*/ 63 h 244"/>
                <a:gd name="T8" fmla="*/ 582 w 1542"/>
                <a:gd name="T9" fmla="*/ 92 h 244"/>
                <a:gd name="T10" fmla="*/ 582 w 1542"/>
                <a:gd name="T11" fmla="*/ 94 h 244"/>
                <a:gd name="T12" fmla="*/ 611 w 1542"/>
                <a:gd name="T13" fmla="*/ 123 h 244"/>
                <a:gd name="T14" fmla="*/ 1045 w 1542"/>
                <a:gd name="T15" fmla="*/ 123 h 244"/>
                <a:gd name="T16" fmla="*/ 1074 w 1542"/>
                <a:gd name="T17" fmla="*/ 152 h 244"/>
                <a:gd name="T18" fmla="*/ 1074 w 1542"/>
                <a:gd name="T19" fmla="*/ 157 h 244"/>
                <a:gd name="T20" fmla="*/ 1047 w 1542"/>
                <a:gd name="T21" fmla="*/ 186 h 244"/>
                <a:gd name="T22" fmla="*/ 1045 w 1542"/>
                <a:gd name="T23" fmla="*/ 186 h 244"/>
                <a:gd name="T24" fmla="*/ 986 w 1542"/>
                <a:gd name="T25" fmla="*/ 186 h 244"/>
                <a:gd name="T26" fmla="*/ 961 w 1542"/>
                <a:gd name="T27" fmla="*/ 214 h 244"/>
                <a:gd name="T28" fmla="*/ 961 w 1542"/>
                <a:gd name="T29" fmla="*/ 216 h 244"/>
                <a:gd name="T30" fmla="*/ 989 w 1542"/>
                <a:gd name="T31" fmla="*/ 243 h 244"/>
                <a:gd name="T32" fmla="*/ 998 w 1542"/>
                <a:gd name="T33" fmla="*/ 243 h 244"/>
                <a:gd name="T34" fmla="*/ 998 w 1542"/>
                <a:gd name="T35" fmla="*/ 244 h 244"/>
                <a:gd name="T36" fmla="*/ 415 w 1542"/>
                <a:gd name="T37" fmla="*/ 244 h 244"/>
                <a:gd name="T38" fmla="*/ 442 w 1542"/>
                <a:gd name="T39" fmla="*/ 216 h 244"/>
                <a:gd name="T40" fmla="*/ 442 w 1542"/>
                <a:gd name="T41" fmla="*/ 214 h 244"/>
                <a:gd name="T42" fmla="*/ 417 w 1542"/>
                <a:gd name="T43" fmla="*/ 186 h 244"/>
                <a:gd name="T44" fmla="*/ 79 w 1542"/>
                <a:gd name="T45" fmla="*/ 186 h 244"/>
                <a:gd name="T46" fmla="*/ 50 w 1542"/>
                <a:gd name="T47" fmla="*/ 157 h 244"/>
                <a:gd name="T48" fmla="*/ 50 w 1542"/>
                <a:gd name="T49" fmla="*/ 152 h 244"/>
                <a:gd name="T50" fmla="*/ 79 w 1542"/>
                <a:gd name="T51" fmla="*/ 123 h 244"/>
                <a:gd name="T52" fmla="*/ 150 w 1542"/>
                <a:gd name="T53" fmla="*/ 123 h 244"/>
                <a:gd name="T54" fmla="*/ 179 w 1542"/>
                <a:gd name="T55" fmla="*/ 94 h 244"/>
                <a:gd name="T56" fmla="*/ 179 w 1542"/>
                <a:gd name="T57" fmla="*/ 92 h 244"/>
                <a:gd name="T58" fmla="*/ 153 w 1542"/>
                <a:gd name="T59" fmla="*/ 63 h 244"/>
                <a:gd name="T60" fmla="*/ 29 w 1542"/>
                <a:gd name="T61" fmla="*/ 63 h 244"/>
                <a:gd name="T62" fmla="*/ 26 w 1542"/>
                <a:gd name="T63" fmla="*/ 63 h 244"/>
                <a:gd name="T64" fmla="*/ 0 w 1542"/>
                <a:gd name="T65" fmla="*/ 34 h 244"/>
                <a:gd name="T66" fmla="*/ 0 w 1542"/>
                <a:gd name="T67" fmla="*/ 29 h 244"/>
                <a:gd name="T68" fmla="*/ 29 w 1542"/>
                <a:gd name="T69" fmla="*/ 0 h 244"/>
                <a:gd name="T70" fmla="*/ 1512 w 1542"/>
                <a:gd name="T71" fmla="*/ 0 h 244"/>
                <a:gd name="T72" fmla="*/ 1542 w 1542"/>
                <a:gd name="T73" fmla="*/ 2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42" h="244">
                  <a:moveTo>
                    <a:pt x="1542" y="29"/>
                  </a:moveTo>
                  <a:cubicBezTo>
                    <a:pt x="1542" y="34"/>
                    <a:pt x="1542" y="34"/>
                    <a:pt x="1542" y="34"/>
                  </a:cubicBezTo>
                  <a:cubicBezTo>
                    <a:pt x="1542" y="50"/>
                    <a:pt x="1528" y="63"/>
                    <a:pt x="1512" y="63"/>
                  </a:cubicBezTo>
                  <a:cubicBezTo>
                    <a:pt x="608" y="63"/>
                    <a:pt x="608" y="63"/>
                    <a:pt x="608" y="63"/>
                  </a:cubicBezTo>
                  <a:cubicBezTo>
                    <a:pt x="593" y="64"/>
                    <a:pt x="582" y="77"/>
                    <a:pt x="582" y="92"/>
                  </a:cubicBezTo>
                  <a:cubicBezTo>
                    <a:pt x="582" y="94"/>
                    <a:pt x="582" y="94"/>
                    <a:pt x="582" y="94"/>
                  </a:cubicBezTo>
                  <a:cubicBezTo>
                    <a:pt x="582" y="110"/>
                    <a:pt x="595" y="123"/>
                    <a:pt x="611" y="123"/>
                  </a:cubicBezTo>
                  <a:cubicBezTo>
                    <a:pt x="1045" y="123"/>
                    <a:pt x="1045" y="123"/>
                    <a:pt x="1045" y="123"/>
                  </a:cubicBezTo>
                  <a:cubicBezTo>
                    <a:pt x="1061" y="123"/>
                    <a:pt x="1074" y="136"/>
                    <a:pt x="1074" y="152"/>
                  </a:cubicBezTo>
                  <a:cubicBezTo>
                    <a:pt x="1074" y="157"/>
                    <a:pt x="1074" y="157"/>
                    <a:pt x="1074" y="157"/>
                  </a:cubicBezTo>
                  <a:cubicBezTo>
                    <a:pt x="1074" y="173"/>
                    <a:pt x="1062" y="185"/>
                    <a:pt x="1047" y="186"/>
                  </a:cubicBezTo>
                  <a:cubicBezTo>
                    <a:pt x="1046" y="186"/>
                    <a:pt x="1046" y="186"/>
                    <a:pt x="1045" y="186"/>
                  </a:cubicBezTo>
                  <a:cubicBezTo>
                    <a:pt x="986" y="186"/>
                    <a:pt x="986" y="186"/>
                    <a:pt x="986" y="186"/>
                  </a:cubicBezTo>
                  <a:cubicBezTo>
                    <a:pt x="972" y="188"/>
                    <a:pt x="961" y="199"/>
                    <a:pt x="961" y="214"/>
                  </a:cubicBezTo>
                  <a:cubicBezTo>
                    <a:pt x="961" y="216"/>
                    <a:pt x="961" y="216"/>
                    <a:pt x="961" y="216"/>
                  </a:cubicBezTo>
                  <a:cubicBezTo>
                    <a:pt x="961" y="231"/>
                    <a:pt x="973" y="243"/>
                    <a:pt x="989" y="243"/>
                  </a:cubicBezTo>
                  <a:cubicBezTo>
                    <a:pt x="998" y="243"/>
                    <a:pt x="998" y="243"/>
                    <a:pt x="998" y="243"/>
                  </a:cubicBezTo>
                  <a:cubicBezTo>
                    <a:pt x="998" y="244"/>
                    <a:pt x="998" y="244"/>
                    <a:pt x="998" y="244"/>
                  </a:cubicBezTo>
                  <a:cubicBezTo>
                    <a:pt x="415" y="244"/>
                    <a:pt x="415" y="244"/>
                    <a:pt x="415" y="244"/>
                  </a:cubicBezTo>
                  <a:cubicBezTo>
                    <a:pt x="430" y="244"/>
                    <a:pt x="442" y="231"/>
                    <a:pt x="442" y="216"/>
                  </a:cubicBezTo>
                  <a:cubicBezTo>
                    <a:pt x="442" y="214"/>
                    <a:pt x="442" y="214"/>
                    <a:pt x="442" y="214"/>
                  </a:cubicBezTo>
                  <a:cubicBezTo>
                    <a:pt x="442" y="199"/>
                    <a:pt x="431" y="188"/>
                    <a:pt x="417" y="186"/>
                  </a:cubicBezTo>
                  <a:cubicBezTo>
                    <a:pt x="79" y="186"/>
                    <a:pt x="79" y="186"/>
                    <a:pt x="79" y="186"/>
                  </a:cubicBezTo>
                  <a:cubicBezTo>
                    <a:pt x="63" y="186"/>
                    <a:pt x="50" y="173"/>
                    <a:pt x="50" y="157"/>
                  </a:cubicBezTo>
                  <a:cubicBezTo>
                    <a:pt x="50" y="152"/>
                    <a:pt x="50" y="152"/>
                    <a:pt x="50" y="152"/>
                  </a:cubicBezTo>
                  <a:cubicBezTo>
                    <a:pt x="50" y="136"/>
                    <a:pt x="63" y="123"/>
                    <a:pt x="79" y="123"/>
                  </a:cubicBezTo>
                  <a:cubicBezTo>
                    <a:pt x="150" y="123"/>
                    <a:pt x="150" y="123"/>
                    <a:pt x="150" y="123"/>
                  </a:cubicBezTo>
                  <a:cubicBezTo>
                    <a:pt x="166" y="123"/>
                    <a:pt x="179" y="110"/>
                    <a:pt x="179" y="94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77"/>
                    <a:pt x="168" y="64"/>
                    <a:pt x="153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8" y="63"/>
                    <a:pt x="27" y="63"/>
                    <a:pt x="26" y="63"/>
                  </a:cubicBezTo>
                  <a:cubicBezTo>
                    <a:pt x="11" y="61"/>
                    <a:pt x="0" y="49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512" y="0"/>
                    <a:pt x="1512" y="0"/>
                    <a:pt x="1512" y="0"/>
                  </a:cubicBezTo>
                  <a:cubicBezTo>
                    <a:pt x="1528" y="0"/>
                    <a:pt x="1542" y="13"/>
                    <a:pt x="1542" y="29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7">
              <a:extLst>
                <a:ext uri="{FF2B5EF4-FFF2-40B4-BE49-F238E27FC236}">
                  <a16:creationId xmlns:a16="http://schemas.microsoft.com/office/drawing/2014/main" id="{7CF02321-02EB-4952-A352-9D06FD93D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688" y="-9467369"/>
              <a:ext cx="8048408" cy="1261858"/>
            </a:xfrm>
            <a:custGeom>
              <a:avLst/>
              <a:gdLst>
                <a:gd name="T0" fmla="*/ 29 w 1183"/>
                <a:gd name="T1" fmla="*/ 0 h 186"/>
                <a:gd name="T2" fmla="*/ 1153 w 1183"/>
                <a:gd name="T3" fmla="*/ 0 h 186"/>
                <a:gd name="T4" fmla="*/ 1183 w 1183"/>
                <a:gd name="T5" fmla="*/ 29 h 186"/>
                <a:gd name="T6" fmla="*/ 1183 w 1183"/>
                <a:gd name="T7" fmla="*/ 34 h 186"/>
                <a:gd name="T8" fmla="*/ 1153 w 1183"/>
                <a:gd name="T9" fmla="*/ 63 h 186"/>
                <a:gd name="T10" fmla="*/ 710 w 1183"/>
                <a:gd name="T11" fmla="*/ 63 h 186"/>
                <a:gd name="T12" fmla="*/ 685 w 1183"/>
                <a:gd name="T13" fmla="*/ 90 h 186"/>
                <a:gd name="T14" fmla="*/ 685 w 1183"/>
                <a:gd name="T15" fmla="*/ 95 h 186"/>
                <a:gd name="T16" fmla="*/ 712 w 1183"/>
                <a:gd name="T17" fmla="*/ 123 h 186"/>
                <a:gd name="T18" fmla="*/ 716 w 1183"/>
                <a:gd name="T19" fmla="*/ 123 h 186"/>
                <a:gd name="T20" fmla="*/ 716 w 1183"/>
                <a:gd name="T21" fmla="*/ 123 h 186"/>
                <a:gd name="T22" fmla="*/ 818 w 1183"/>
                <a:gd name="T23" fmla="*/ 123 h 186"/>
                <a:gd name="T24" fmla="*/ 847 w 1183"/>
                <a:gd name="T25" fmla="*/ 152 h 186"/>
                <a:gd name="T26" fmla="*/ 847 w 1183"/>
                <a:gd name="T27" fmla="*/ 157 h 186"/>
                <a:gd name="T28" fmla="*/ 818 w 1183"/>
                <a:gd name="T29" fmla="*/ 186 h 186"/>
                <a:gd name="T30" fmla="*/ 222 w 1183"/>
                <a:gd name="T31" fmla="*/ 186 h 186"/>
                <a:gd name="T32" fmla="*/ 193 w 1183"/>
                <a:gd name="T33" fmla="*/ 157 h 186"/>
                <a:gd name="T34" fmla="*/ 193 w 1183"/>
                <a:gd name="T35" fmla="*/ 152 h 186"/>
                <a:gd name="T36" fmla="*/ 222 w 1183"/>
                <a:gd name="T37" fmla="*/ 123 h 186"/>
                <a:gd name="T38" fmla="*/ 279 w 1183"/>
                <a:gd name="T39" fmla="*/ 123 h 186"/>
                <a:gd name="T40" fmla="*/ 279 w 1183"/>
                <a:gd name="T41" fmla="*/ 123 h 186"/>
                <a:gd name="T42" fmla="*/ 293 w 1183"/>
                <a:gd name="T43" fmla="*/ 123 h 186"/>
                <a:gd name="T44" fmla="*/ 320 w 1183"/>
                <a:gd name="T45" fmla="*/ 95 h 186"/>
                <a:gd name="T46" fmla="*/ 320 w 1183"/>
                <a:gd name="T47" fmla="*/ 90 h 186"/>
                <a:gd name="T48" fmla="*/ 295 w 1183"/>
                <a:gd name="T49" fmla="*/ 63 h 186"/>
                <a:gd name="T50" fmla="*/ 29 w 1183"/>
                <a:gd name="T51" fmla="*/ 63 h 186"/>
                <a:gd name="T52" fmla="*/ 0 w 1183"/>
                <a:gd name="T53" fmla="*/ 34 h 186"/>
                <a:gd name="T54" fmla="*/ 0 w 1183"/>
                <a:gd name="T55" fmla="*/ 29 h 186"/>
                <a:gd name="T56" fmla="*/ 29 w 1183"/>
                <a:gd name="T5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3" h="186">
                  <a:moveTo>
                    <a:pt x="29" y="0"/>
                  </a:moveTo>
                  <a:cubicBezTo>
                    <a:pt x="1153" y="0"/>
                    <a:pt x="1153" y="0"/>
                    <a:pt x="1153" y="0"/>
                  </a:cubicBezTo>
                  <a:cubicBezTo>
                    <a:pt x="1169" y="0"/>
                    <a:pt x="1183" y="13"/>
                    <a:pt x="1183" y="29"/>
                  </a:cubicBezTo>
                  <a:cubicBezTo>
                    <a:pt x="1183" y="34"/>
                    <a:pt x="1183" y="34"/>
                    <a:pt x="1183" y="34"/>
                  </a:cubicBezTo>
                  <a:cubicBezTo>
                    <a:pt x="1183" y="50"/>
                    <a:pt x="1169" y="63"/>
                    <a:pt x="1153" y="63"/>
                  </a:cubicBezTo>
                  <a:cubicBezTo>
                    <a:pt x="710" y="63"/>
                    <a:pt x="710" y="63"/>
                    <a:pt x="710" y="63"/>
                  </a:cubicBezTo>
                  <a:cubicBezTo>
                    <a:pt x="696" y="64"/>
                    <a:pt x="685" y="76"/>
                    <a:pt x="685" y="90"/>
                  </a:cubicBezTo>
                  <a:cubicBezTo>
                    <a:pt x="685" y="95"/>
                    <a:pt x="685" y="95"/>
                    <a:pt x="685" y="95"/>
                  </a:cubicBezTo>
                  <a:cubicBezTo>
                    <a:pt x="685" y="110"/>
                    <a:pt x="697" y="123"/>
                    <a:pt x="712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818" y="123"/>
                    <a:pt x="818" y="123"/>
                    <a:pt x="818" y="123"/>
                  </a:cubicBezTo>
                  <a:cubicBezTo>
                    <a:pt x="834" y="123"/>
                    <a:pt x="847" y="136"/>
                    <a:pt x="847" y="152"/>
                  </a:cubicBezTo>
                  <a:cubicBezTo>
                    <a:pt x="847" y="157"/>
                    <a:pt x="847" y="157"/>
                    <a:pt x="847" y="157"/>
                  </a:cubicBezTo>
                  <a:cubicBezTo>
                    <a:pt x="847" y="173"/>
                    <a:pt x="834" y="186"/>
                    <a:pt x="818" y="186"/>
                  </a:cubicBezTo>
                  <a:cubicBezTo>
                    <a:pt x="222" y="186"/>
                    <a:pt x="222" y="186"/>
                    <a:pt x="222" y="186"/>
                  </a:cubicBezTo>
                  <a:cubicBezTo>
                    <a:pt x="206" y="186"/>
                    <a:pt x="193" y="173"/>
                    <a:pt x="193" y="157"/>
                  </a:cubicBezTo>
                  <a:cubicBezTo>
                    <a:pt x="193" y="152"/>
                    <a:pt x="193" y="152"/>
                    <a:pt x="193" y="152"/>
                  </a:cubicBezTo>
                  <a:cubicBezTo>
                    <a:pt x="193" y="136"/>
                    <a:pt x="206" y="123"/>
                    <a:pt x="222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93" y="123"/>
                    <a:pt x="293" y="123"/>
                    <a:pt x="293" y="123"/>
                  </a:cubicBezTo>
                  <a:cubicBezTo>
                    <a:pt x="308" y="123"/>
                    <a:pt x="320" y="110"/>
                    <a:pt x="320" y="95"/>
                  </a:cubicBezTo>
                  <a:cubicBezTo>
                    <a:pt x="320" y="90"/>
                    <a:pt x="320" y="90"/>
                    <a:pt x="320" y="90"/>
                  </a:cubicBezTo>
                  <a:cubicBezTo>
                    <a:pt x="320" y="76"/>
                    <a:pt x="309" y="64"/>
                    <a:pt x="295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8">
              <a:extLst>
                <a:ext uri="{FF2B5EF4-FFF2-40B4-BE49-F238E27FC236}">
                  <a16:creationId xmlns:a16="http://schemas.microsoft.com/office/drawing/2014/main" id="{A17FAD6E-9C69-4A05-ABD3-36A1BB53F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2969" y="-10291734"/>
              <a:ext cx="1446255" cy="430262"/>
            </a:xfrm>
            <a:custGeom>
              <a:avLst/>
              <a:gdLst>
                <a:gd name="T0" fmla="*/ 184 w 213"/>
                <a:gd name="T1" fmla="*/ 63 h 63"/>
                <a:gd name="T2" fmla="*/ 30 w 213"/>
                <a:gd name="T3" fmla="*/ 63 h 63"/>
                <a:gd name="T4" fmla="*/ 0 w 213"/>
                <a:gd name="T5" fmla="*/ 34 h 63"/>
                <a:gd name="T6" fmla="*/ 0 w 213"/>
                <a:gd name="T7" fmla="*/ 29 h 63"/>
                <a:gd name="T8" fmla="*/ 30 w 213"/>
                <a:gd name="T9" fmla="*/ 0 h 63"/>
                <a:gd name="T10" fmla="*/ 184 w 213"/>
                <a:gd name="T11" fmla="*/ 0 h 63"/>
                <a:gd name="T12" fmla="*/ 213 w 213"/>
                <a:gd name="T13" fmla="*/ 29 h 63"/>
                <a:gd name="T14" fmla="*/ 213 w 213"/>
                <a:gd name="T15" fmla="*/ 34 h 63"/>
                <a:gd name="T16" fmla="*/ 184 w 213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" h="63">
                  <a:moveTo>
                    <a:pt x="184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00" y="0"/>
                    <a:pt x="213" y="13"/>
                    <a:pt x="213" y="29"/>
                  </a:cubicBezTo>
                  <a:cubicBezTo>
                    <a:pt x="213" y="34"/>
                    <a:pt x="213" y="34"/>
                    <a:pt x="213" y="34"/>
                  </a:cubicBezTo>
                  <a:cubicBezTo>
                    <a:pt x="213" y="50"/>
                    <a:pt x="200" y="63"/>
                    <a:pt x="184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9">
              <a:extLst>
                <a:ext uri="{FF2B5EF4-FFF2-40B4-BE49-F238E27FC236}">
                  <a16:creationId xmlns:a16="http://schemas.microsoft.com/office/drawing/2014/main" id="{C08B6B22-336A-4BE6-90DC-840CD7A1C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657" y="-8632157"/>
              <a:ext cx="1442640" cy="426645"/>
            </a:xfrm>
            <a:custGeom>
              <a:avLst/>
              <a:gdLst>
                <a:gd name="T0" fmla="*/ 183 w 212"/>
                <a:gd name="T1" fmla="*/ 63 h 63"/>
                <a:gd name="T2" fmla="*/ 29 w 212"/>
                <a:gd name="T3" fmla="*/ 63 h 63"/>
                <a:gd name="T4" fmla="*/ 0 w 212"/>
                <a:gd name="T5" fmla="*/ 34 h 63"/>
                <a:gd name="T6" fmla="*/ 0 w 212"/>
                <a:gd name="T7" fmla="*/ 29 h 63"/>
                <a:gd name="T8" fmla="*/ 29 w 212"/>
                <a:gd name="T9" fmla="*/ 0 h 63"/>
                <a:gd name="T10" fmla="*/ 183 w 212"/>
                <a:gd name="T11" fmla="*/ 0 h 63"/>
                <a:gd name="T12" fmla="*/ 212 w 212"/>
                <a:gd name="T13" fmla="*/ 29 h 63"/>
                <a:gd name="T14" fmla="*/ 212 w 212"/>
                <a:gd name="T15" fmla="*/ 34 h 63"/>
                <a:gd name="T16" fmla="*/ 183 w 212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63">
                  <a:moveTo>
                    <a:pt x="183" y="63"/>
                  </a:move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99" y="0"/>
                    <a:pt x="212" y="13"/>
                    <a:pt x="212" y="29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50"/>
                    <a:pt x="199" y="63"/>
                    <a:pt x="183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24DA4C3-BB23-4CE0-8CBE-7C41D1A4FE48}"/>
              </a:ext>
            </a:extLst>
          </p:cNvPr>
          <p:cNvGrpSpPr/>
          <p:nvPr/>
        </p:nvGrpSpPr>
        <p:grpSpPr>
          <a:xfrm flipH="1">
            <a:off x="4856762" y="4513681"/>
            <a:ext cx="4356531" cy="1212983"/>
            <a:chOff x="1209676" y="-11126947"/>
            <a:chExt cx="10492578" cy="2921436"/>
          </a:xfrm>
        </p:grpSpPr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id="{61244E90-EAC6-40BD-9277-A1FB9BB8B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676" y="-11126947"/>
              <a:ext cx="10492578" cy="1659578"/>
            </a:xfrm>
            <a:custGeom>
              <a:avLst/>
              <a:gdLst>
                <a:gd name="T0" fmla="*/ 1542 w 1542"/>
                <a:gd name="T1" fmla="*/ 29 h 244"/>
                <a:gd name="T2" fmla="*/ 1542 w 1542"/>
                <a:gd name="T3" fmla="*/ 34 h 244"/>
                <a:gd name="T4" fmla="*/ 1512 w 1542"/>
                <a:gd name="T5" fmla="*/ 63 h 244"/>
                <a:gd name="T6" fmla="*/ 608 w 1542"/>
                <a:gd name="T7" fmla="*/ 63 h 244"/>
                <a:gd name="T8" fmla="*/ 582 w 1542"/>
                <a:gd name="T9" fmla="*/ 92 h 244"/>
                <a:gd name="T10" fmla="*/ 582 w 1542"/>
                <a:gd name="T11" fmla="*/ 94 h 244"/>
                <a:gd name="T12" fmla="*/ 611 w 1542"/>
                <a:gd name="T13" fmla="*/ 123 h 244"/>
                <a:gd name="T14" fmla="*/ 1045 w 1542"/>
                <a:gd name="T15" fmla="*/ 123 h 244"/>
                <a:gd name="T16" fmla="*/ 1074 w 1542"/>
                <a:gd name="T17" fmla="*/ 152 h 244"/>
                <a:gd name="T18" fmla="*/ 1074 w 1542"/>
                <a:gd name="T19" fmla="*/ 157 h 244"/>
                <a:gd name="T20" fmla="*/ 1047 w 1542"/>
                <a:gd name="T21" fmla="*/ 186 h 244"/>
                <a:gd name="T22" fmla="*/ 1045 w 1542"/>
                <a:gd name="T23" fmla="*/ 186 h 244"/>
                <a:gd name="T24" fmla="*/ 986 w 1542"/>
                <a:gd name="T25" fmla="*/ 186 h 244"/>
                <a:gd name="T26" fmla="*/ 961 w 1542"/>
                <a:gd name="T27" fmla="*/ 214 h 244"/>
                <a:gd name="T28" fmla="*/ 961 w 1542"/>
                <a:gd name="T29" fmla="*/ 216 h 244"/>
                <a:gd name="T30" fmla="*/ 989 w 1542"/>
                <a:gd name="T31" fmla="*/ 243 h 244"/>
                <a:gd name="T32" fmla="*/ 998 w 1542"/>
                <a:gd name="T33" fmla="*/ 243 h 244"/>
                <a:gd name="T34" fmla="*/ 998 w 1542"/>
                <a:gd name="T35" fmla="*/ 244 h 244"/>
                <a:gd name="T36" fmla="*/ 415 w 1542"/>
                <a:gd name="T37" fmla="*/ 244 h 244"/>
                <a:gd name="T38" fmla="*/ 442 w 1542"/>
                <a:gd name="T39" fmla="*/ 216 h 244"/>
                <a:gd name="T40" fmla="*/ 442 w 1542"/>
                <a:gd name="T41" fmla="*/ 214 h 244"/>
                <a:gd name="T42" fmla="*/ 417 w 1542"/>
                <a:gd name="T43" fmla="*/ 186 h 244"/>
                <a:gd name="T44" fmla="*/ 79 w 1542"/>
                <a:gd name="T45" fmla="*/ 186 h 244"/>
                <a:gd name="T46" fmla="*/ 50 w 1542"/>
                <a:gd name="T47" fmla="*/ 157 h 244"/>
                <a:gd name="T48" fmla="*/ 50 w 1542"/>
                <a:gd name="T49" fmla="*/ 152 h 244"/>
                <a:gd name="T50" fmla="*/ 79 w 1542"/>
                <a:gd name="T51" fmla="*/ 123 h 244"/>
                <a:gd name="T52" fmla="*/ 150 w 1542"/>
                <a:gd name="T53" fmla="*/ 123 h 244"/>
                <a:gd name="T54" fmla="*/ 179 w 1542"/>
                <a:gd name="T55" fmla="*/ 94 h 244"/>
                <a:gd name="T56" fmla="*/ 179 w 1542"/>
                <a:gd name="T57" fmla="*/ 92 h 244"/>
                <a:gd name="T58" fmla="*/ 153 w 1542"/>
                <a:gd name="T59" fmla="*/ 63 h 244"/>
                <a:gd name="T60" fmla="*/ 29 w 1542"/>
                <a:gd name="T61" fmla="*/ 63 h 244"/>
                <a:gd name="T62" fmla="*/ 26 w 1542"/>
                <a:gd name="T63" fmla="*/ 63 h 244"/>
                <a:gd name="T64" fmla="*/ 0 w 1542"/>
                <a:gd name="T65" fmla="*/ 34 h 244"/>
                <a:gd name="T66" fmla="*/ 0 w 1542"/>
                <a:gd name="T67" fmla="*/ 29 h 244"/>
                <a:gd name="T68" fmla="*/ 29 w 1542"/>
                <a:gd name="T69" fmla="*/ 0 h 244"/>
                <a:gd name="T70" fmla="*/ 1512 w 1542"/>
                <a:gd name="T71" fmla="*/ 0 h 244"/>
                <a:gd name="T72" fmla="*/ 1542 w 1542"/>
                <a:gd name="T73" fmla="*/ 2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42" h="244">
                  <a:moveTo>
                    <a:pt x="1542" y="29"/>
                  </a:moveTo>
                  <a:cubicBezTo>
                    <a:pt x="1542" y="34"/>
                    <a:pt x="1542" y="34"/>
                    <a:pt x="1542" y="34"/>
                  </a:cubicBezTo>
                  <a:cubicBezTo>
                    <a:pt x="1542" y="50"/>
                    <a:pt x="1528" y="63"/>
                    <a:pt x="1512" y="63"/>
                  </a:cubicBezTo>
                  <a:cubicBezTo>
                    <a:pt x="608" y="63"/>
                    <a:pt x="608" y="63"/>
                    <a:pt x="608" y="63"/>
                  </a:cubicBezTo>
                  <a:cubicBezTo>
                    <a:pt x="593" y="64"/>
                    <a:pt x="582" y="77"/>
                    <a:pt x="582" y="92"/>
                  </a:cubicBezTo>
                  <a:cubicBezTo>
                    <a:pt x="582" y="94"/>
                    <a:pt x="582" y="94"/>
                    <a:pt x="582" y="94"/>
                  </a:cubicBezTo>
                  <a:cubicBezTo>
                    <a:pt x="582" y="110"/>
                    <a:pt x="595" y="123"/>
                    <a:pt x="611" y="123"/>
                  </a:cubicBezTo>
                  <a:cubicBezTo>
                    <a:pt x="1045" y="123"/>
                    <a:pt x="1045" y="123"/>
                    <a:pt x="1045" y="123"/>
                  </a:cubicBezTo>
                  <a:cubicBezTo>
                    <a:pt x="1061" y="123"/>
                    <a:pt x="1074" y="136"/>
                    <a:pt x="1074" y="152"/>
                  </a:cubicBezTo>
                  <a:cubicBezTo>
                    <a:pt x="1074" y="157"/>
                    <a:pt x="1074" y="157"/>
                    <a:pt x="1074" y="157"/>
                  </a:cubicBezTo>
                  <a:cubicBezTo>
                    <a:pt x="1074" y="173"/>
                    <a:pt x="1062" y="185"/>
                    <a:pt x="1047" y="186"/>
                  </a:cubicBezTo>
                  <a:cubicBezTo>
                    <a:pt x="1046" y="186"/>
                    <a:pt x="1046" y="186"/>
                    <a:pt x="1045" y="186"/>
                  </a:cubicBezTo>
                  <a:cubicBezTo>
                    <a:pt x="986" y="186"/>
                    <a:pt x="986" y="186"/>
                    <a:pt x="986" y="186"/>
                  </a:cubicBezTo>
                  <a:cubicBezTo>
                    <a:pt x="972" y="188"/>
                    <a:pt x="961" y="199"/>
                    <a:pt x="961" y="214"/>
                  </a:cubicBezTo>
                  <a:cubicBezTo>
                    <a:pt x="961" y="216"/>
                    <a:pt x="961" y="216"/>
                    <a:pt x="961" y="216"/>
                  </a:cubicBezTo>
                  <a:cubicBezTo>
                    <a:pt x="961" y="231"/>
                    <a:pt x="973" y="243"/>
                    <a:pt x="989" y="243"/>
                  </a:cubicBezTo>
                  <a:cubicBezTo>
                    <a:pt x="998" y="243"/>
                    <a:pt x="998" y="243"/>
                    <a:pt x="998" y="243"/>
                  </a:cubicBezTo>
                  <a:cubicBezTo>
                    <a:pt x="998" y="244"/>
                    <a:pt x="998" y="244"/>
                    <a:pt x="998" y="244"/>
                  </a:cubicBezTo>
                  <a:cubicBezTo>
                    <a:pt x="415" y="244"/>
                    <a:pt x="415" y="244"/>
                    <a:pt x="415" y="244"/>
                  </a:cubicBezTo>
                  <a:cubicBezTo>
                    <a:pt x="430" y="244"/>
                    <a:pt x="442" y="231"/>
                    <a:pt x="442" y="216"/>
                  </a:cubicBezTo>
                  <a:cubicBezTo>
                    <a:pt x="442" y="214"/>
                    <a:pt x="442" y="214"/>
                    <a:pt x="442" y="214"/>
                  </a:cubicBezTo>
                  <a:cubicBezTo>
                    <a:pt x="442" y="199"/>
                    <a:pt x="431" y="188"/>
                    <a:pt x="417" y="186"/>
                  </a:cubicBezTo>
                  <a:cubicBezTo>
                    <a:pt x="79" y="186"/>
                    <a:pt x="79" y="186"/>
                    <a:pt x="79" y="186"/>
                  </a:cubicBezTo>
                  <a:cubicBezTo>
                    <a:pt x="63" y="186"/>
                    <a:pt x="50" y="173"/>
                    <a:pt x="50" y="157"/>
                  </a:cubicBezTo>
                  <a:cubicBezTo>
                    <a:pt x="50" y="152"/>
                    <a:pt x="50" y="152"/>
                    <a:pt x="50" y="152"/>
                  </a:cubicBezTo>
                  <a:cubicBezTo>
                    <a:pt x="50" y="136"/>
                    <a:pt x="63" y="123"/>
                    <a:pt x="79" y="123"/>
                  </a:cubicBezTo>
                  <a:cubicBezTo>
                    <a:pt x="150" y="123"/>
                    <a:pt x="150" y="123"/>
                    <a:pt x="150" y="123"/>
                  </a:cubicBezTo>
                  <a:cubicBezTo>
                    <a:pt x="166" y="123"/>
                    <a:pt x="179" y="110"/>
                    <a:pt x="179" y="94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77"/>
                    <a:pt x="168" y="64"/>
                    <a:pt x="153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8" y="63"/>
                    <a:pt x="27" y="63"/>
                    <a:pt x="26" y="63"/>
                  </a:cubicBezTo>
                  <a:cubicBezTo>
                    <a:pt x="11" y="61"/>
                    <a:pt x="0" y="49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512" y="0"/>
                    <a:pt x="1512" y="0"/>
                    <a:pt x="1512" y="0"/>
                  </a:cubicBezTo>
                  <a:cubicBezTo>
                    <a:pt x="1528" y="0"/>
                    <a:pt x="1542" y="13"/>
                    <a:pt x="1542" y="29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7DC12752-E422-46F1-8E02-A75818B9A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688" y="-9467369"/>
              <a:ext cx="8048408" cy="1261858"/>
            </a:xfrm>
            <a:custGeom>
              <a:avLst/>
              <a:gdLst>
                <a:gd name="T0" fmla="*/ 29 w 1183"/>
                <a:gd name="T1" fmla="*/ 0 h 186"/>
                <a:gd name="T2" fmla="*/ 1153 w 1183"/>
                <a:gd name="T3" fmla="*/ 0 h 186"/>
                <a:gd name="T4" fmla="*/ 1183 w 1183"/>
                <a:gd name="T5" fmla="*/ 29 h 186"/>
                <a:gd name="T6" fmla="*/ 1183 w 1183"/>
                <a:gd name="T7" fmla="*/ 34 h 186"/>
                <a:gd name="T8" fmla="*/ 1153 w 1183"/>
                <a:gd name="T9" fmla="*/ 63 h 186"/>
                <a:gd name="T10" fmla="*/ 710 w 1183"/>
                <a:gd name="T11" fmla="*/ 63 h 186"/>
                <a:gd name="T12" fmla="*/ 685 w 1183"/>
                <a:gd name="T13" fmla="*/ 90 h 186"/>
                <a:gd name="T14" fmla="*/ 685 w 1183"/>
                <a:gd name="T15" fmla="*/ 95 h 186"/>
                <a:gd name="T16" fmla="*/ 712 w 1183"/>
                <a:gd name="T17" fmla="*/ 123 h 186"/>
                <a:gd name="T18" fmla="*/ 716 w 1183"/>
                <a:gd name="T19" fmla="*/ 123 h 186"/>
                <a:gd name="T20" fmla="*/ 716 w 1183"/>
                <a:gd name="T21" fmla="*/ 123 h 186"/>
                <a:gd name="T22" fmla="*/ 818 w 1183"/>
                <a:gd name="T23" fmla="*/ 123 h 186"/>
                <a:gd name="T24" fmla="*/ 847 w 1183"/>
                <a:gd name="T25" fmla="*/ 152 h 186"/>
                <a:gd name="T26" fmla="*/ 847 w 1183"/>
                <a:gd name="T27" fmla="*/ 157 h 186"/>
                <a:gd name="T28" fmla="*/ 818 w 1183"/>
                <a:gd name="T29" fmla="*/ 186 h 186"/>
                <a:gd name="T30" fmla="*/ 222 w 1183"/>
                <a:gd name="T31" fmla="*/ 186 h 186"/>
                <a:gd name="T32" fmla="*/ 193 w 1183"/>
                <a:gd name="T33" fmla="*/ 157 h 186"/>
                <a:gd name="T34" fmla="*/ 193 w 1183"/>
                <a:gd name="T35" fmla="*/ 152 h 186"/>
                <a:gd name="T36" fmla="*/ 222 w 1183"/>
                <a:gd name="T37" fmla="*/ 123 h 186"/>
                <a:gd name="T38" fmla="*/ 279 w 1183"/>
                <a:gd name="T39" fmla="*/ 123 h 186"/>
                <a:gd name="T40" fmla="*/ 279 w 1183"/>
                <a:gd name="T41" fmla="*/ 123 h 186"/>
                <a:gd name="T42" fmla="*/ 293 w 1183"/>
                <a:gd name="T43" fmla="*/ 123 h 186"/>
                <a:gd name="T44" fmla="*/ 320 w 1183"/>
                <a:gd name="T45" fmla="*/ 95 h 186"/>
                <a:gd name="T46" fmla="*/ 320 w 1183"/>
                <a:gd name="T47" fmla="*/ 90 h 186"/>
                <a:gd name="T48" fmla="*/ 295 w 1183"/>
                <a:gd name="T49" fmla="*/ 63 h 186"/>
                <a:gd name="T50" fmla="*/ 29 w 1183"/>
                <a:gd name="T51" fmla="*/ 63 h 186"/>
                <a:gd name="T52" fmla="*/ 0 w 1183"/>
                <a:gd name="T53" fmla="*/ 34 h 186"/>
                <a:gd name="T54" fmla="*/ 0 w 1183"/>
                <a:gd name="T55" fmla="*/ 29 h 186"/>
                <a:gd name="T56" fmla="*/ 29 w 1183"/>
                <a:gd name="T5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3" h="186">
                  <a:moveTo>
                    <a:pt x="29" y="0"/>
                  </a:moveTo>
                  <a:cubicBezTo>
                    <a:pt x="1153" y="0"/>
                    <a:pt x="1153" y="0"/>
                    <a:pt x="1153" y="0"/>
                  </a:cubicBezTo>
                  <a:cubicBezTo>
                    <a:pt x="1169" y="0"/>
                    <a:pt x="1183" y="13"/>
                    <a:pt x="1183" y="29"/>
                  </a:cubicBezTo>
                  <a:cubicBezTo>
                    <a:pt x="1183" y="34"/>
                    <a:pt x="1183" y="34"/>
                    <a:pt x="1183" y="34"/>
                  </a:cubicBezTo>
                  <a:cubicBezTo>
                    <a:pt x="1183" y="50"/>
                    <a:pt x="1169" y="63"/>
                    <a:pt x="1153" y="63"/>
                  </a:cubicBezTo>
                  <a:cubicBezTo>
                    <a:pt x="710" y="63"/>
                    <a:pt x="710" y="63"/>
                    <a:pt x="710" y="63"/>
                  </a:cubicBezTo>
                  <a:cubicBezTo>
                    <a:pt x="696" y="64"/>
                    <a:pt x="685" y="76"/>
                    <a:pt x="685" y="90"/>
                  </a:cubicBezTo>
                  <a:cubicBezTo>
                    <a:pt x="685" y="95"/>
                    <a:pt x="685" y="95"/>
                    <a:pt x="685" y="95"/>
                  </a:cubicBezTo>
                  <a:cubicBezTo>
                    <a:pt x="685" y="110"/>
                    <a:pt x="697" y="123"/>
                    <a:pt x="712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818" y="123"/>
                    <a:pt x="818" y="123"/>
                    <a:pt x="818" y="123"/>
                  </a:cubicBezTo>
                  <a:cubicBezTo>
                    <a:pt x="834" y="123"/>
                    <a:pt x="847" y="136"/>
                    <a:pt x="847" y="152"/>
                  </a:cubicBezTo>
                  <a:cubicBezTo>
                    <a:pt x="847" y="157"/>
                    <a:pt x="847" y="157"/>
                    <a:pt x="847" y="157"/>
                  </a:cubicBezTo>
                  <a:cubicBezTo>
                    <a:pt x="847" y="173"/>
                    <a:pt x="834" y="186"/>
                    <a:pt x="818" y="186"/>
                  </a:cubicBezTo>
                  <a:cubicBezTo>
                    <a:pt x="222" y="186"/>
                    <a:pt x="222" y="186"/>
                    <a:pt x="222" y="186"/>
                  </a:cubicBezTo>
                  <a:cubicBezTo>
                    <a:pt x="206" y="186"/>
                    <a:pt x="193" y="173"/>
                    <a:pt x="193" y="157"/>
                  </a:cubicBezTo>
                  <a:cubicBezTo>
                    <a:pt x="193" y="152"/>
                    <a:pt x="193" y="152"/>
                    <a:pt x="193" y="152"/>
                  </a:cubicBezTo>
                  <a:cubicBezTo>
                    <a:pt x="193" y="136"/>
                    <a:pt x="206" y="123"/>
                    <a:pt x="222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93" y="123"/>
                    <a:pt x="293" y="123"/>
                    <a:pt x="293" y="123"/>
                  </a:cubicBezTo>
                  <a:cubicBezTo>
                    <a:pt x="308" y="123"/>
                    <a:pt x="320" y="110"/>
                    <a:pt x="320" y="95"/>
                  </a:cubicBezTo>
                  <a:cubicBezTo>
                    <a:pt x="320" y="90"/>
                    <a:pt x="320" y="90"/>
                    <a:pt x="320" y="90"/>
                  </a:cubicBezTo>
                  <a:cubicBezTo>
                    <a:pt x="320" y="76"/>
                    <a:pt x="309" y="64"/>
                    <a:pt x="295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3CB4EC3E-533F-4676-8A58-B65F7ABBF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2969" y="-10291734"/>
              <a:ext cx="1446255" cy="430262"/>
            </a:xfrm>
            <a:custGeom>
              <a:avLst/>
              <a:gdLst>
                <a:gd name="T0" fmla="*/ 184 w 213"/>
                <a:gd name="T1" fmla="*/ 63 h 63"/>
                <a:gd name="T2" fmla="*/ 30 w 213"/>
                <a:gd name="T3" fmla="*/ 63 h 63"/>
                <a:gd name="T4" fmla="*/ 0 w 213"/>
                <a:gd name="T5" fmla="*/ 34 h 63"/>
                <a:gd name="T6" fmla="*/ 0 w 213"/>
                <a:gd name="T7" fmla="*/ 29 h 63"/>
                <a:gd name="T8" fmla="*/ 30 w 213"/>
                <a:gd name="T9" fmla="*/ 0 h 63"/>
                <a:gd name="T10" fmla="*/ 184 w 213"/>
                <a:gd name="T11" fmla="*/ 0 h 63"/>
                <a:gd name="T12" fmla="*/ 213 w 213"/>
                <a:gd name="T13" fmla="*/ 29 h 63"/>
                <a:gd name="T14" fmla="*/ 213 w 213"/>
                <a:gd name="T15" fmla="*/ 34 h 63"/>
                <a:gd name="T16" fmla="*/ 184 w 213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" h="63">
                  <a:moveTo>
                    <a:pt x="184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00" y="0"/>
                    <a:pt x="213" y="13"/>
                    <a:pt x="213" y="29"/>
                  </a:cubicBezTo>
                  <a:cubicBezTo>
                    <a:pt x="213" y="34"/>
                    <a:pt x="213" y="34"/>
                    <a:pt x="213" y="34"/>
                  </a:cubicBezTo>
                  <a:cubicBezTo>
                    <a:pt x="213" y="50"/>
                    <a:pt x="200" y="63"/>
                    <a:pt x="184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734C838C-F2F6-43B5-985F-5F07B0B80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657" y="-8632157"/>
              <a:ext cx="1442640" cy="426645"/>
            </a:xfrm>
            <a:custGeom>
              <a:avLst/>
              <a:gdLst>
                <a:gd name="T0" fmla="*/ 183 w 212"/>
                <a:gd name="T1" fmla="*/ 63 h 63"/>
                <a:gd name="T2" fmla="*/ 29 w 212"/>
                <a:gd name="T3" fmla="*/ 63 h 63"/>
                <a:gd name="T4" fmla="*/ 0 w 212"/>
                <a:gd name="T5" fmla="*/ 34 h 63"/>
                <a:gd name="T6" fmla="*/ 0 w 212"/>
                <a:gd name="T7" fmla="*/ 29 h 63"/>
                <a:gd name="T8" fmla="*/ 29 w 212"/>
                <a:gd name="T9" fmla="*/ 0 h 63"/>
                <a:gd name="T10" fmla="*/ 183 w 212"/>
                <a:gd name="T11" fmla="*/ 0 h 63"/>
                <a:gd name="T12" fmla="*/ 212 w 212"/>
                <a:gd name="T13" fmla="*/ 29 h 63"/>
                <a:gd name="T14" fmla="*/ 212 w 212"/>
                <a:gd name="T15" fmla="*/ 34 h 63"/>
                <a:gd name="T16" fmla="*/ 183 w 212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63">
                  <a:moveTo>
                    <a:pt x="183" y="63"/>
                  </a:move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99" y="0"/>
                    <a:pt x="212" y="13"/>
                    <a:pt x="212" y="29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50"/>
                    <a:pt x="199" y="63"/>
                    <a:pt x="183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15" name="Freeform: Shape 214">
            <a:extLst>
              <a:ext uri="{FF2B5EF4-FFF2-40B4-BE49-F238E27FC236}">
                <a16:creationId xmlns:a16="http://schemas.microsoft.com/office/drawing/2014/main" id="{C35E906F-45E1-45EA-93A8-CE89E7C15A4F}"/>
              </a:ext>
            </a:extLst>
          </p:cNvPr>
          <p:cNvSpPr>
            <a:spLocks/>
          </p:cNvSpPr>
          <p:nvPr/>
        </p:nvSpPr>
        <p:spPr bwMode="auto">
          <a:xfrm flipV="1">
            <a:off x="3650193" y="3195608"/>
            <a:ext cx="4887606" cy="2515355"/>
          </a:xfrm>
          <a:custGeom>
            <a:avLst/>
            <a:gdLst>
              <a:gd name="connsiteX0" fmla="*/ 101363 w 4887606"/>
              <a:gd name="connsiteY0" fmla="*/ 2515355 h 2515355"/>
              <a:gd name="connsiteX1" fmla="*/ 4786243 w 4887606"/>
              <a:gd name="connsiteY1" fmla="*/ 2515355 h 2515355"/>
              <a:gd name="connsiteX2" fmla="*/ 4887606 w 4887606"/>
              <a:gd name="connsiteY2" fmla="*/ 2414444 h 2515355"/>
              <a:gd name="connsiteX3" fmla="*/ 4786243 w 4887606"/>
              <a:gd name="connsiteY3" fmla="*/ 2316686 h 2515355"/>
              <a:gd name="connsiteX4" fmla="*/ 4777093 w 4887606"/>
              <a:gd name="connsiteY4" fmla="*/ 2316686 h 2515355"/>
              <a:gd name="connsiteX5" fmla="*/ 4764700 w 4887606"/>
              <a:gd name="connsiteY5" fmla="*/ 2316686 h 2515355"/>
              <a:gd name="connsiteX6" fmla="*/ 4764700 w 4887606"/>
              <a:gd name="connsiteY6" fmla="*/ 2304009 h 2515355"/>
              <a:gd name="connsiteX7" fmla="*/ 2442119 w 4887606"/>
              <a:gd name="connsiteY7" fmla="*/ 0 h 2515355"/>
              <a:gd name="connsiteX8" fmla="*/ 119538 w 4887606"/>
              <a:gd name="connsiteY8" fmla="*/ 2304009 h 2515355"/>
              <a:gd name="connsiteX9" fmla="*/ 119538 w 4887606"/>
              <a:gd name="connsiteY9" fmla="*/ 2316686 h 2515355"/>
              <a:gd name="connsiteX10" fmla="*/ 101363 w 4887606"/>
              <a:gd name="connsiteY10" fmla="*/ 2316686 h 2515355"/>
              <a:gd name="connsiteX11" fmla="*/ 0 w 4887606"/>
              <a:gd name="connsiteY11" fmla="*/ 2414444 h 2515355"/>
              <a:gd name="connsiteX12" fmla="*/ 101363 w 4887606"/>
              <a:gd name="connsiteY12" fmla="*/ 2515355 h 251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87606" h="2515355">
                <a:moveTo>
                  <a:pt x="101363" y="2515355"/>
                </a:moveTo>
                <a:cubicBezTo>
                  <a:pt x="101363" y="2515355"/>
                  <a:pt x="101363" y="2515355"/>
                  <a:pt x="4786243" y="2515355"/>
                </a:cubicBezTo>
                <a:cubicBezTo>
                  <a:pt x="4840092" y="2515355"/>
                  <a:pt x="4887606" y="2471206"/>
                  <a:pt x="4887606" y="2414444"/>
                </a:cubicBezTo>
                <a:cubicBezTo>
                  <a:pt x="4887606" y="2360835"/>
                  <a:pt x="4840092" y="2316686"/>
                  <a:pt x="4786243" y="2316686"/>
                </a:cubicBezTo>
                <a:cubicBezTo>
                  <a:pt x="4786243" y="2316686"/>
                  <a:pt x="4786243" y="2316686"/>
                  <a:pt x="4777093" y="2316686"/>
                </a:cubicBezTo>
                <a:lnTo>
                  <a:pt x="4764700" y="2316686"/>
                </a:lnTo>
                <a:cubicBezTo>
                  <a:pt x="4764700" y="2316686"/>
                  <a:pt x="4764700" y="2316686"/>
                  <a:pt x="4764700" y="2304009"/>
                </a:cubicBezTo>
                <a:cubicBezTo>
                  <a:pt x="4764700" y="1033160"/>
                  <a:pt x="3725401" y="0"/>
                  <a:pt x="2442119" y="0"/>
                </a:cubicBezTo>
                <a:cubicBezTo>
                  <a:pt x="1158838" y="0"/>
                  <a:pt x="119538" y="1033160"/>
                  <a:pt x="119538" y="2304009"/>
                </a:cubicBezTo>
                <a:cubicBezTo>
                  <a:pt x="119538" y="2304009"/>
                  <a:pt x="119538" y="2304009"/>
                  <a:pt x="119538" y="2316686"/>
                </a:cubicBezTo>
                <a:lnTo>
                  <a:pt x="101363" y="2316686"/>
                </a:lnTo>
                <a:cubicBezTo>
                  <a:pt x="44346" y="2316686"/>
                  <a:pt x="0" y="2360835"/>
                  <a:pt x="0" y="2414444"/>
                </a:cubicBezTo>
                <a:cubicBezTo>
                  <a:pt x="0" y="2471206"/>
                  <a:pt x="44346" y="2515355"/>
                  <a:pt x="101363" y="2515355"/>
                </a:cubicBezTo>
                <a:close/>
              </a:path>
            </a:pathLst>
          </a:custGeom>
          <a:gradFill>
            <a:gsLst>
              <a:gs pos="50000">
                <a:schemeClr val="accent2"/>
              </a:gs>
              <a:gs pos="0">
                <a:srgbClr val="3B40A3"/>
              </a:gs>
              <a:gs pos="100000">
                <a:srgbClr val="6F35A1"/>
              </a:gs>
            </a:gsLst>
            <a:lin ang="2700000" scaled="0"/>
          </a:gra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18" name="Freeform: Shape 617">
            <a:extLst>
              <a:ext uri="{FF2B5EF4-FFF2-40B4-BE49-F238E27FC236}">
                <a16:creationId xmlns:a16="http://schemas.microsoft.com/office/drawing/2014/main" id="{7C42A87E-90A7-492A-BB27-68AD9C613E57}"/>
              </a:ext>
            </a:extLst>
          </p:cNvPr>
          <p:cNvSpPr>
            <a:spLocks/>
          </p:cNvSpPr>
          <p:nvPr/>
        </p:nvSpPr>
        <p:spPr bwMode="auto">
          <a:xfrm flipV="1">
            <a:off x="3650193" y="3195608"/>
            <a:ext cx="4490166" cy="2081738"/>
          </a:xfrm>
          <a:custGeom>
            <a:avLst/>
            <a:gdLst>
              <a:gd name="connsiteX0" fmla="*/ 108446 w 4803915"/>
              <a:gd name="connsiteY0" fmla="*/ 2227201 h 2227201"/>
              <a:gd name="connsiteX1" fmla="*/ 4665315 w 4803915"/>
              <a:gd name="connsiteY1" fmla="*/ 2227201 h 2227201"/>
              <a:gd name="connsiteX2" fmla="*/ 4803915 w 4803915"/>
              <a:gd name="connsiteY2" fmla="*/ 2227201 h 2227201"/>
              <a:gd name="connsiteX3" fmla="*/ 4803205 w 4803915"/>
              <a:gd name="connsiteY3" fmla="*/ 2213258 h 2227201"/>
              <a:gd name="connsiteX4" fmla="*/ 2331157 w 4803915"/>
              <a:gd name="connsiteY4" fmla="*/ 0 h 2227201"/>
              <a:gd name="connsiteX5" fmla="*/ 413518 w 4803915"/>
              <a:gd name="connsiteY5" fmla="*/ 897752 h 2227201"/>
              <a:gd name="connsiteX6" fmla="*/ 356596 w 4803915"/>
              <a:gd name="connsiteY6" fmla="*/ 973300 h 2227201"/>
              <a:gd name="connsiteX7" fmla="*/ 323081 w 4803915"/>
              <a:gd name="connsiteY7" fmla="*/ 1042328 h 2227201"/>
              <a:gd name="connsiteX8" fmla="*/ 127891 w 4803915"/>
              <a:gd name="connsiteY8" fmla="*/ 2001088 h 2227201"/>
              <a:gd name="connsiteX9" fmla="*/ 127891 w 4803915"/>
              <a:gd name="connsiteY9" fmla="*/ 2014650 h 2227201"/>
              <a:gd name="connsiteX10" fmla="*/ 108446 w 4803915"/>
              <a:gd name="connsiteY10" fmla="*/ 2014650 h 2227201"/>
              <a:gd name="connsiteX11" fmla="*/ 0 w 4803915"/>
              <a:gd name="connsiteY11" fmla="*/ 2119239 h 2227201"/>
              <a:gd name="connsiteX12" fmla="*/ 108446 w 4803915"/>
              <a:gd name="connsiteY12" fmla="*/ 2227201 h 2227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3915" h="2227201">
                <a:moveTo>
                  <a:pt x="108446" y="2227201"/>
                </a:moveTo>
                <a:cubicBezTo>
                  <a:pt x="108446" y="2227201"/>
                  <a:pt x="108446" y="2227201"/>
                  <a:pt x="4665315" y="2227201"/>
                </a:cubicBezTo>
                <a:lnTo>
                  <a:pt x="4803915" y="2227201"/>
                </a:lnTo>
                <a:lnTo>
                  <a:pt x="4803205" y="2213258"/>
                </a:lnTo>
                <a:cubicBezTo>
                  <a:pt x="4676018" y="971502"/>
                  <a:pt x="3618298" y="0"/>
                  <a:pt x="2331157" y="0"/>
                </a:cubicBezTo>
                <a:cubicBezTo>
                  <a:pt x="1558872" y="0"/>
                  <a:pt x="869179" y="349741"/>
                  <a:pt x="413518" y="897752"/>
                </a:cubicBezTo>
                <a:lnTo>
                  <a:pt x="356596" y="973300"/>
                </a:lnTo>
                <a:lnTo>
                  <a:pt x="323081" y="1042328"/>
                </a:lnTo>
                <a:cubicBezTo>
                  <a:pt x="197386" y="1337156"/>
                  <a:pt x="127891" y="1661175"/>
                  <a:pt x="127891" y="2001088"/>
                </a:cubicBezTo>
                <a:cubicBezTo>
                  <a:pt x="127891" y="2001088"/>
                  <a:pt x="127891" y="2001088"/>
                  <a:pt x="127891" y="2014650"/>
                </a:cubicBezTo>
                <a:lnTo>
                  <a:pt x="108446" y="2014650"/>
                </a:lnTo>
                <a:cubicBezTo>
                  <a:pt x="47445" y="2014650"/>
                  <a:pt x="0" y="2061884"/>
                  <a:pt x="0" y="2119239"/>
                </a:cubicBezTo>
                <a:cubicBezTo>
                  <a:pt x="0" y="2179968"/>
                  <a:pt x="47445" y="2227201"/>
                  <a:pt x="108446" y="2227201"/>
                </a:cubicBezTo>
                <a:close/>
              </a:path>
            </a:pathLst>
          </a:custGeom>
          <a:solidFill>
            <a:schemeClr val="accent2">
              <a:lumMod val="50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38" name="Group 737">
            <a:extLst>
              <a:ext uri="{FF2B5EF4-FFF2-40B4-BE49-F238E27FC236}">
                <a16:creationId xmlns:a16="http://schemas.microsoft.com/office/drawing/2014/main" id="{D0AB1BC9-464C-47B1-901A-7748FFEEDCFB}"/>
              </a:ext>
            </a:extLst>
          </p:cNvPr>
          <p:cNvGrpSpPr/>
          <p:nvPr/>
        </p:nvGrpSpPr>
        <p:grpSpPr>
          <a:xfrm>
            <a:off x="3543743" y="1601845"/>
            <a:ext cx="4591915" cy="3571600"/>
            <a:chOff x="3543743" y="1684677"/>
            <a:chExt cx="4591915" cy="3571600"/>
          </a:xfrm>
        </p:grpSpPr>
        <p:grpSp>
          <p:nvGrpSpPr>
            <p:cNvPr id="510" name="Group 509">
              <a:extLst>
                <a:ext uri="{FF2B5EF4-FFF2-40B4-BE49-F238E27FC236}">
                  <a16:creationId xmlns:a16="http://schemas.microsoft.com/office/drawing/2014/main" id="{DC053A91-5356-45FA-AFC0-2277A2D9705F}"/>
                </a:ext>
              </a:extLst>
            </p:cNvPr>
            <p:cNvGrpSpPr/>
            <p:nvPr/>
          </p:nvGrpSpPr>
          <p:grpSpPr>
            <a:xfrm flipH="1">
              <a:off x="5638235" y="1684677"/>
              <a:ext cx="2497423" cy="1665740"/>
              <a:chOff x="-8774112" y="9498970"/>
              <a:chExt cx="4995863" cy="3332162"/>
            </a:xfrm>
          </p:grpSpPr>
          <p:grpSp>
            <p:nvGrpSpPr>
              <p:cNvPr id="511" name="Group 510">
                <a:extLst>
                  <a:ext uri="{FF2B5EF4-FFF2-40B4-BE49-F238E27FC236}">
                    <a16:creationId xmlns:a16="http://schemas.microsoft.com/office/drawing/2014/main" id="{4939101C-35B4-4A9A-8645-E49A75031DD6}"/>
                  </a:ext>
                </a:extLst>
              </p:cNvPr>
              <p:cNvGrpSpPr/>
              <p:nvPr/>
            </p:nvGrpSpPr>
            <p:grpSpPr>
              <a:xfrm>
                <a:off x="-6958012" y="9586283"/>
                <a:ext cx="339726" cy="1454149"/>
                <a:chOff x="-6958012" y="9586283"/>
                <a:chExt cx="339726" cy="1454149"/>
              </a:xfrm>
              <a:solidFill>
                <a:schemeClr val="accent4">
                  <a:lumMod val="50000"/>
                </a:schemeClr>
              </a:solidFill>
            </p:grpSpPr>
            <p:sp>
              <p:nvSpPr>
                <p:cNvPr id="586" name="Freeform 19">
                  <a:extLst>
                    <a:ext uri="{FF2B5EF4-FFF2-40B4-BE49-F238E27FC236}">
                      <a16:creationId xmlns:a16="http://schemas.microsoft.com/office/drawing/2014/main" id="{3A01AEE3-D848-4257-8910-26F7D5FFD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880224" y="9586283"/>
                  <a:ext cx="111125" cy="209550"/>
                </a:xfrm>
                <a:custGeom>
                  <a:avLst/>
                  <a:gdLst>
                    <a:gd name="T0" fmla="*/ 28 w 46"/>
                    <a:gd name="T1" fmla="*/ 86 h 86"/>
                    <a:gd name="T2" fmla="*/ 2 w 46"/>
                    <a:gd name="T3" fmla="*/ 34 h 86"/>
                    <a:gd name="T4" fmla="*/ 19 w 46"/>
                    <a:gd name="T5" fmla="*/ 1 h 86"/>
                    <a:gd name="T6" fmla="*/ 43 w 46"/>
                    <a:gd name="T7" fmla="*/ 29 h 86"/>
                    <a:gd name="T8" fmla="*/ 28 w 46"/>
                    <a:gd name="T9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6" h="86">
                      <a:moveTo>
                        <a:pt x="28" y="86"/>
                      </a:moveTo>
                      <a:cubicBezTo>
                        <a:pt x="28" y="86"/>
                        <a:pt x="5" y="64"/>
                        <a:pt x="2" y="34"/>
                      </a:cubicBezTo>
                      <a:cubicBezTo>
                        <a:pt x="0" y="22"/>
                        <a:pt x="8" y="2"/>
                        <a:pt x="19" y="1"/>
                      </a:cubicBezTo>
                      <a:cubicBezTo>
                        <a:pt x="30" y="0"/>
                        <a:pt x="41" y="13"/>
                        <a:pt x="43" y="29"/>
                      </a:cubicBezTo>
                      <a:cubicBezTo>
                        <a:pt x="46" y="59"/>
                        <a:pt x="28" y="86"/>
                        <a:pt x="28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7" name="Freeform 20">
                  <a:extLst>
                    <a:ext uri="{FF2B5EF4-FFF2-40B4-BE49-F238E27FC236}">
                      <a16:creationId xmlns:a16="http://schemas.microsoft.com/office/drawing/2014/main" id="{FFFDF4DC-A4CE-43C5-AE51-4CCEDA1CC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88149" y="9768845"/>
                  <a:ext cx="138113" cy="149225"/>
                </a:xfrm>
                <a:custGeom>
                  <a:avLst/>
                  <a:gdLst>
                    <a:gd name="T0" fmla="*/ 0 w 57"/>
                    <a:gd name="T1" fmla="*/ 62 h 62"/>
                    <a:gd name="T2" fmla="*/ 18 w 57"/>
                    <a:gd name="T3" fmla="*/ 14 h 62"/>
                    <a:gd name="T4" fmla="*/ 49 w 57"/>
                    <a:gd name="T5" fmla="*/ 7 h 62"/>
                    <a:gd name="T6" fmla="*/ 45 w 57"/>
                    <a:gd name="T7" fmla="*/ 38 h 62"/>
                    <a:gd name="T8" fmla="*/ 0 w 57"/>
                    <a:gd name="T9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62">
                      <a:moveTo>
                        <a:pt x="0" y="62"/>
                      </a:moveTo>
                      <a:cubicBezTo>
                        <a:pt x="0" y="62"/>
                        <a:pt x="0" y="33"/>
                        <a:pt x="18" y="14"/>
                      </a:cubicBezTo>
                      <a:cubicBezTo>
                        <a:pt x="24" y="6"/>
                        <a:pt x="41" y="0"/>
                        <a:pt x="49" y="7"/>
                      </a:cubicBezTo>
                      <a:cubicBezTo>
                        <a:pt x="57" y="13"/>
                        <a:pt x="55" y="28"/>
                        <a:pt x="45" y="38"/>
                      </a:cubicBezTo>
                      <a:cubicBezTo>
                        <a:pt x="28" y="58"/>
                        <a:pt x="0" y="62"/>
                        <a:pt x="0" y="6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8" name="Freeform 21">
                  <a:extLst>
                    <a:ext uri="{FF2B5EF4-FFF2-40B4-BE49-F238E27FC236}">
                      <a16:creationId xmlns:a16="http://schemas.microsoft.com/office/drawing/2014/main" id="{21B6E8C6-869A-4AAA-A006-91A583A09E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91324" y="9964108"/>
                  <a:ext cx="173038" cy="117475"/>
                </a:xfrm>
                <a:custGeom>
                  <a:avLst/>
                  <a:gdLst>
                    <a:gd name="T0" fmla="*/ 0 w 71"/>
                    <a:gd name="T1" fmla="*/ 40 h 48"/>
                    <a:gd name="T2" fmla="*/ 36 w 71"/>
                    <a:gd name="T3" fmla="*/ 4 h 48"/>
                    <a:gd name="T4" fmla="*/ 67 w 71"/>
                    <a:gd name="T5" fmla="*/ 10 h 48"/>
                    <a:gd name="T6" fmla="*/ 51 w 71"/>
                    <a:gd name="T7" fmla="*/ 38 h 48"/>
                    <a:gd name="T8" fmla="*/ 0 w 71"/>
                    <a:gd name="T9" fmla="*/ 4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1" h="48">
                      <a:moveTo>
                        <a:pt x="0" y="40"/>
                      </a:moveTo>
                      <a:cubicBezTo>
                        <a:pt x="0" y="40"/>
                        <a:pt x="12" y="15"/>
                        <a:pt x="36" y="4"/>
                      </a:cubicBezTo>
                      <a:cubicBezTo>
                        <a:pt x="45" y="0"/>
                        <a:pt x="63" y="1"/>
                        <a:pt x="67" y="10"/>
                      </a:cubicBezTo>
                      <a:cubicBezTo>
                        <a:pt x="71" y="20"/>
                        <a:pt x="64" y="32"/>
                        <a:pt x="51" y="38"/>
                      </a:cubicBezTo>
                      <a:cubicBezTo>
                        <a:pt x="27" y="48"/>
                        <a:pt x="0" y="40"/>
                        <a:pt x="0" y="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9" name="Freeform 22">
                  <a:extLst>
                    <a:ext uri="{FF2B5EF4-FFF2-40B4-BE49-F238E27FC236}">
                      <a16:creationId xmlns:a16="http://schemas.microsoft.com/office/drawing/2014/main" id="{FE814CE9-83BA-42A1-99AB-0969D82DE9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58012" y="9814883"/>
                  <a:ext cx="166688" cy="114300"/>
                </a:xfrm>
                <a:custGeom>
                  <a:avLst/>
                  <a:gdLst>
                    <a:gd name="T0" fmla="*/ 69 w 69"/>
                    <a:gd name="T1" fmla="*/ 44 h 47"/>
                    <a:gd name="T2" fmla="*/ 20 w 69"/>
                    <a:gd name="T3" fmla="*/ 34 h 47"/>
                    <a:gd name="T4" fmla="*/ 5 w 69"/>
                    <a:gd name="T5" fmla="*/ 8 h 47"/>
                    <a:gd name="T6" fmla="*/ 35 w 69"/>
                    <a:gd name="T7" fmla="*/ 7 h 47"/>
                    <a:gd name="T8" fmla="*/ 69 w 69"/>
                    <a:gd name="T9" fmla="*/ 44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47">
                      <a:moveTo>
                        <a:pt x="69" y="44"/>
                      </a:moveTo>
                      <a:cubicBezTo>
                        <a:pt x="69" y="44"/>
                        <a:pt x="43" y="47"/>
                        <a:pt x="20" y="34"/>
                      </a:cubicBezTo>
                      <a:cubicBezTo>
                        <a:pt x="11" y="29"/>
                        <a:pt x="0" y="15"/>
                        <a:pt x="5" y="8"/>
                      </a:cubicBezTo>
                      <a:cubicBezTo>
                        <a:pt x="9" y="0"/>
                        <a:pt x="23" y="0"/>
                        <a:pt x="35" y="7"/>
                      </a:cubicBezTo>
                      <a:cubicBezTo>
                        <a:pt x="58" y="20"/>
                        <a:pt x="69" y="44"/>
                        <a:pt x="69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0" name="Freeform 23">
                  <a:extLst>
                    <a:ext uri="{FF2B5EF4-FFF2-40B4-BE49-F238E27FC236}">
                      <a16:creationId xmlns:a16="http://schemas.microsoft.com/office/drawing/2014/main" id="{04A3F82F-9804-4332-A526-D76C5F9E9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48487" y="9954583"/>
                  <a:ext cx="165100" cy="117475"/>
                </a:xfrm>
                <a:custGeom>
                  <a:avLst/>
                  <a:gdLst>
                    <a:gd name="T0" fmla="*/ 68 w 68"/>
                    <a:gd name="T1" fmla="*/ 44 h 48"/>
                    <a:gd name="T2" fmla="*/ 19 w 68"/>
                    <a:gd name="T3" fmla="*/ 35 h 48"/>
                    <a:gd name="T4" fmla="*/ 4 w 68"/>
                    <a:gd name="T5" fmla="*/ 8 h 48"/>
                    <a:gd name="T6" fmla="*/ 35 w 68"/>
                    <a:gd name="T7" fmla="*/ 7 h 48"/>
                    <a:gd name="T8" fmla="*/ 68 w 68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48">
                      <a:moveTo>
                        <a:pt x="68" y="44"/>
                      </a:moveTo>
                      <a:cubicBezTo>
                        <a:pt x="68" y="44"/>
                        <a:pt x="42" y="48"/>
                        <a:pt x="19" y="35"/>
                      </a:cubicBezTo>
                      <a:cubicBezTo>
                        <a:pt x="11" y="30"/>
                        <a:pt x="0" y="15"/>
                        <a:pt x="4" y="8"/>
                      </a:cubicBezTo>
                      <a:cubicBezTo>
                        <a:pt x="9" y="0"/>
                        <a:pt x="23" y="0"/>
                        <a:pt x="35" y="7"/>
                      </a:cubicBezTo>
                      <a:cubicBezTo>
                        <a:pt x="58" y="20"/>
                        <a:pt x="68" y="44"/>
                        <a:pt x="68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1" name="Freeform 24">
                  <a:extLst>
                    <a:ext uri="{FF2B5EF4-FFF2-40B4-BE49-F238E27FC236}">
                      <a16:creationId xmlns:a16="http://schemas.microsoft.com/office/drawing/2014/main" id="{D58106B7-99EA-4F04-BF70-F554331958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35787" y="10165720"/>
                  <a:ext cx="130175" cy="104775"/>
                </a:xfrm>
                <a:custGeom>
                  <a:avLst/>
                  <a:gdLst>
                    <a:gd name="T0" fmla="*/ 54 w 54"/>
                    <a:gd name="T1" fmla="*/ 37 h 43"/>
                    <a:gd name="T2" fmla="*/ 14 w 54"/>
                    <a:gd name="T3" fmla="*/ 33 h 43"/>
                    <a:gd name="T4" fmla="*/ 5 w 54"/>
                    <a:gd name="T5" fmla="*/ 9 h 43"/>
                    <a:gd name="T6" fmla="*/ 30 w 54"/>
                    <a:gd name="T7" fmla="*/ 5 h 43"/>
                    <a:gd name="T8" fmla="*/ 54 w 54"/>
                    <a:gd name="T9" fmla="*/ 37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" h="43">
                      <a:moveTo>
                        <a:pt x="54" y="37"/>
                      </a:moveTo>
                      <a:cubicBezTo>
                        <a:pt x="54" y="37"/>
                        <a:pt x="32" y="43"/>
                        <a:pt x="14" y="33"/>
                      </a:cubicBezTo>
                      <a:cubicBezTo>
                        <a:pt x="8" y="29"/>
                        <a:pt x="0" y="17"/>
                        <a:pt x="5" y="9"/>
                      </a:cubicBezTo>
                      <a:cubicBezTo>
                        <a:pt x="9" y="1"/>
                        <a:pt x="21" y="0"/>
                        <a:pt x="30" y="5"/>
                      </a:cubicBezTo>
                      <a:cubicBezTo>
                        <a:pt x="48" y="15"/>
                        <a:pt x="54" y="37"/>
                        <a:pt x="54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2" name="Freeform 25">
                  <a:extLst>
                    <a:ext uri="{FF2B5EF4-FFF2-40B4-BE49-F238E27FC236}">
                      <a16:creationId xmlns:a16="http://schemas.microsoft.com/office/drawing/2014/main" id="{03B46727-6D10-40E6-9299-D8D3EB8D7A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97674" y="10160958"/>
                  <a:ext cx="133350" cy="100012"/>
                </a:xfrm>
                <a:custGeom>
                  <a:avLst/>
                  <a:gdLst>
                    <a:gd name="T0" fmla="*/ 0 w 55"/>
                    <a:gd name="T1" fmla="*/ 39 h 41"/>
                    <a:gd name="T2" fmla="*/ 26 w 55"/>
                    <a:gd name="T3" fmla="*/ 7 h 41"/>
                    <a:gd name="T4" fmla="*/ 51 w 55"/>
                    <a:gd name="T5" fmla="*/ 7 h 41"/>
                    <a:gd name="T6" fmla="*/ 40 w 55"/>
                    <a:gd name="T7" fmla="*/ 29 h 41"/>
                    <a:gd name="T8" fmla="*/ 0 w 55"/>
                    <a:gd name="T9" fmla="*/ 39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5" h="41">
                      <a:moveTo>
                        <a:pt x="0" y="39"/>
                      </a:moveTo>
                      <a:cubicBezTo>
                        <a:pt x="0" y="39"/>
                        <a:pt x="8" y="18"/>
                        <a:pt x="26" y="7"/>
                      </a:cubicBezTo>
                      <a:cubicBezTo>
                        <a:pt x="32" y="3"/>
                        <a:pt x="47" y="0"/>
                        <a:pt x="51" y="7"/>
                      </a:cubicBezTo>
                      <a:cubicBezTo>
                        <a:pt x="55" y="13"/>
                        <a:pt x="49" y="23"/>
                        <a:pt x="40" y="29"/>
                      </a:cubicBezTo>
                      <a:cubicBezTo>
                        <a:pt x="22" y="41"/>
                        <a:pt x="0" y="39"/>
                        <a:pt x="0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3" name="Freeform 26">
                  <a:extLst>
                    <a:ext uri="{FF2B5EF4-FFF2-40B4-BE49-F238E27FC236}">
                      <a16:creationId xmlns:a16="http://schemas.microsoft.com/office/drawing/2014/main" id="{94BCB61E-0EA6-43F7-959B-ED4BCDE463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892924" y="9759320"/>
                  <a:ext cx="192088" cy="1281112"/>
                </a:xfrm>
                <a:custGeom>
                  <a:avLst/>
                  <a:gdLst>
                    <a:gd name="T0" fmla="*/ 67 w 79"/>
                    <a:gd name="T1" fmla="*/ 527 h 529"/>
                    <a:gd name="T2" fmla="*/ 79 w 79"/>
                    <a:gd name="T3" fmla="*/ 528 h 529"/>
                    <a:gd name="T4" fmla="*/ 78 w 79"/>
                    <a:gd name="T5" fmla="*/ 523 h 529"/>
                    <a:gd name="T6" fmla="*/ 78 w 79"/>
                    <a:gd name="T7" fmla="*/ 526 h 529"/>
                    <a:gd name="T8" fmla="*/ 78 w 79"/>
                    <a:gd name="T9" fmla="*/ 523 h 529"/>
                    <a:gd name="T10" fmla="*/ 52 w 79"/>
                    <a:gd name="T11" fmla="*/ 512 h 529"/>
                    <a:gd name="T12" fmla="*/ 24 w 79"/>
                    <a:gd name="T13" fmla="*/ 434 h 529"/>
                    <a:gd name="T14" fmla="*/ 37 w 79"/>
                    <a:gd name="T15" fmla="*/ 222 h 529"/>
                    <a:gd name="T16" fmla="*/ 37 w 79"/>
                    <a:gd name="T17" fmla="*/ 25 h 529"/>
                    <a:gd name="T18" fmla="*/ 34 w 79"/>
                    <a:gd name="T19" fmla="*/ 0 h 529"/>
                    <a:gd name="T20" fmla="*/ 28 w 79"/>
                    <a:gd name="T21" fmla="*/ 0 h 529"/>
                    <a:gd name="T22" fmla="*/ 32 w 79"/>
                    <a:gd name="T23" fmla="*/ 26 h 529"/>
                    <a:gd name="T24" fmla="*/ 32 w 79"/>
                    <a:gd name="T25" fmla="*/ 221 h 529"/>
                    <a:gd name="T26" fmla="*/ 49 w 79"/>
                    <a:gd name="T27" fmla="*/ 516 h 529"/>
                    <a:gd name="T28" fmla="*/ 67 w 79"/>
                    <a:gd name="T29" fmla="*/ 527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9" h="529">
                      <a:moveTo>
                        <a:pt x="67" y="527"/>
                      </a:moveTo>
                      <a:cubicBezTo>
                        <a:pt x="74" y="529"/>
                        <a:pt x="78" y="528"/>
                        <a:pt x="79" y="528"/>
                      </a:cubicBezTo>
                      <a:cubicBezTo>
                        <a:pt x="78" y="523"/>
                        <a:pt x="78" y="523"/>
                        <a:pt x="78" y="523"/>
                      </a:cubicBezTo>
                      <a:cubicBezTo>
                        <a:pt x="78" y="526"/>
                        <a:pt x="78" y="526"/>
                        <a:pt x="78" y="526"/>
                      </a:cubicBezTo>
                      <a:cubicBezTo>
                        <a:pt x="78" y="523"/>
                        <a:pt x="78" y="523"/>
                        <a:pt x="78" y="523"/>
                      </a:cubicBezTo>
                      <a:cubicBezTo>
                        <a:pt x="77" y="523"/>
                        <a:pt x="65" y="525"/>
                        <a:pt x="52" y="512"/>
                      </a:cubicBezTo>
                      <a:cubicBezTo>
                        <a:pt x="38" y="498"/>
                        <a:pt x="29" y="471"/>
                        <a:pt x="24" y="434"/>
                      </a:cubicBezTo>
                      <a:cubicBezTo>
                        <a:pt x="18" y="382"/>
                        <a:pt x="23" y="311"/>
                        <a:pt x="37" y="222"/>
                      </a:cubicBezTo>
                      <a:cubicBezTo>
                        <a:pt x="54" y="118"/>
                        <a:pt x="44" y="62"/>
                        <a:pt x="37" y="25"/>
                      </a:cubicBezTo>
                      <a:cubicBezTo>
                        <a:pt x="36" y="15"/>
                        <a:pt x="34" y="7"/>
                        <a:pt x="34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9" y="8"/>
                        <a:pt x="30" y="16"/>
                        <a:pt x="32" y="26"/>
                      </a:cubicBezTo>
                      <a:cubicBezTo>
                        <a:pt x="39" y="63"/>
                        <a:pt x="49" y="118"/>
                        <a:pt x="32" y="221"/>
                      </a:cubicBezTo>
                      <a:cubicBezTo>
                        <a:pt x="0" y="419"/>
                        <a:pt x="23" y="491"/>
                        <a:pt x="49" y="516"/>
                      </a:cubicBezTo>
                      <a:cubicBezTo>
                        <a:pt x="56" y="523"/>
                        <a:pt x="62" y="526"/>
                        <a:pt x="67" y="52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12" name="Freeform 39">
                <a:extLst>
                  <a:ext uri="{FF2B5EF4-FFF2-40B4-BE49-F238E27FC236}">
                    <a16:creationId xmlns:a16="http://schemas.microsoft.com/office/drawing/2014/main" id="{AAB8358D-9C8B-419D-865D-86497B39D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774112" y="11537320"/>
                <a:ext cx="2605088" cy="1165225"/>
              </a:xfrm>
              <a:custGeom>
                <a:avLst/>
                <a:gdLst>
                  <a:gd name="T0" fmla="*/ 1019 w 1076"/>
                  <a:gd name="T1" fmla="*/ 433 h 481"/>
                  <a:gd name="T2" fmla="*/ 596 w 1076"/>
                  <a:gd name="T3" fmla="*/ 49 h 481"/>
                  <a:gd name="T4" fmla="*/ 737 w 1076"/>
                  <a:gd name="T5" fmla="*/ 305 h 481"/>
                  <a:gd name="T6" fmla="*/ 531 w 1076"/>
                  <a:gd name="T7" fmla="*/ 165 h 481"/>
                  <a:gd name="T8" fmla="*/ 469 w 1076"/>
                  <a:gd name="T9" fmla="*/ 307 h 481"/>
                  <a:gd name="T10" fmla="*/ 382 w 1076"/>
                  <a:gd name="T11" fmla="*/ 234 h 481"/>
                  <a:gd name="T12" fmla="*/ 277 w 1076"/>
                  <a:gd name="T13" fmla="*/ 320 h 481"/>
                  <a:gd name="T14" fmla="*/ 579 w 1076"/>
                  <a:gd name="T15" fmla="*/ 375 h 481"/>
                  <a:gd name="T16" fmla="*/ 100 w 1076"/>
                  <a:gd name="T17" fmla="*/ 344 h 481"/>
                  <a:gd name="T18" fmla="*/ 1019 w 1076"/>
                  <a:gd name="T19" fmla="*/ 433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6" h="481">
                    <a:moveTo>
                      <a:pt x="1019" y="433"/>
                    </a:moveTo>
                    <a:cubicBezTo>
                      <a:pt x="1076" y="425"/>
                      <a:pt x="721" y="0"/>
                      <a:pt x="596" y="49"/>
                    </a:cubicBezTo>
                    <a:cubicBezTo>
                      <a:pt x="427" y="115"/>
                      <a:pt x="588" y="238"/>
                      <a:pt x="737" y="305"/>
                    </a:cubicBezTo>
                    <a:cubicBezTo>
                      <a:pt x="885" y="373"/>
                      <a:pt x="569" y="186"/>
                      <a:pt x="531" y="165"/>
                    </a:cubicBezTo>
                    <a:cubicBezTo>
                      <a:pt x="398" y="91"/>
                      <a:pt x="229" y="234"/>
                      <a:pt x="469" y="307"/>
                    </a:cubicBezTo>
                    <a:cubicBezTo>
                      <a:pt x="709" y="380"/>
                      <a:pt x="495" y="257"/>
                      <a:pt x="382" y="234"/>
                    </a:cubicBezTo>
                    <a:cubicBezTo>
                      <a:pt x="269" y="211"/>
                      <a:pt x="31" y="221"/>
                      <a:pt x="277" y="320"/>
                    </a:cubicBezTo>
                    <a:cubicBezTo>
                      <a:pt x="523" y="420"/>
                      <a:pt x="646" y="409"/>
                      <a:pt x="579" y="375"/>
                    </a:cubicBezTo>
                    <a:cubicBezTo>
                      <a:pt x="513" y="342"/>
                      <a:pt x="0" y="232"/>
                      <a:pt x="100" y="344"/>
                    </a:cubicBezTo>
                    <a:cubicBezTo>
                      <a:pt x="199" y="457"/>
                      <a:pt x="679" y="481"/>
                      <a:pt x="1019" y="433"/>
                    </a:cubicBez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Freeform 72">
                <a:extLst>
                  <a:ext uri="{FF2B5EF4-FFF2-40B4-BE49-F238E27FC236}">
                    <a16:creationId xmlns:a16="http://schemas.microsoft.com/office/drawing/2014/main" id="{BCADAAD8-7216-477A-96EF-0BD88F4B3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70737" y="10684833"/>
                <a:ext cx="3392488" cy="1279525"/>
              </a:xfrm>
              <a:custGeom>
                <a:avLst/>
                <a:gdLst>
                  <a:gd name="T0" fmla="*/ 1361 w 1401"/>
                  <a:gd name="T1" fmla="*/ 528 h 528"/>
                  <a:gd name="T2" fmla="*/ 1267 w 1401"/>
                  <a:gd name="T3" fmla="*/ 457 h 528"/>
                  <a:gd name="T4" fmla="*/ 991 w 1401"/>
                  <a:gd name="T5" fmla="*/ 461 h 528"/>
                  <a:gd name="T6" fmla="*/ 1203 w 1401"/>
                  <a:gd name="T7" fmla="*/ 236 h 528"/>
                  <a:gd name="T8" fmla="*/ 938 w 1401"/>
                  <a:gd name="T9" fmla="*/ 300 h 528"/>
                  <a:gd name="T10" fmla="*/ 1056 w 1401"/>
                  <a:gd name="T11" fmla="*/ 114 h 528"/>
                  <a:gd name="T12" fmla="*/ 705 w 1401"/>
                  <a:gd name="T13" fmla="*/ 271 h 528"/>
                  <a:gd name="T14" fmla="*/ 804 w 1401"/>
                  <a:gd name="T15" fmla="*/ 76 h 528"/>
                  <a:gd name="T16" fmla="*/ 634 w 1401"/>
                  <a:gd name="T17" fmla="*/ 137 h 528"/>
                  <a:gd name="T18" fmla="*/ 564 w 1401"/>
                  <a:gd name="T19" fmla="*/ 54 h 528"/>
                  <a:gd name="T20" fmla="*/ 442 w 1401"/>
                  <a:gd name="T21" fmla="*/ 195 h 528"/>
                  <a:gd name="T22" fmla="*/ 150 w 1401"/>
                  <a:gd name="T23" fmla="*/ 32 h 528"/>
                  <a:gd name="T24" fmla="*/ 172 w 1401"/>
                  <a:gd name="T25" fmla="*/ 491 h 528"/>
                  <a:gd name="T26" fmla="*/ 1361 w 1401"/>
                  <a:gd name="T27" fmla="*/ 528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01" h="528">
                    <a:moveTo>
                      <a:pt x="1361" y="528"/>
                    </a:moveTo>
                    <a:cubicBezTo>
                      <a:pt x="1382" y="499"/>
                      <a:pt x="1358" y="473"/>
                      <a:pt x="1267" y="457"/>
                    </a:cubicBezTo>
                    <a:cubicBezTo>
                      <a:pt x="1167" y="439"/>
                      <a:pt x="1070" y="446"/>
                      <a:pt x="991" y="461"/>
                    </a:cubicBezTo>
                    <a:cubicBezTo>
                      <a:pt x="1180" y="377"/>
                      <a:pt x="1401" y="257"/>
                      <a:pt x="1203" y="236"/>
                    </a:cubicBezTo>
                    <a:cubicBezTo>
                      <a:pt x="1142" y="230"/>
                      <a:pt x="1046" y="257"/>
                      <a:pt x="938" y="300"/>
                    </a:cubicBezTo>
                    <a:cubicBezTo>
                      <a:pt x="1059" y="208"/>
                      <a:pt x="1127" y="131"/>
                      <a:pt x="1056" y="114"/>
                    </a:cubicBezTo>
                    <a:cubicBezTo>
                      <a:pt x="990" y="98"/>
                      <a:pt x="852" y="172"/>
                      <a:pt x="705" y="271"/>
                    </a:cubicBezTo>
                    <a:cubicBezTo>
                      <a:pt x="790" y="187"/>
                      <a:pt x="840" y="113"/>
                      <a:pt x="804" y="76"/>
                    </a:cubicBezTo>
                    <a:cubicBezTo>
                      <a:pt x="775" y="46"/>
                      <a:pt x="710" y="77"/>
                      <a:pt x="634" y="137"/>
                    </a:cubicBezTo>
                    <a:cubicBezTo>
                      <a:pt x="639" y="82"/>
                      <a:pt x="617" y="49"/>
                      <a:pt x="564" y="54"/>
                    </a:cubicBezTo>
                    <a:cubicBezTo>
                      <a:pt x="515" y="58"/>
                      <a:pt x="473" y="120"/>
                      <a:pt x="442" y="195"/>
                    </a:cubicBezTo>
                    <a:cubicBezTo>
                      <a:pt x="399" y="76"/>
                      <a:pt x="276" y="0"/>
                      <a:pt x="150" y="32"/>
                    </a:cubicBezTo>
                    <a:cubicBezTo>
                      <a:pt x="0" y="69"/>
                      <a:pt x="110" y="355"/>
                      <a:pt x="172" y="491"/>
                    </a:cubicBezTo>
                    <a:lnTo>
                      <a:pt x="1361" y="528"/>
                    </a:lnTo>
                    <a:close/>
                  </a:path>
                </a:pathLst>
              </a:custGeom>
              <a:solidFill>
                <a:srgbClr val="2805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Freeform 73">
                <a:extLst>
                  <a:ext uri="{FF2B5EF4-FFF2-40B4-BE49-F238E27FC236}">
                    <a16:creationId xmlns:a16="http://schemas.microsoft.com/office/drawing/2014/main" id="{EEB33CB4-24DC-415D-9204-997FA2901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304212" y="10521320"/>
                <a:ext cx="2160588" cy="2066925"/>
              </a:xfrm>
              <a:custGeom>
                <a:avLst/>
                <a:gdLst>
                  <a:gd name="T0" fmla="*/ 844 w 892"/>
                  <a:gd name="T1" fmla="*/ 853 h 853"/>
                  <a:gd name="T2" fmla="*/ 836 w 892"/>
                  <a:gd name="T3" fmla="*/ 575 h 853"/>
                  <a:gd name="T4" fmla="*/ 802 w 892"/>
                  <a:gd name="T5" fmla="*/ 472 h 853"/>
                  <a:gd name="T6" fmla="*/ 715 w 892"/>
                  <a:gd name="T7" fmla="*/ 433 h 853"/>
                  <a:gd name="T8" fmla="*/ 540 w 892"/>
                  <a:gd name="T9" fmla="*/ 230 h 853"/>
                  <a:gd name="T10" fmla="*/ 441 w 892"/>
                  <a:gd name="T11" fmla="*/ 204 h 853"/>
                  <a:gd name="T12" fmla="*/ 341 w 892"/>
                  <a:gd name="T13" fmla="*/ 98 h 853"/>
                  <a:gd name="T14" fmla="*/ 232 w 892"/>
                  <a:gd name="T15" fmla="*/ 124 h 853"/>
                  <a:gd name="T16" fmla="*/ 145 w 892"/>
                  <a:gd name="T17" fmla="*/ 22 h 853"/>
                  <a:gd name="T18" fmla="*/ 108 w 892"/>
                  <a:gd name="T19" fmla="*/ 169 h 853"/>
                  <a:gd name="T20" fmla="*/ 101 w 892"/>
                  <a:gd name="T21" fmla="*/ 295 h 853"/>
                  <a:gd name="T22" fmla="*/ 80 w 892"/>
                  <a:gd name="T23" fmla="*/ 388 h 853"/>
                  <a:gd name="T24" fmla="*/ 207 w 892"/>
                  <a:gd name="T25" fmla="*/ 511 h 853"/>
                  <a:gd name="T26" fmla="*/ 244 w 892"/>
                  <a:gd name="T27" fmla="*/ 621 h 853"/>
                  <a:gd name="T28" fmla="*/ 373 w 892"/>
                  <a:gd name="T29" fmla="*/ 662 h 853"/>
                  <a:gd name="T30" fmla="*/ 422 w 892"/>
                  <a:gd name="T31" fmla="*/ 765 h 853"/>
                  <a:gd name="T32" fmla="*/ 844 w 892"/>
                  <a:gd name="T33" fmla="*/ 853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92" h="853">
                    <a:moveTo>
                      <a:pt x="844" y="853"/>
                    </a:moveTo>
                    <a:cubicBezTo>
                      <a:pt x="839" y="833"/>
                      <a:pt x="765" y="677"/>
                      <a:pt x="836" y="575"/>
                    </a:cubicBezTo>
                    <a:cubicBezTo>
                      <a:pt x="892" y="495"/>
                      <a:pt x="846" y="474"/>
                      <a:pt x="802" y="472"/>
                    </a:cubicBezTo>
                    <a:cubicBezTo>
                      <a:pt x="758" y="470"/>
                      <a:pt x="716" y="488"/>
                      <a:pt x="715" y="433"/>
                    </a:cubicBezTo>
                    <a:cubicBezTo>
                      <a:pt x="709" y="251"/>
                      <a:pt x="589" y="116"/>
                      <a:pt x="540" y="230"/>
                    </a:cubicBezTo>
                    <a:cubicBezTo>
                      <a:pt x="514" y="291"/>
                      <a:pt x="443" y="250"/>
                      <a:pt x="441" y="204"/>
                    </a:cubicBezTo>
                    <a:cubicBezTo>
                      <a:pt x="436" y="106"/>
                      <a:pt x="388" y="43"/>
                      <a:pt x="341" y="98"/>
                    </a:cubicBezTo>
                    <a:cubicBezTo>
                      <a:pt x="294" y="152"/>
                      <a:pt x="249" y="164"/>
                      <a:pt x="232" y="124"/>
                    </a:cubicBezTo>
                    <a:cubicBezTo>
                      <a:pt x="215" y="84"/>
                      <a:pt x="225" y="0"/>
                      <a:pt x="145" y="22"/>
                    </a:cubicBezTo>
                    <a:cubicBezTo>
                      <a:pt x="113" y="30"/>
                      <a:pt x="82" y="107"/>
                      <a:pt x="108" y="169"/>
                    </a:cubicBezTo>
                    <a:cubicBezTo>
                      <a:pt x="123" y="205"/>
                      <a:pt x="198" y="302"/>
                      <a:pt x="101" y="295"/>
                    </a:cubicBezTo>
                    <a:cubicBezTo>
                      <a:pt x="0" y="288"/>
                      <a:pt x="30" y="364"/>
                      <a:pt x="80" y="388"/>
                    </a:cubicBezTo>
                    <a:cubicBezTo>
                      <a:pt x="99" y="396"/>
                      <a:pt x="267" y="491"/>
                      <a:pt x="207" y="511"/>
                    </a:cubicBezTo>
                    <a:cubicBezTo>
                      <a:pt x="136" y="534"/>
                      <a:pt x="152" y="598"/>
                      <a:pt x="244" y="621"/>
                    </a:cubicBezTo>
                    <a:cubicBezTo>
                      <a:pt x="287" y="631"/>
                      <a:pt x="385" y="626"/>
                      <a:pt x="373" y="662"/>
                    </a:cubicBezTo>
                    <a:cubicBezTo>
                      <a:pt x="362" y="697"/>
                      <a:pt x="357" y="750"/>
                      <a:pt x="422" y="765"/>
                    </a:cubicBezTo>
                    <a:cubicBezTo>
                      <a:pt x="534" y="791"/>
                      <a:pt x="835" y="811"/>
                      <a:pt x="844" y="853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Freeform 74">
                <a:extLst>
                  <a:ext uri="{FF2B5EF4-FFF2-40B4-BE49-F238E27FC236}">
                    <a16:creationId xmlns:a16="http://schemas.microsoft.com/office/drawing/2014/main" id="{A3C2D114-F961-4015-941F-450373006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75599" y="10718170"/>
                <a:ext cx="1935163" cy="2112962"/>
              </a:xfrm>
              <a:custGeom>
                <a:avLst/>
                <a:gdLst>
                  <a:gd name="T0" fmla="*/ 0 w 799"/>
                  <a:gd name="T1" fmla="*/ 0 h 872"/>
                  <a:gd name="T2" fmla="*/ 322 w 799"/>
                  <a:gd name="T3" fmla="*/ 459 h 872"/>
                  <a:gd name="T4" fmla="*/ 799 w 799"/>
                  <a:gd name="T5" fmla="*/ 872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9" h="872">
                    <a:moveTo>
                      <a:pt x="0" y="0"/>
                    </a:moveTo>
                    <a:cubicBezTo>
                      <a:pt x="0" y="0"/>
                      <a:pt x="74" y="265"/>
                      <a:pt x="322" y="459"/>
                    </a:cubicBezTo>
                    <a:cubicBezTo>
                      <a:pt x="570" y="653"/>
                      <a:pt x="681" y="720"/>
                      <a:pt x="799" y="872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Freeform 75">
                <a:extLst>
                  <a:ext uri="{FF2B5EF4-FFF2-40B4-BE49-F238E27FC236}">
                    <a16:creationId xmlns:a16="http://schemas.microsoft.com/office/drawing/2014/main" id="{5BF2DEE7-E5E5-459C-934F-0E556B14D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588249" y="10970583"/>
                <a:ext cx="133350" cy="579437"/>
              </a:xfrm>
              <a:custGeom>
                <a:avLst/>
                <a:gdLst>
                  <a:gd name="T0" fmla="*/ 55 w 55"/>
                  <a:gd name="T1" fmla="*/ 0 h 239"/>
                  <a:gd name="T2" fmla="*/ 39 w 55"/>
                  <a:gd name="T3" fmla="*/ 2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5" h="239">
                    <a:moveTo>
                      <a:pt x="55" y="0"/>
                    </a:moveTo>
                    <a:cubicBezTo>
                      <a:pt x="55" y="0"/>
                      <a:pt x="0" y="141"/>
                      <a:pt x="39" y="239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Freeform 76">
                <a:extLst>
                  <a:ext uri="{FF2B5EF4-FFF2-40B4-BE49-F238E27FC236}">
                    <a16:creationId xmlns:a16="http://schemas.microsoft.com/office/drawing/2014/main" id="{307A0475-C098-4364-8DCD-5B1D366818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72437" y="11362695"/>
                <a:ext cx="620713" cy="230187"/>
              </a:xfrm>
              <a:custGeom>
                <a:avLst/>
                <a:gdLst>
                  <a:gd name="T0" fmla="*/ 0 w 256"/>
                  <a:gd name="T1" fmla="*/ 0 h 95"/>
                  <a:gd name="T2" fmla="*/ 256 w 256"/>
                  <a:gd name="T3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6" h="95">
                    <a:moveTo>
                      <a:pt x="0" y="0"/>
                    </a:moveTo>
                    <a:cubicBezTo>
                      <a:pt x="0" y="0"/>
                      <a:pt x="146" y="11"/>
                      <a:pt x="256" y="95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Freeform 77">
                <a:extLst>
                  <a:ext uri="{FF2B5EF4-FFF2-40B4-BE49-F238E27FC236}">
                    <a16:creationId xmlns:a16="http://schemas.microsoft.com/office/drawing/2014/main" id="{66B380EA-E601-4685-8DB4-DBD91E8AD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965949" y="11186483"/>
                <a:ext cx="131763" cy="819150"/>
              </a:xfrm>
              <a:custGeom>
                <a:avLst/>
                <a:gdLst>
                  <a:gd name="T0" fmla="*/ 36 w 54"/>
                  <a:gd name="T1" fmla="*/ 0 h 338"/>
                  <a:gd name="T2" fmla="*/ 0 w 54"/>
                  <a:gd name="T3" fmla="*/ 338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4" h="338">
                    <a:moveTo>
                      <a:pt x="36" y="0"/>
                    </a:moveTo>
                    <a:cubicBezTo>
                      <a:pt x="36" y="0"/>
                      <a:pt x="54" y="70"/>
                      <a:pt x="0" y="338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Freeform 78">
                <a:extLst>
                  <a:ext uri="{FF2B5EF4-FFF2-40B4-BE49-F238E27FC236}">
                    <a16:creationId xmlns:a16="http://schemas.microsoft.com/office/drawing/2014/main" id="{F54A4AEC-6360-493B-BC7B-D65709FB8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827962" y="11831008"/>
                <a:ext cx="681038" cy="52387"/>
              </a:xfrm>
              <a:custGeom>
                <a:avLst/>
                <a:gdLst>
                  <a:gd name="T0" fmla="*/ 0 w 281"/>
                  <a:gd name="T1" fmla="*/ 22 h 22"/>
                  <a:gd name="T2" fmla="*/ 281 w 281"/>
                  <a:gd name="T3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81" h="22">
                    <a:moveTo>
                      <a:pt x="0" y="22"/>
                    </a:moveTo>
                    <a:cubicBezTo>
                      <a:pt x="0" y="22"/>
                      <a:pt x="227" y="0"/>
                      <a:pt x="281" y="15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79">
                <a:extLst>
                  <a:ext uri="{FF2B5EF4-FFF2-40B4-BE49-F238E27FC236}">
                    <a16:creationId xmlns:a16="http://schemas.microsoft.com/office/drawing/2014/main" id="{12E60AD7-E47A-4835-9E8E-D7CE1176F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12024" y="12162795"/>
                <a:ext cx="704850" cy="120650"/>
              </a:xfrm>
              <a:custGeom>
                <a:avLst/>
                <a:gdLst>
                  <a:gd name="T0" fmla="*/ 0 w 291"/>
                  <a:gd name="T1" fmla="*/ 40 h 50"/>
                  <a:gd name="T2" fmla="*/ 291 w 291"/>
                  <a:gd name="T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91" h="50">
                    <a:moveTo>
                      <a:pt x="0" y="40"/>
                    </a:moveTo>
                    <a:cubicBezTo>
                      <a:pt x="0" y="40"/>
                      <a:pt x="183" y="0"/>
                      <a:pt x="291" y="50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Freeform 96">
                <a:extLst>
                  <a:ext uri="{FF2B5EF4-FFF2-40B4-BE49-F238E27FC236}">
                    <a16:creationId xmlns:a16="http://schemas.microsoft.com/office/drawing/2014/main" id="{DC9834F5-5C28-492A-A003-5CA2B5CE8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61212" y="11294433"/>
                <a:ext cx="160338" cy="127000"/>
              </a:xfrm>
              <a:custGeom>
                <a:avLst/>
                <a:gdLst>
                  <a:gd name="T0" fmla="*/ 66 w 66"/>
                  <a:gd name="T1" fmla="*/ 52 h 52"/>
                  <a:gd name="T2" fmla="*/ 40 w 66"/>
                  <a:gd name="T3" fmla="*/ 12 h 52"/>
                  <a:gd name="T4" fmla="*/ 7 w 66"/>
                  <a:gd name="T5" fmla="*/ 5 h 52"/>
                  <a:gd name="T6" fmla="*/ 15 w 66"/>
                  <a:gd name="T7" fmla="*/ 31 h 52"/>
                  <a:gd name="T8" fmla="*/ 66 w 66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2">
                    <a:moveTo>
                      <a:pt x="66" y="52"/>
                    </a:moveTo>
                    <a:cubicBezTo>
                      <a:pt x="66" y="52"/>
                      <a:pt x="61" y="29"/>
                      <a:pt x="40" y="12"/>
                    </a:cubicBezTo>
                    <a:cubicBezTo>
                      <a:pt x="32" y="6"/>
                      <a:pt x="13" y="0"/>
                      <a:pt x="7" y="5"/>
                    </a:cubicBezTo>
                    <a:cubicBezTo>
                      <a:pt x="0" y="10"/>
                      <a:pt x="4" y="22"/>
                      <a:pt x="15" y="31"/>
                    </a:cubicBezTo>
                    <a:cubicBezTo>
                      <a:pt x="36" y="48"/>
                      <a:pt x="66" y="52"/>
                      <a:pt x="66" y="52"/>
                    </a:cubicBezTo>
                    <a:close/>
                  </a:path>
                </a:pathLst>
              </a:custGeom>
              <a:solidFill>
                <a:srgbClr val="B0B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Freeform 99">
                <a:extLst>
                  <a:ext uri="{FF2B5EF4-FFF2-40B4-BE49-F238E27FC236}">
                    <a16:creationId xmlns:a16="http://schemas.microsoft.com/office/drawing/2014/main" id="{C2365945-0D65-44C3-AD7E-AAFC90EF2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00874" y="11288083"/>
                <a:ext cx="158750" cy="139700"/>
              </a:xfrm>
              <a:custGeom>
                <a:avLst/>
                <a:gdLst>
                  <a:gd name="T0" fmla="*/ 1 w 66"/>
                  <a:gd name="T1" fmla="*/ 58 h 58"/>
                  <a:gd name="T2" fmla="*/ 54 w 66"/>
                  <a:gd name="T3" fmla="*/ 30 h 58"/>
                  <a:gd name="T4" fmla="*/ 56 w 66"/>
                  <a:gd name="T5" fmla="*/ 4 h 58"/>
                  <a:gd name="T6" fmla="*/ 20 w 66"/>
                  <a:gd name="T7" fmla="*/ 16 h 58"/>
                  <a:gd name="T8" fmla="*/ 1 w 66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8">
                    <a:moveTo>
                      <a:pt x="1" y="58"/>
                    </a:moveTo>
                    <a:cubicBezTo>
                      <a:pt x="1" y="58"/>
                      <a:pt x="34" y="49"/>
                      <a:pt x="54" y="30"/>
                    </a:cubicBezTo>
                    <a:cubicBezTo>
                      <a:pt x="61" y="23"/>
                      <a:pt x="66" y="8"/>
                      <a:pt x="56" y="4"/>
                    </a:cubicBezTo>
                    <a:cubicBezTo>
                      <a:pt x="47" y="0"/>
                      <a:pt x="31" y="6"/>
                      <a:pt x="20" y="16"/>
                    </a:cubicBezTo>
                    <a:cubicBezTo>
                      <a:pt x="0" y="36"/>
                      <a:pt x="1" y="58"/>
                      <a:pt x="1" y="58"/>
                    </a:cubicBezTo>
                    <a:close/>
                  </a:path>
                </a:pathLst>
              </a:custGeom>
              <a:solidFill>
                <a:srgbClr val="B0B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23" name="Group 522">
                <a:extLst>
                  <a:ext uri="{FF2B5EF4-FFF2-40B4-BE49-F238E27FC236}">
                    <a16:creationId xmlns:a16="http://schemas.microsoft.com/office/drawing/2014/main" id="{7F8B2795-3836-4230-B1A4-F1CA2FDE1756}"/>
                  </a:ext>
                </a:extLst>
              </p:cNvPr>
              <p:cNvGrpSpPr/>
              <p:nvPr/>
            </p:nvGrpSpPr>
            <p:grpSpPr>
              <a:xfrm>
                <a:off x="-8054974" y="9498970"/>
                <a:ext cx="1189037" cy="2079625"/>
                <a:chOff x="-8054974" y="9498970"/>
                <a:chExt cx="1189037" cy="2079625"/>
              </a:xfrm>
            </p:grpSpPr>
            <p:sp>
              <p:nvSpPr>
                <p:cNvPr id="566" name="Freeform 80">
                  <a:extLst>
                    <a:ext uri="{FF2B5EF4-FFF2-40B4-BE49-F238E27FC236}">
                      <a16:creationId xmlns:a16="http://schemas.microsoft.com/office/drawing/2014/main" id="{84837665-AB58-4D77-8214-AEA2E551CE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61262" y="9635495"/>
                  <a:ext cx="671513" cy="1943100"/>
                </a:xfrm>
                <a:custGeom>
                  <a:avLst/>
                  <a:gdLst>
                    <a:gd name="T0" fmla="*/ 233 w 277"/>
                    <a:gd name="T1" fmla="*/ 802 h 802"/>
                    <a:gd name="T2" fmla="*/ 7 w 277"/>
                    <a:gd name="T3" fmla="*/ 0 h 802"/>
                    <a:gd name="T4" fmla="*/ 0 w 277"/>
                    <a:gd name="T5" fmla="*/ 6 h 802"/>
                    <a:gd name="T6" fmla="*/ 224 w 277"/>
                    <a:gd name="T7" fmla="*/ 801 h 802"/>
                    <a:gd name="T8" fmla="*/ 233 w 277"/>
                    <a:gd name="T9" fmla="*/ 802 h 8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7" h="802">
                      <a:moveTo>
                        <a:pt x="233" y="802"/>
                      </a:moveTo>
                      <a:cubicBezTo>
                        <a:pt x="277" y="315"/>
                        <a:pt x="10" y="3"/>
                        <a:pt x="7" y="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3" y="9"/>
                        <a:pt x="267" y="319"/>
                        <a:pt x="224" y="801"/>
                      </a:cubicBezTo>
                      <a:lnTo>
                        <a:pt x="233" y="802"/>
                      </a:ln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7" name="Freeform 81">
                  <a:extLst>
                    <a:ext uri="{FF2B5EF4-FFF2-40B4-BE49-F238E27FC236}">
                      <a16:creationId xmlns:a16="http://schemas.microsoft.com/office/drawing/2014/main" id="{6A7199C8-EC36-4B8B-B9BF-A0F82D2C32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85087" y="9498970"/>
                  <a:ext cx="155575" cy="165100"/>
                </a:xfrm>
                <a:custGeom>
                  <a:avLst/>
                  <a:gdLst>
                    <a:gd name="T0" fmla="*/ 64 w 64"/>
                    <a:gd name="T1" fmla="*/ 68 h 68"/>
                    <a:gd name="T2" fmla="*/ 40 w 64"/>
                    <a:gd name="T3" fmla="*/ 16 h 68"/>
                    <a:gd name="T4" fmla="*/ 7 w 64"/>
                    <a:gd name="T5" fmla="*/ 7 h 68"/>
                    <a:gd name="T6" fmla="*/ 14 w 64"/>
                    <a:gd name="T7" fmla="*/ 41 h 68"/>
                    <a:gd name="T8" fmla="*/ 64 w 64"/>
                    <a:gd name="T9" fmla="*/ 6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8">
                      <a:moveTo>
                        <a:pt x="64" y="68"/>
                      </a:moveTo>
                      <a:cubicBezTo>
                        <a:pt x="64" y="68"/>
                        <a:pt x="60" y="38"/>
                        <a:pt x="40" y="16"/>
                      </a:cubicBezTo>
                      <a:cubicBezTo>
                        <a:pt x="33" y="8"/>
                        <a:pt x="14" y="0"/>
                        <a:pt x="7" y="7"/>
                      </a:cubicBezTo>
                      <a:cubicBezTo>
                        <a:pt x="0" y="14"/>
                        <a:pt x="3" y="30"/>
                        <a:pt x="14" y="41"/>
                      </a:cubicBezTo>
                      <a:cubicBezTo>
                        <a:pt x="34" y="62"/>
                        <a:pt x="64" y="68"/>
                        <a:pt x="64" y="6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8" name="Freeform 82">
                  <a:extLst>
                    <a:ext uri="{FF2B5EF4-FFF2-40B4-BE49-F238E27FC236}">
                      <a16:creationId xmlns:a16="http://schemas.microsoft.com/office/drawing/2014/main" id="{2758B35C-F395-4704-9B37-EDCC96EEA6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43812" y="9698995"/>
                  <a:ext cx="182563" cy="93662"/>
                </a:xfrm>
                <a:custGeom>
                  <a:avLst/>
                  <a:gdLst>
                    <a:gd name="T0" fmla="*/ 75 w 75"/>
                    <a:gd name="T1" fmla="*/ 28 h 39"/>
                    <a:gd name="T2" fmla="*/ 31 w 75"/>
                    <a:gd name="T3" fmla="*/ 3 h 39"/>
                    <a:gd name="T4" fmla="*/ 2 w 75"/>
                    <a:gd name="T5" fmla="*/ 12 h 39"/>
                    <a:gd name="T6" fmla="*/ 24 w 75"/>
                    <a:gd name="T7" fmla="*/ 33 h 39"/>
                    <a:gd name="T8" fmla="*/ 75 w 75"/>
                    <a:gd name="T9" fmla="*/ 28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" h="39">
                      <a:moveTo>
                        <a:pt x="75" y="28"/>
                      </a:moveTo>
                      <a:cubicBezTo>
                        <a:pt x="75" y="28"/>
                        <a:pt x="57" y="8"/>
                        <a:pt x="31" y="3"/>
                      </a:cubicBezTo>
                      <a:cubicBezTo>
                        <a:pt x="21" y="0"/>
                        <a:pt x="4" y="4"/>
                        <a:pt x="2" y="12"/>
                      </a:cubicBezTo>
                      <a:cubicBezTo>
                        <a:pt x="0" y="20"/>
                        <a:pt x="11" y="30"/>
                        <a:pt x="24" y="33"/>
                      </a:cubicBezTo>
                      <a:cubicBezTo>
                        <a:pt x="51" y="39"/>
                        <a:pt x="75" y="28"/>
                        <a:pt x="75" y="2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9" name="Freeform 83">
                  <a:extLst>
                    <a:ext uri="{FF2B5EF4-FFF2-40B4-BE49-F238E27FC236}">
                      <a16:creationId xmlns:a16="http://schemas.microsoft.com/office/drawing/2014/main" id="{BA202A7D-518D-49D3-9AE3-473DC00B33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15224" y="9906958"/>
                  <a:ext cx="155575" cy="82550"/>
                </a:xfrm>
                <a:custGeom>
                  <a:avLst/>
                  <a:gdLst>
                    <a:gd name="T0" fmla="*/ 64 w 64"/>
                    <a:gd name="T1" fmla="*/ 18 h 34"/>
                    <a:gd name="T2" fmla="*/ 24 w 64"/>
                    <a:gd name="T3" fmla="*/ 0 h 34"/>
                    <a:gd name="T4" fmla="*/ 1 w 64"/>
                    <a:gd name="T5" fmla="*/ 15 h 34"/>
                    <a:gd name="T6" fmla="*/ 22 w 64"/>
                    <a:gd name="T7" fmla="*/ 33 h 34"/>
                    <a:gd name="T8" fmla="*/ 64 w 64"/>
                    <a:gd name="T9" fmla="*/ 18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34">
                      <a:moveTo>
                        <a:pt x="64" y="18"/>
                      </a:moveTo>
                      <a:cubicBezTo>
                        <a:pt x="64" y="18"/>
                        <a:pt x="47" y="1"/>
                        <a:pt x="24" y="0"/>
                      </a:cubicBezTo>
                      <a:cubicBezTo>
                        <a:pt x="16" y="0"/>
                        <a:pt x="1" y="6"/>
                        <a:pt x="1" y="15"/>
                      </a:cubicBezTo>
                      <a:cubicBezTo>
                        <a:pt x="0" y="24"/>
                        <a:pt x="10" y="32"/>
                        <a:pt x="22" y="33"/>
                      </a:cubicBezTo>
                      <a:cubicBezTo>
                        <a:pt x="45" y="34"/>
                        <a:pt x="64" y="18"/>
                        <a:pt x="64" y="1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0" name="Freeform 84">
                  <a:extLst>
                    <a:ext uri="{FF2B5EF4-FFF2-40B4-BE49-F238E27FC236}">
                      <a16:creationId xmlns:a16="http://schemas.microsoft.com/office/drawing/2014/main" id="{6AD327E9-E5B1-41C4-A3D2-D18D813D62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488237" y="9616445"/>
                  <a:ext cx="101600" cy="147637"/>
                </a:xfrm>
                <a:custGeom>
                  <a:avLst/>
                  <a:gdLst>
                    <a:gd name="T0" fmla="*/ 7 w 42"/>
                    <a:gd name="T1" fmla="*/ 61 h 61"/>
                    <a:gd name="T2" fmla="*/ 39 w 42"/>
                    <a:gd name="T3" fmla="*/ 31 h 61"/>
                    <a:gd name="T4" fmla="*/ 34 w 42"/>
                    <a:gd name="T5" fmla="*/ 4 h 61"/>
                    <a:gd name="T6" fmla="*/ 9 w 42"/>
                    <a:gd name="T7" fmla="*/ 17 h 61"/>
                    <a:gd name="T8" fmla="*/ 7 w 42"/>
                    <a:gd name="T9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2" h="61">
                      <a:moveTo>
                        <a:pt x="7" y="61"/>
                      </a:moveTo>
                      <a:cubicBezTo>
                        <a:pt x="7" y="61"/>
                        <a:pt x="29" y="51"/>
                        <a:pt x="39" y="31"/>
                      </a:cubicBezTo>
                      <a:cubicBezTo>
                        <a:pt x="42" y="23"/>
                        <a:pt x="42" y="7"/>
                        <a:pt x="34" y="4"/>
                      </a:cubicBezTo>
                      <a:cubicBezTo>
                        <a:pt x="25" y="0"/>
                        <a:pt x="14" y="6"/>
                        <a:pt x="9" y="17"/>
                      </a:cubicBezTo>
                      <a:cubicBezTo>
                        <a:pt x="0" y="38"/>
                        <a:pt x="7" y="61"/>
                        <a:pt x="7" y="61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1" name="Freeform 85">
                  <a:extLst>
                    <a:ext uri="{FF2B5EF4-FFF2-40B4-BE49-F238E27FC236}">
                      <a16:creationId xmlns:a16="http://schemas.microsoft.com/office/drawing/2014/main" id="{BD9D9471-FBF7-4601-A54D-D799687124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08812" y="10878508"/>
                  <a:ext cx="138113" cy="125412"/>
                </a:xfrm>
                <a:custGeom>
                  <a:avLst/>
                  <a:gdLst>
                    <a:gd name="T0" fmla="*/ 0 w 57"/>
                    <a:gd name="T1" fmla="*/ 52 h 52"/>
                    <a:gd name="T2" fmla="*/ 43 w 57"/>
                    <a:gd name="T3" fmla="*/ 33 h 52"/>
                    <a:gd name="T4" fmla="*/ 51 w 57"/>
                    <a:gd name="T5" fmla="*/ 6 h 52"/>
                    <a:gd name="T6" fmla="*/ 23 w 57"/>
                    <a:gd name="T7" fmla="*/ 11 h 52"/>
                    <a:gd name="T8" fmla="*/ 0 w 57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2">
                      <a:moveTo>
                        <a:pt x="0" y="52"/>
                      </a:moveTo>
                      <a:cubicBezTo>
                        <a:pt x="0" y="52"/>
                        <a:pt x="25" y="50"/>
                        <a:pt x="43" y="33"/>
                      </a:cubicBezTo>
                      <a:cubicBezTo>
                        <a:pt x="50" y="27"/>
                        <a:pt x="57" y="12"/>
                        <a:pt x="51" y="6"/>
                      </a:cubicBezTo>
                      <a:cubicBezTo>
                        <a:pt x="46" y="0"/>
                        <a:pt x="33" y="2"/>
                        <a:pt x="23" y="11"/>
                      </a:cubicBezTo>
                      <a:cubicBezTo>
                        <a:pt x="5" y="27"/>
                        <a:pt x="0" y="52"/>
                        <a:pt x="0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2" name="Freeform 86">
                  <a:extLst>
                    <a:ext uri="{FF2B5EF4-FFF2-40B4-BE49-F238E27FC236}">
                      <a16:creationId xmlns:a16="http://schemas.microsoft.com/office/drawing/2014/main" id="{E94F0186-8405-456C-A1D7-825DC59FA2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62824" y="9764083"/>
                  <a:ext cx="114300" cy="180975"/>
                </a:xfrm>
                <a:custGeom>
                  <a:avLst/>
                  <a:gdLst>
                    <a:gd name="T0" fmla="*/ 6 w 47"/>
                    <a:gd name="T1" fmla="*/ 75 h 75"/>
                    <a:gd name="T2" fmla="*/ 42 w 47"/>
                    <a:gd name="T3" fmla="*/ 36 h 75"/>
                    <a:gd name="T4" fmla="*/ 38 w 47"/>
                    <a:gd name="T5" fmla="*/ 4 h 75"/>
                    <a:gd name="T6" fmla="*/ 12 w 47"/>
                    <a:gd name="T7" fmla="*/ 22 h 75"/>
                    <a:gd name="T8" fmla="*/ 6 w 47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7" h="75">
                      <a:moveTo>
                        <a:pt x="6" y="75"/>
                      </a:moveTo>
                      <a:cubicBezTo>
                        <a:pt x="6" y="75"/>
                        <a:pt x="31" y="61"/>
                        <a:pt x="42" y="36"/>
                      </a:cubicBezTo>
                      <a:cubicBezTo>
                        <a:pt x="46" y="27"/>
                        <a:pt x="47" y="8"/>
                        <a:pt x="38" y="4"/>
                      </a:cubicBezTo>
                      <a:cubicBezTo>
                        <a:pt x="30" y="0"/>
                        <a:pt x="18" y="9"/>
                        <a:pt x="12" y="22"/>
                      </a:cubicBezTo>
                      <a:cubicBezTo>
                        <a:pt x="0" y="47"/>
                        <a:pt x="6" y="75"/>
                        <a:pt x="6" y="75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3" name="Freeform 87">
                  <a:extLst>
                    <a:ext uri="{FF2B5EF4-FFF2-40B4-BE49-F238E27FC236}">
                      <a16:creationId xmlns:a16="http://schemas.microsoft.com/office/drawing/2014/main" id="{E9C1D94E-92B0-4D83-8AE7-37E639A936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62812" y="9981570"/>
                  <a:ext cx="119063" cy="161925"/>
                </a:xfrm>
                <a:custGeom>
                  <a:avLst/>
                  <a:gdLst>
                    <a:gd name="T0" fmla="*/ 9 w 49"/>
                    <a:gd name="T1" fmla="*/ 67 h 67"/>
                    <a:gd name="T2" fmla="*/ 46 w 49"/>
                    <a:gd name="T3" fmla="*/ 35 h 67"/>
                    <a:gd name="T4" fmla="*/ 38 w 49"/>
                    <a:gd name="T5" fmla="*/ 5 h 67"/>
                    <a:gd name="T6" fmla="*/ 10 w 49"/>
                    <a:gd name="T7" fmla="*/ 18 h 67"/>
                    <a:gd name="T8" fmla="*/ 9 w 49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67">
                      <a:moveTo>
                        <a:pt x="9" y="67"/>
                      </a:moveTo>
                      <a:cubicBezTo>
                        <a:pt x="9" y="67"/>
                        <a:pt x="36" y="57"/>
                        <a:pt x="46" y="35"/>
                      </a:cubicBezTo>
                      <a:cubicBezTo>
                        <a:pt x="49" y="27"/>
                        <a:pt x="48" y="10"/>
                        <a:pt x="38" y="5"/>
                      </a:cubicBezTo>
                      <a:cubicBezTo>
                        <a:pt x="28" y="0"/>
                        <a:pt x="15" y="7"/>
                        <a:pt x="10" y="18"/>
                      </a:cubicBezTo>
                      <a:cubicBezTo>
                        <a:pt x="0" y="40"/>
                        <a:pt x="9" y="67"/>
                        <a:pt x="9" y="67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4" name="Freeform 88">
                  <a:extLst>
                    <a:ext uri="{FF2B5EF4-FFF2-40B4-BE49-F238E27FC236}">
                      <a16:creationId xmlns:a16="http://schemas.microsoft.com/office/drawing/2014/main" id="{74C38AB0-D9B4-4C17-BEB9-7967C8A65D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427912" y="10073645"/>
                  <a:ext cx="169863" cy="106362"/>
                </a:xfrm>
                <a:custGeom>
                  <a:avLst/>
                  <a:gdLst>
                    <a:gd name="T0" fmla="*/ 70 w 70"/>
                    <a:gd name="T1" fmla="*/ 30 h 44"/>
                    <a:gd name="T2" fmla="*/ 30 w 70"/>
                    <a:gd name="T3" fmla="*/ 2 h 44"/>
                    <a:gd name="T4" fmla="*/ 2 w 70"/>
                    <a:gd name="T5" fmla="*/ 15 h 44"/>
                    <a:gd name="T6" fmla="*/ 23 w 70"/>
                    <a:gd name="T7" fmla="*/ 39 h 44"/>
                    <a:gd name="T8" fmla="*/ 70 w 70"/>
                    <a:gd name="T9" fmla="*/ 3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0" h="44">
                      <a:moveTo>
                        <a:pt x="70" y="30"/>
                      </a:moveTo>
                      <a:cubicBezTo>
                        <a:pt x="70" y="30"/>
                        <a:pt x="55" y="7"/>
                        <a:pt x="30" y="2"/>
                      </a:cubicBezTo>
                      <a:cubicBezTo>
                        <a:pt x="22" y="0"/>
                        <a:pt x="5" y="5"/>
                        <a:pt x="2" y="15"/>
                      </a:cubicBezTo>
                      <a:cubicBezTo>
                        <a:pt x="0" y="26"/>
                        <a:pt x="10" y="36"/>
                        <a:pt x="23" y="39"/>
                      </a:cubicBezTo>
                      <a:cubicBezTo>
                        <a:pt x="47" y="44"/>
                        <a:pt x="70" y="30"/>
                        <a:pt x="70" y="3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5" name="Freeform 89">
                  <a:extLst>
                    <a:ext uri="{FF2B5EF4-FFF2-40B4-BE49-F238E27FC236}">
                      <a16:creationId xmlns:a16="http://schemas.microsoft.com/office/drawing/2014/main" id="{D5B57273-2D54-4118-9DE8-8ABE24D5F0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73912" y="10888033"/>
                  <a:ext cx="157163" cy="125412"/>
                </a:xfrm>
                <a:custGeom>
                  <a:avLst/>
                  <a:gdLst>
                    <a:gd name="T0" fmla="*/ 65 w 65"/>
                    <a:gd name="T1" fmla="*/ 52 h 52"/>
                    <a:gd name="T2" fmla="*/ 40 w 65"/>
                    <a:gd name="T3" fmla="*/ 12 h 52"/>
                    <a:gd name="T4" fmla="*/ 6 w 65"/>
                    <a:gd name="T5" fmla="*/ 5 h 52"/>
                    <a:gd name="T6" fmla="*/ 15 w 65"/>
                    <a:gd name="T7" fmla="*/ 31 h 52"/>
                    <a:gd name="T8" fmla="*/ 65 w 65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52">
                      <a:moveTo>
                        <a:pt x="65" y="52"/>
                      </a:moveTo>
                      <a:cubicBezTo>
                        <a:pt x="65" y="52"/>
                        <a:pt x="61" y="29"/>
                        <a:pt x="40" y="12"/>
                      </a:cubicBezTo>
                      <a:cubicBezTo>
                        <a:pt x="32" y="6"/>
                        <a:pt x="13" y="0"/>
                        <a:pt x="6" y="5"/>
                      </a:cubicBezTo>
                      <a:cubicBezTo>
                        <a:pt x="0" y="10"/>
                        <a:pt x="4" y="22"/>
                        <a:pt x="15" y="31"/>
                      </a:cubicBezTo>
                      <a:cubicBezTo>
                        <a:pt x="36" y="48"/>
                        <a:pt x="65" y="52"/>
                        <a:pt x="65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6" name="Freeform 90">
                  <a:extLst>
                    <a:ext uri="{FF2B5EF4-FFF2-40B4-BE49-F238E27FC236}">
                      <a16:creationId xmlns:a16="http://schemas.microsoft.com/office/drawing/2014/main" id="{32B63A02-9F38-4A5B-B888-CCA2C38D64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65987" y="10524495"/>
                  <a:ext cx="168275" cy="55562"/>
                </a:xfrm>
                <a:custGeom>
                  <a:avLst/>
                  <a:gdLst>
                    <a:gd name="T0" fmla="*/ 69 w 69"/>
                    <a:gd name="T1" fmla="*/ 12 h 23"/>
                    <a:gd name="T2" fmla="*/ 32 w 69"/>
                    <a:gd name="T3" fmla="*/ 1 h 23"/>
                    <a:gd name="T4" fmla="*/ 3 w 69"/>
                    <a:gd name="T5" fmla="*/ 12 h 23"/>
                    <a:gd name="T6" fmla="*/ 21 w 69"/>
                    <a:gd name="T7" fmla="*/ 23 h 23"/>
                    <a:gd name="T8" fmla="*/ 69 w 69"/>
                    <a:gd name="T9" fmla="*/ 1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23">
                      <a:moveTo>
                        <a:pt x="69" y="12"/>
                      </a:moveTo>
                      <a:cubicBezTo>
                        <a:pt x="69" y="12"/>
                        <a:pt x="55" y="1"/>
                        <a:pt x="32" y="1"/>
                      </a:cubicBezTo>
                      <a:cubicBezTo>
                        <a:pt x="23" y="0"/>
                        <a:pt x="6" y="5"/>
                        <a:pt x="3" y="12"/>
                      </a:cubicBezTo>
                      <a:cubicBezTo>
                        <a:pt x="0" y="18"/>
                        <a:pt x="9" y="23"/>
                        <a:pt x="21" y="23"/>
                      </a:cubicBezTo>
                      <a:cubicBezTo>
                        <a:pt x="45" y="23"/>
                        <a:pt x="69" y="12"/>
                        <a:pt x="69" y="1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7" name="Freeform 91">
                  <a:extLst>
                    <a:ext uri="{FF2B5EF4-FFF2-40B4-BE49-F238E27FC236}">
                      <a16:creationId xmlns:a16="http://schemas.microsoft.com/office/drawing/2014/main" id="{38ED5E6C-214F-4427-9376-572FCA4BC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61212" y="10211758"/>
                  <a:ext cx="68263" cy="146050"/>
                </a:xfrm>
                <a:custGeom>
                  <a:avLst/>
                  <a:gdLst>
                    <a:gd name="T0" fmla="*/ 4 w 28"/>
                    <a:gd name="T1" fmla="*/ 60 h 60"/>
                    <a:gd name="T2" fmla="*/ 25 w 28"/>
                    <a:gd name="T3" fmla="*/ 32 h 60"/>
                    <a:gd name="T4" fmla="*/ 23 w 28"/>
                    <a:gd name="T5" fmla="*/ 5 h 60"/>
                    <a:gd name="T6" fmla="*/ 7 w 28"/>
                    <a:gd name="T7" fmla="*/ 16 h 60"/>
                    <a:gd name="T8" fmla="*/ 4 w 28"/>
                    <a:gd name="T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60">
                      <a:moveTo>
                        <a:pt x="4" y="60"/>
                      </a:moveTo>
                      <a:cubicBezTo>
                        <a:pt x="4" y="60"/>
                        <a:pt x="18" y="52"/>
                        <a:pt x="25" y="32"/>
                      </a:cubicBezTo>
                      <a:cubicBezTo>
                        <a:pt x="28" y="25"/>
                        <a:pt x="28" y="9"/>
                        <a:pt x="23" y="5"/>
                      </a:cubicBezTo>
                      <a:cubicBezTo>
                        <a:pt x="18" y="0"/>
                        <a:pt x="11" y="6"/>
                        <a:pt x="7" y="16"/>
                      </a:cubicBezTo>
                      <a:cubicBezTo>
                        <a:pt x="0" y="36"/>
                        <a:pt x="4" y="60"/>
                        <a:pt x="4" y="6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8" name="Freeform 92">
                  <a:extLst>
                    <a:ext uri="{FF2B5EF4-FFF2-40B4-BE49-F238E27FC236}">
                      <a16:creationId xmlns:a16="http://schemas.microsoft.com/office/drawing/2014/main" id="{32A0724D-E988-482D-A683-70FBE970EE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65974" y="10675308"/>
                  <a:ext cx="115888" cy="130175"/>
                </a:xfrm>
                <a:custGeom>
                  <a:avLst/>
                  <a:gdLst>
                    <a:gd name="T0" fmla="*/ 48 w 48"/>
                    <a:gd name="T1" fmla="*/ 50 h 54"/>
                    <a:gd name="T2" fmla="*/ 25 w 48"/>
                    <a:gd name="T3" fmla="*/ 7 h 54"/>
                    <a:gd name="T4" fmla="*/ 3 w 48"/>
                    <a:gd name="T5" fmla="*/ 9 h 54"/>
                    <a:gd name="T6" fmla="*/ 14 w 48"/>
                    <a:gd name="T7" fmla="*/ 40 h 54"/>
                    <a:gd name="T8" fmla="*/ 48 w 48"/>
                    <a:gd name="T9" fmla="*/ 5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54">
                      <a:moveTo>
                        <a:pt x="48" y="50"/>
                      </a:moveTo>
                      <a:cubicBezTo>
                        <a:pt x="48" y="50"/>
                        <a:pt x="41" y="22"/>
                        <a:pt x="25" y="7"/>
                      </a:cubicBezTo>
                      <a:cubicBezTo>
                        <a:pt x="19" y="2"/>
                        <a:pt x="6" y="0"/>
                        <a:pt x="3" y="9"/>
                      </a:cubicBezTo>
                      <a:cubicBezTo>
                        <a:pt x="0" y="18"/>
                        <a:pt x="5" y="32"/>
                        <a:pt x="14" y="40"/>
                      </a:cubicBezTo>
                      <a:cubicBezTo>
                        <a:pt x="30" y="54"/>
                        <a:pt x="48" y="50"/>
                        <a:pt x="48" y="5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9" name="Freeform 93">
                  <a:extLst>
                    <a:ext uri="{FF2B5EF4-FFF2-40B4-BE49-F238E27FC236}">
                      <a16:creationId xmlns:a16="http://schemas.microsoft.com/office/drawing/2014/main" id="{1CF29C99-76CF-415E-A8A4-B597CE7EB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08824" y="10413370"/>
                  <a:ext cx="147638" cy="149225"/>
                </a:xfrm>
                <a:custGeom>
                  <a:avLst/>
                  <a:gdLst>
                    <a:gd name="T0" fmla="*/ 3 w 61"/>
                    <a:gd name="T1" fmla="*/ 62 h 62"/>
                    <a:gd name="T2" fmla="*/ 52 w 61"/>
                    <a:gd name="T3" fmla="*/ 28 h 62"/>
                    <a:gd name="T4" fmla="*/ 51 w 61"/>
                    <a:gd name="T5" fmla="*/ 2 h 62"/>
                    <a:gd name="T6" fmla="*/ 17 w 61"/>
                    <a:gd name="T7" fmla="*/ 19 h 62"/>
                    <a:gd name="T8" fmla="*/ 3 w 61"/>
                    <a:gd name="T9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2">
                      <a:moveTo>
                        <a:pt x="3" y="62"/>
                      </a:moveTo>
                      <a:cubicBezTo>
                        <a:pt x="3" y="62"/>
                        <a:pt x="35" y="49"/>
                        <a:pt x="52" y="28"/>
                      </a:cubicBezTo>
                      <a:cubicBezTo>
                        <a:pt x="58" y="20"/>
                        <a:pt x="61" y="4"/>
                        <a:pt x="51" y="2"/>
                      </a:cubicBezTo>
                      <a:cubicBezTo>
                        <a:pt x="41" y="0"/>
                        <a:pt x="26" y="8"/>
                        <a:pt x="17" y="19"/>
                      </a:cubicBezTo>
                      <a:cubicBezTo>
                        <a:pt x="0" y="40"/>
                        <a:pt x="3" y="62"/>
                        <a:pt x="3" y="6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0" name="Freeform 94">
                  <a:extLst>
                    <a:ext uri="{FF2B5EF4-FFF2-40B4-BE49-F238E27FC236}">
                      <a16:creationId xmlns:a16="http://schemas.microsoft.com/office/drawing/2014/main" id="{8812382D-9DAA-4FEB-833F-ADD9FB2A3E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51674" y="10659433"/>
                  <a:ext cx="136525" cy="144462"/>
                </a:xfrm>
                <a:custGeom>
                  <a:avLst/>
                  <a:gdLst>
                    <a:gd name="T0" fmla="*/ 6 w 57"/>
                    <a:gd name="T1" fmla="*/ 59 h 59"/>
                    <a:gd name="T2" fmla="*/ 50 w 57"/>
                    <a:gd name="T3" fmla="*/ 26 h 59"/>
                    <a:gd name="T4" fmla="*/ 47 w 57"/>
                    <a:gd name="T5" fmla="*/ 3 h 59"/>
                    <a:gd name="T6" fmla="*/ 14 w 57"/>
                    <a:gd name="T7" fmla="*/ 19 h 59"/>
                    <a:gd name="T8" fmla="*/ 6 w 57"/>
                    <a:gd name="T9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6" y="59"/>
                      </a:moveTo>
                      <a:cubicBezTo>
                        <a:pt x="6" y="59"/>
                        <a:pt x="35" y="46"/>
                        <a:pt x="50" y="26"/>
                      </a:cubicBezTo>
                      <a:cubicBezTo>
                        <a:pt x="55" y="19"/>
                        <a:pt x="57" y="5"/>
                        <a:pt x="47" y="3"/>
                      </a:cubicBezTo>
                      <a:cubicBezTo>
                        <a:pt x="37" y="0"/>
                        <a:pt x="22" y="8"/>
                        <a:pt x="14" y="19"/>
                      </a:cubicBezTo>
                      <a:cubicBezTo>
                        <a:pt x="0" y="39"/>
                        <a:pt x="6" y="59"/>
                        <a:pt x="6" y="59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1" name="Freeform 95">
                  <a:extLst>
                    <a:ext uri="{FF2B5EF4-FFF2-40B4-BE49-F238E27FC236}">
                      <a16:creationId xmlns:a16="http://schemas.microsoft.com/office/drawing/2014/main" id="{47D1F5B1-F1F1-434A-8D2A-97AA317AF8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54974" y="9994270"/>
                  <a:ext cx="138113" cy="125412"/>
                </a:xfrm>
                <a:custGeom>
                  <a:avLst/>
                  <a:gdLst>
                    <a:gd name="T0" fmla="*/ 0 w 57"/>
                    <a:gd name="T1" fmla="*/ 52 h 52"/>
                    <a:gd name="T2" fmla="*/ 43 w 57"/>
                    <a:gd name="T3" fmla="*/ 33 h 52"/>
                    <a:gd name="T4" fmla="*/ 52 w 57"/>
                    <a:gd name="T5" fmla="*/ 6 h 52"/>
                    <a:gd name="T6" fmla="*/ 23 w 57"/>
                    <a:gd name="T7" fmla="*/ 11 h 52"/>
                    <a:gd name="T8" fmla="*/ 0 w 57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2">
                      <a:moveTo>
                        <a:pt x="0" y="52"/>
                      </a:moveTo>
                      <a:cubicBezTo>
                        <a:pt x="0" y="52"/>
                        <a:pt x="25" y="50"/>
                        <a:pt x="43" y="33"/>
                      </a:cubicBezTo>
                      <a:cubicBezTo>
                        <a:pt x="50" y="27"/>
                        <a:pt x="57" y="12"/>
                        <a:pt x="52" y="6"/>
                      </a:cubicBezTo>
                      <a:cubicBezTo>
                        <a:pt x="46" y="0"/>
                        <a:pt x="33" y="2"/>
                        <a:pt x="23" y="11"/>
                      </a:cubicBezTo>
                      <a:cubicBezTo>
                        <a:pt x="5" y="27"/>
                        <a:pt x="0" y="52"/>
                        <a:pt x="0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2" name="Freeform 97">
                  <a:extLst>
                    <a:ext uri="{FF2B5EF4-FFF2-40B4-BE49-F238E27FC236}">
                      <a16:creationId xmlns:a16="http://schemas.microsoft.com/office/drawing/2014/main" id="{389C700B-809B-4560-93FF-987D097A9F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46924" y="11126158"/>
                  <a:ext cx="150813" cy="92075"/>
                </a:xfrm>
                <a:custGeom>
                  <a:avLst/>
                  <a:gdLst>
                    <a:gd name="T0" fmla="*/ 62 w 62"/>
                    <a:gd name="T1" fmla="*/ 38 h 38"/>
                    <a:gd name="T2" fmla="*/ 36 w 62"/>
                    <a:gd name="T3" fmla="*/ 9 h 38"/>
                    <a:gd name="T4" fmla="*/ 5 w 62"/>
                    <a:gd name="T5" fmla="*/ 4 h 38"/>
                    <a:gd name="T6" fmla="*/ 15 w 62"/>
                    <a:gd name="T7" fmla="*/ 23 h 38"/>
                    <a:gd name="T8" fmla="*/ 62 w 62"/>
                    <a:gd name="T9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38">
                      <a:moveTo>
                        <a:pt x="62" y="38"/>
                      </a:moveTo>
                      <a:cubicBezTo>
                        <a:pt x="62" y="38"/>
                        <a:pt x="56" y="21"/>
                        <a:pt x="36" y="9"/>
                      </a:cubicBezTo>
                      <a:cubicBezTo>
                        <a:pt x="28" y="4"/>
                        <a:pt x="11" y="0"/>
                        <a:pt x="5" y="4"/>
                      </a:cubicBezTo>
                      <a:cubicBezTo>
                        <a:pt x="0" y="7"/>
                        <a:pt x="4" y="16"/>
                        <a:pt x="15" y="23"/>
                      </a:cubicBezTo>
                      <a:cubicBezTo>
                        <a:pt x="35" y="35"/>
                        <a:pt x="62" y="38"/>
                        <a:pt x="62" y="3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3" name="Freeform 98">
                  <a:extLst>
                    <a:ext uri="{FF2B5EF4-FFF2-40B4-BE49-F238E27FC236}">
                      <a16:creationId xmlns:a16="http://schemas.microsoft.com/office/drawing/2014/main" id="{AE7EA035-F542-4832-A25C-86EA93A73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43799" y="10326058"/>
                  <a:ext cx="133350" cy="98425"/>
                </a:xfrm>
                <a:custGeom>
                  <a:avLst/>
                  <a:gdLst>
                    <a:gd name="T0" fmla="*/ 55 w 55"/>
                    <a:gd name="T1" fmla="*/ 34 h 41"/>
                    <a:gd name="T2" fmla="*/ 19 w 55"/>
                    <a:gd name="T3" fmla="*/ 3 h 41"/>
                    <a:gd name="T4" fmla="*/ 0 w 55"/>
                    <a:gd name="T5" fmla="*/ 10 h 41"/>
                    <a:gd name="T6" fmla="*/ 20 w 55"/>
                    <a:gd name="T7" fmla="*/ 33 h 41"/>
                    <a:gd name="T8" fmla="*/ 55 w 55"/>
                    <a:gd name="T9" fmla="*/ 34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5" h="41">
                      <a:moveTo>
                        <a:pt x="55" y="34"/>
                      </a:moveTo>
                      <a:cubicBezTo>
                        <a:pt x="55" y="34"/>
                        <a:pt x="39" y="12"/>
                        <a:pt x="19" y="3"/>
                      </a:cubicBezTo>
                      <a:cubicBezTo>
                        <a:pt x="12" y="0"/>
                        <a:pt x="0" y="2"/>
                        <a:pt x="0" y="10"/>
                      </a:cubicBezTo>
                      <a:cubicBezTo>
                        <a:pt x="0" y="18"/>
                        <a:pt x="9" y="29"/>
                        <a:pt x="20" y="33"/>
                      </a:cubicBezTo>
                      <a:cubicBezTo>
                        <a:pt x="40" y="41"/>
                        <a:pt x="55" y="34"/>
                        <a:pt x="55" y="34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4" name="Freeform 100">
                  <a:extLst>
                    <a:ext uri="{FF2B5EF4-FFF2-40B4-BE49-F238E27FC236}">
                      <a16:creationId xmlns:a16="http://schemas.microsoft.com/office/drawing/2014/main" id="{48F900CB-EE73-4FF3-9ED1-D49C6C622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05637" y="11099170"/>
                  <a:ext cx="139700" cy="123825"/>
                </a:xfrm>
                <a:custGeom>
                  <a:avLst/>
                  <a:gdLst>
                    <a:gd name="T0" fmla="*/ 5 w 58"/>
                    <a:gd name="T1" fmla="*/ 51 h 51"/>
                    <a:gd name="T2" fmla="*/ 50 w 58"/>
                    <a:gd name="T3" fmla="*/ 25 h 51"/>
                    <a:gd name="T4" fmla="*/ 48 w 58"/>
                    <a:gd name="T5" fmla="*/ 3 h 51"/>
                    <a:gd name="T6" fmla="*/ 16 w 58"/>
                    <a:gd name="T7" fmla="*/ 14 h 51"/>
                    <a:gd name="T8" fmla="*/ 5 w 58"/>
                    <a:gd name="T9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" h="51">
                      <a:moveTo>
                        <a:pt x="5" y="51"/>
                      </a:moveTo>
                      <a:cubicBezTo>
                        <a:pt x="5" y="51"/>
                        <a:pt x="35" y="43"/>
                        <a:pt x="50" y="25"/>
                      </a:cubicBezTo>
                      <a:cubicBezTo>
                        <a:pt x="56" y="19"/>
                        <a:pt x="58" y="6"/>
                        <a:pt x="48" y="3"/>
                      </a:cubicBezTo>
                      <a:cubicBezTo>
                        <a:pt x="39" y="0"/>
                        <a:pt x="24" y="5"/>
                        <a:pt x="16" y="14"/>
                      </a:cubicBezTo>
                      <a:cubicBezTo>
                        <a:pt x="0" y="31"/>
                        <a:pt x="5" y="51"/>
                        <a:pt x="5" y="51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5" name="Freeform 101">
                  <a:extLst>
                    <a:ext uri="{FF2B5EF4-FFF2-40B4-BE49-F238E27FC236}">
                      <a16:creationId xmlns:a16="http://schemas.microsoft.com/office/drawing/2014/main" id="{7D37152A-3F54-4846-9EC8-E6F496A9BA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50124" y="10291133"/>
                  <a:ext cx="195263" cy="87312"/>
                </a:xfrm>
                <a:custGeom>
                  <a:avLst/>
                  <a:gdLst>
                    <a:gd name="T0" fmla="*/ 81 w 81"/>
                    <a:gd name="T1" fmla="*/ 34 h 36"/>
                    <a:gd name="T2" fmla="*/ 40 w 81"/>
                    <a:gd name="T3" fmla="*/ 5 h 36"/>
                    <a:gd name="T4" fmla="*/ 5 w 81"/>
                    <a:gd name="T5" fmla="*/ 6 h 36"/>
                    <a:gd name="T6" fmla="*/ 23 w 81"/>
                    <a:gd name="T7" fmla="*/ 26 h 36"/>
                    <a:gd name="T8" fmla="*/ 81 w 81"/>
                    <a:gd name="T9" fmla="*/ 3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1" h="36">
                      <a:moveTo>
                        <a:pt x="81" y="34"/>
                      </a:moveTo>
                      <a:cubicBezTo>
                        <a:pt x="81" y="34"/>
                        <a:pt x="67" y="15"/>
                        <a:pt x="40" y="5"/>
                      </a:cubicBezTo>
                      <a:cubicBezTo>
                        <a:pt x="30" y="1"/>
                        <a:pt x="9" y="0"/>
                        <a:pt x="5" y="6"/>
                      </a:cubicBezTo>
                      <a:cubicBezTo>
                        <a:pt x="0" y="11"/>
                        <a:pt x="9" y="21"/>
                        <a:pt x="23" y="26"/>
                      </a:cubicBezTo>
                      <a:cubicBezTo>
                        <a:pt x="50" y="36"/>
                        <a:pt x="81" y="34"/>
                        <a:pt x="81" y="34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24" name="Freeform 102">
                <a:extLst>
                  <a:ext uri="{FF2B5EF4-FFF2-40B4-BE49-F238E27FC236}">
                    <a16:creationId xmlns:a16="http://schemas.microsoft.com/office/drawing/2014/main" id="{6D314DB7-D0E2-46B7-8151-9F8963168E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73874" y="9952995"/>
                <a:ext cx="1366838" cy="2463800"/>
              </a:xfrm>
              <a:custGeom>
                <a:avLst/>
                <a:gdLst>
                  <a:gd name="T0" fmla="*/ 158 w 564"/>
                  <a:gd name="T1" fmla="*/ 626 h 1017"/>
                  <a:gd name="T2" fmla="*/ 184 w 564"/>
                  <a:gd name="T3" fmla="*/ 625 h 1017"/>
                  <a:gd name="T4" fmla="*/ 104 w 564"/>
                  <a:gd name="T5" fmla="*/ 578 h 1017"/>
                  <a:gd name="T6" fmla="*/ 66 w 564"/>
                  <a:gd name="T7" fmla="*/ 538 h 1017"/>
                  <a:gd name="T8" fmla="*/ 74 w 564"/>
                  <a:gd name="T9" fmla="*/ 524 h 1017"/>
                  <a:gd name="T10" fmla="*/ 94 w 564"/>
                  <a:gd name="T11" fmla="*/ 491 h 1017"/>
                  <a:gd name="T12" fmla="*/ 152 w 564"/>
                  <a:gd name="T13" fmla="*/ 538 h 1017"/>
                  <a:gd name="T14" fmla="*/ 104 w 564"/>
                  <a:gd name="T15" fmla="*/ 471 h 1017"/>
                  <a:gd name="T16" fmla="*/ 183 w 564"/>
                  <a:gd name="T17" fmla="*/ 307 h 1017"/>
                  <a:gd name="T18" fmla="*/ 267 w 564"/>
                  <a:gd name="T19" fmla="*/ 358 h 1017"/>
                  <a:gd name="T20" fmla="*/ 276 w 564"/>
                  <a:gd name="T21" fmla="*/ 358 h 1017"/>
                  <a:gd name="T22" fmla="*/ 196 w 564"/>
                  <a:gd name="T23" fmla="*/ 282 h 1017"/>
                  <a:gd name="T24" fmla="*/ 198 w 564"/>
                  <a:gd name="T25" fmla="*/ 279 h 1017"/>
                  <a:gd name="T26" fmla="*/ 236 w 564"/>
                  <a:gd name="T27" fmla="*/ 207 h 1017"/>
                  <a:gd name="T28" fmla="*/ 259 w 564"/>
                  <a:gd name="T29" fmla="*/ 213 h 1017"/>
                  <a:gd name="T30" fmla="*/ 239 w 564"/>
                  <a:gd name="T31" fmla="*/ 200 h 1017"/>
                  <a:gd name="T32" fmla="*/ 273 w 564"/>
                  <a:gd name="T33" fmla="*/ 136 h 1017"/>
                  <a:gd name="T34" fmla="*/ 364 w 564"/>
                  <a:gd name="T35" fmla="*/ 206 h 1017"/>
                  <a:gd name="T36" fmla="*/ 295 w 564"/>
                  <a:gd name="T37" fmla="*/ 99 h 1017"/>
                  <a:gd name="T38" fmla="*/ 312 w 564"/>
                  <a:gd name="T39" fmla="*/ 78 h 1017"/>
                  <a:gd name="T40" fmla="*/ 465 w 564"/>
                  <a:gd name="T41" fmla="*/ 9 h 1017"/>
                  <a:gd name="T42" fmla="*/ 534 w 564"/>
                  <a:gd name="T43" fmla="*/ 138 h 1017"/>
                  <a:gd name="T44" fmla="*/ 554 w 564"/>
                  <a:gd name="T45" fmla="*/ 205 h 1017"/>
                  <a:gd name="T46" fmla="*/ 454 w 564"/>
                  <a:gd name="T47" fmla="*/ 236 h 1017"/>
                  <a:gd name="T48" fmla="*/ 502 w 564"/>
                  <a:gd name="T49" fmla="*/ 247 h 1017"/>
                  <a:gd name="T50" fmla="*/ 560 w 564"/>
                  <a:gd name="T51" fmla="*/ 243 h 1017"/>
                  <a:gd name="T52" fmla="*/ 562 w 564"/>
                  <a:gd name="T53" fmla="*/ 345 h 1017"/>
                  <a:gd name="T54" fmla="*/ 492 w 564"/>
                  <a:gd name="T55" fmla="*/ 357 h 1017"/>
                  <a:gd name="T56" fmla="*/ 479 w 564"/>
                  <a:gd name="T57" fmla="*/ 356 h 1017"/>
                  <a:gd name="T58" fmla="*/ 542 w 564"/>
                  <a:gd name="T59" fmla="*/ 377 h 1017"/>
                  <a:gd name="T60" fmla="*/ 559 w 564"/>
                  <a:gd name="T61" fmla="*/ 378 h 1017"/>
                  <a:gd name="T62" fmla="*/ 548 w 564"/>
                  <a:gd name="T63" fmla="*/ 446 h 1017"/>
                  <a:gd name="T64" fmla="*/ 527 w 564"/>
                  <a:gd name="T65" fmla="*/ 515 h 1017"/>
                  <a:gd name="T66" fmla="*/ 523 w 564"/>
                  <a:gd name="T67" fmla="*/ 512 h 1017"/>
                  <a:gd name="T68" fmla="*/ 499 w 564"/>
                  <a:gd name="T69" fmla="*/ 500 h 1017"/>
                  <a:gd name="T70" fmla="*/ 522 w 564"/>
                  <a:gd name="T71" fmla="*/ 526 h 1017"/>
                  <a:gd name="T72" fmla="*/ 490 w 564"/>
                  <a:gd name="T73" fmla="*/ 594 h 1017"/>
                  <a:gd name="T74" fmla="*/ 415 w 564"/>
                  <a:gd name="T75" fmla="*/ 571 h 1017"/>
                  <a:gd name="T76" fmla="*/ 477 w 564"/>
                  <a:gd name="T77" fmla="*/ 618 h 1017"/>
                  <a:gd name="T78" fmla="*/ 429 w 564"/>
                  <a:gd name="T79" fmla="*/ 705 h 1017"/>
                  <a:gd name="T80" fmla="*/ 378 w 564"/>
                  <a:gd name="T81" fmla="*/ 664 h 1017"/>
                  <a:gd name="T82" fmla="*/ 419 w 564"/>
                  <a:gd name="T83" fmla="*/ 722 h 1017"/>
                  <a:gd name="T84" fmla="*/ 343 w 564"/>
                  <a:gd name="T85" fmla="*/ 844 h 1017"/>
                  <a:gd name="T86" fmla="*/ 294 w 564"/>
                  <a:gd name="T87" fmla="*/ 793 h 1017"/>
                  <a:gd name="T88" fmla="*/ 332 w 564"/>
                  <a:gd name="T89" fmla="*/ 861 h 1017"/>
                  <a:gd name="T90" fmla="*/ 319 w 564"/>
                  <a:gd name="T91" fmla="*/ 882 h 1017"/>
                  <a:gd name="T92" fmla="*/ 94 w 564"/>
                  <a:gd name="T93" fmla="*/ 922 h 1017"/>
                  <a:gd name="T94" fmla="*/ 4 w 564"/>
                  <a:gd name="T95" fmla="*/ 731 h 1017"/>
                  <a:gd name="T96" fmla="*/ 59 w 564"/>
                  <a:gd name="T97" fmla="*/ 551 h 1017"/>
                  <a:gd name="T98" fmla="*/ 158 w 564"/>
                  <a:gd name="T99" fmla="*/ 626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64" h="1017">
                    <a:moveTo>
                      <a:pt x="158" y="626"/>
                    </a:moveTo>
                    <a:cubicBezTo>
                      <a:pt x="167" y="627"/>
                      <a:pt x="176" y="626"/>
                      <a:pt x="184" y="625"/>
                    </a:cubicBezTo>
                    <a:cubicBezTo>
                      <a:pt x="157" y="616"/>
                      <a:pt x="130" y="600"/>
                      <a:pt x="104" y="578"/>
                    </a:cubicBezTo>
                    <a:cubicBezTo>
                      <a:pt x="90" y="566"/>
                      <a:pt x="77" y="553"/>
                      <a:pt x="66" y="538"/>
                    </a:cubicBezTo>
                    <a:cubicBezTo>
                      <a:pt x="69" y="533"/>
                      <a:pt x="72" y="529"/>
                      <a:pt x="74" y="524"/>
                    </a:cubicBezTo>
                    <a:cubicBezTo>
                      <a:pt x="80" y="516"/>
                      <a:pt x="87" y="504"/>
                      <a:pt x="94" y="491"/>
                    </a:cubicBezTo>
                    <a:cubicBezTo>
                      <a:pt x="110" y="513"/>
                      <a:pt x="130" y="529"/>
                      <a:pt x="152" y="538"/>
                    </a:cubicBezTo>
                    <a:cubicBezTo>
                      <a:pt x="132" y="522"/>
                      <a:pt x="116" y="499"/>
                      <a:pt x="104" y="471"/>
                    </a:cubicBezTo>
                    <a:cubicBezTo>
                      <a:pt x="130" y="420"/>
                      <a:pt x="160" y="352"/>
                      <a:pt x="183" y="307"/>
                    </a:cubicBezTo>
                    <a:cubicBezTo>
                      <a:pt x="205" y="336"/>
                      <a:pt x="234" y="355"/>
                      <a:pt x="267" y="358"/>
                    </a:cubicBezTo>
                    <a:cubicBezTo>
                      <a:pt x="270" y="358"/>
                      <a:pt x="273" y="358"/>
                      <a:pt x="276" y="358"/>
                    </a:cubicBezTo>
                    <a:cubicBezTo>
                      <a:pt x="242" y="347"/>
                      <a:pt x="214" y="319"/>
                      <a:pt x="196" y="282"/>
                    </a:cubicBezTo>
                    <a:cubicBezTo>
                      <a:pt x="197" y="281"/>
                      <a:pt x="197" y="280"/>
                      <a:pt x="198" y="279"/>
                    </a:cubicBezTo>
                    <a:cubicBezTo>
                      <a:pt x="209" y="260"/>
                      <a:pt x="222" y="234"/>
                      <a:pt x="236" y="207"/>
                    </a:cubicBezTo>
                    <a:cubicBezTo>
                      <a:pt x="244" y="208"/>
                      <a:pt x="252" y="210"/>
                      <a:pt x="259" y="213"/>
                    </a:cubicBezTo>
                    <a:cubicBezTo>
                      <a:pt x="253" y="208"/>
                      <a:pt x="246" y="204"/>
                      <a:pt x="239" y="200"/>
                    </a:cubicBezTo>
                    <a:cubicBezTo>
                      <a:pt x="250" y="178"/>
                      <a:pt x="262" y="156"/>
                      <a:pt x="273" y="136"/>
                    </a:cubicBezTo>
                    <a:cubicBezTo>
                      <a:pt x="294" y="174"/>
                      <a:pt x="326" y="200"/>
                      <a:pt x="364" y="206"/>
                    </a:cubicBezTo>
                    <a:cubicBezTo>
                      <a:pt x="331" y="184"/>
                      <a:pt x="306" y="145"/>
                      <a:pt x="295" y="99"/>
                    </a:cubicBezTo>
                    <a:cubicBezTo>
                      <a:pt x="301" y="91"/>
                      <a:pt x="306" y="83"/>
                      <a:pt x="312" y="78"/>
                    </a:cubicBezTo>
                    <a:cubicBezTo>
                      <a:pt x="347" y="39"/>
                      <a:pt x="464" y="0"/>
                      <a:pt x="465" y="9"/>
                    </a:cubicBezTo>
                    <a:cubicBezTo>
                      <a:pt x="469" y="31"/>
                      <a:pt x="494" y="40"/>
                      <a:pt x="534" y="138"/>
                    </a:cubicBezTo>
                    <a:cubicBezTo>
                      <a:pt x="542" y="160"/>
                      <a:pt x="549" y="182"/>
                      <a:pt x="554" y="205"/>
                    </a:cubicBezTo>
                    <a:cubicBezTo>
                      <a:pt x="528" y="225"/>
                      <a:pt x="493" y="237"/>
                      <a:pt x="454" y="236"/>
                    </a:cubicBezTo>
                    <a:cubicBezTo>
                      <a:pt x="469" y="242"/>
                      <a:pt x="485" y="246"/>
                      <a:pt x="502" y="247"/>
                    </a:cubicBezTo>
                    <a:cubicBezTo>
                      <a:pt x="522" y="249"/>
                      <a:pt x="542" y="247"/>
                      <a:pt x="560" y="243"/>
                    </a:cubicBezTo>
                    <a:cubicBezTo>
                      <a:pt x="564" y="277"/>
                      <a:pt x="564" y="311"/>
                      <a:pt x="562" y="345"/>
                    </a:cubicBezTo>
                    <a:cubicBezTo>
                      <a:pt x="542" y="355"/>
                      <a:pt x="518" y="360"/>
                      <a:pt x="492" y="357"/>
                    </a:cubicBezTo>
                    <a:cubicBezTo>
                      <a:pt x="487" y="357"/>
                      <a:pt x="483" y="356"/>
                      <a:pt x="479" y="356"/>
                    </a:cubicBezTo>
                    <a:cubicBezTo>
                      <a:pt x="497" y="367"/>
                      <a:pt x="519" y="375"/>
                      <a:pt x="542" y="377"/>
                    </a:cubicBezTo>
                    <a:cubicBezTo>
                      <a:pt x="548" y="378"/>
                      <a:pt x="553" y="378"/>
                      <a:pt x="559" y="378"/>
                    </a:cubicBezTo>
                    <a:cubicBezTo>
                      <a:pt x="556" y="401"/>
                      <a:pt x="552" y="424"/>
                      <a:pt x="548" y="446"/>
                    </a:cubicBezTo>
                    <a:cubicBezTo>
                      <a:pt x="544" y="466"/>
                      <a:pt x="537" y="489"/>
                      <a:pt x="527" y="515"/>
                    </a:cubicBezTo>
                    <a:cubicBezTo>
                      <a:pt x="525" y="514"/>
                      <a:pt x="524" y="513"/>
                      <a:pt x="523" y="512"/>
                    </a:cubicBezTo>
                    <a:cubicBezTo>
                      <a:pt x="515" y="508"/>
                      <a:pt x="507" y="504"/>
                      <a:pt x="499" y="500"/>
                    </a:cubicBezTo>
                    <a:cubicBezTo>
                      <a:pt x="508" y="509"/>
                      <a:pt x="516" y="518"/>
                      <a:pt x="522" y="526"/>
                    </a:cubicBezTo>
                    <a:cubicBezTo>
                      <a:pt x="513" y="548"/>
                      <a:pt x="502" y="570"/>
                      <a:pt x="490" y="594"/>
                    </a:cubicBezTo>
                    <a:cubicBezTo>
                      <a:pt x="469" y="592"/>
                      <a:pt x="443" y="585"/>
                      <a:pt x="415" y="571"/>
                    </a:cubicBezTo>
                    <a:cubicBezTo>
                      <a:pt x="431" y="588"/>
                      <a:pt x="453" y="604"/>
                      <a:pt x="477" y="618"/>
                    </a:cubicBezTo>
                    <a:cubicBezTo>
                      <a:pt x="462" y="647"/>
                      <a:pt x="446" y="676"/>
                      <a:pt x="429" y="705"/>
                    </a:cubicBezTo>
                    <a:cubicBezTo>
                      <a:pt x="410" y="692"/>
                      <a:pt x="392" y="678"/>
                      <a:pt x="378" y="664"/>
                    </a:cubicBezTo>
                    <a:cubicBezTo>
                      <a:pt x="384" y="681"/>
                      <a:pt x="398" y="702"/>
                      <a:pt x="419" y="722"/>
                    </a:cubicBezTo>
                    <a:cubicBezTo>
                      <a:pt x="394" y="764"/>
                      <a:pt x="368" y="806"/>
                      <a:pt x="343" y="844"/>
                    </a:cubicBezTo>
                    <a:cubicBezTo>
                      <a:pt x="322" y="827"/>
                      <a:pt x="305" y="809"/>
                      <a:pt x="294" y="793"/>
                    </a:cubicBezTo>
                    <a:cubicBezTo>
                      <a:pt x="292" y="811"/>
                      <a:pt x="307" y="836"/>
                      <a:pt x="332" y="861"/>
                    </a:cubicBezTo>
                    <a:cubicBezTo>
                      <a:pt x="328" y="868"/>
                      <a:pt x="324" y="875"/>
                      <a:pt x="319" y="882"/>
                    </a:cubicBezTo>
                    <a:cubicBezTo>
                      <a:pt x="231" y="1017"/>
                      <a:pt x="94" y="922"/>
                      <a:pt x="94" y="922"/>
                    </a:cubicBezTo>
                    <a:cubicBezTo>
                      <a:pt x="94" y="922"/>
                      <a:pt x="13" y="784"/>
                      <a:pt x="4" y="731"/>
                    </a:cubicBezTo>
                    <a:cubicBezTo>
                      <a:pt x="0" y="700"/>
                      <a:pt x="30" y="608"/>
                      <a:pt x="59" y="551"/>
                    </a:cubicBezTo>
                    <a:cubicBezTo>
                      <a:pt x="81" y="593"/>
                      <a:pt x="117" y="622"/>
                      <a:pt x="158" y="626"/>
                    </a:cubicBez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Freeform 103">
                <a:extLst>
                  <a:ext uri="{FF2B5EF4-FFF2-40B4-BE49-F238E27FC236}">
                    <a16:creationId xmlns:a16="http://schemas.microsoft.com/office/drawing/2014/main" id="{1074F0C0-B232-4C5B-A872-1D2F6C715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73874" y="9962520"/>
                <a:ext cx="1123950" cy="2228850"/>
              </a:xfrm>
              <a:custGeom>
                <a:avLst/>
                <a:gdLst>
                  <a:gd name="T0" fmla="*/ 94 w 464"/>
                  <a:gd name="T1" fmla="*/ 918 h 920"/>
                  <a:gd name="T2" fmla="*/ 4 w 464"/>
                  <a:gd name="T3" fmla="*/ 727 h 920"/>
                  <a:gd name="T4" fmla="*/ 59 w 464"/>
                  <a:gd name="T5" fmla="*/ 547 h 920"/>
                  <a:gd name="T6" fmla="*/ 158 w 464"/>
                  <a:gd name="T7" fmla="*/ 622 h 920"/>
                  <a:gd name="T8" fmla="*/ 184 w 464"/>
                  <a:gd name="T9" fmla="*/ 621 h 920"/>
                  <a:gd name="T10" fmla="*/ 104 w 464"/>
                  <a:gd name="T11" fmla="*/ 574 h 920"/>
                  <a:gd name="T12" fmla="*/ 66 w 464"/>
                  <a:gd name="T13" fmla="*/ 534 h 920"/>
                  <a:gd name="T14" fmla="*/ 74 w 464"/>
                  <a:gd name="T15" fmla="*/ 520 h 920"/>
                  <a:gd name="T16" fmla="*/ 94 w 464"/>
                  <a:gd name="T17" fmla="*/ 487 h 920"/>
                  <a:gd name="T18" fmla="*/ 152 w 464"/>
                  <a:gd name="T19" fmla="*/ 534 h 920"/>
                  <a:gd name="T20" fmla="*/ 104 w 464"/>
                  <a:gd name="T21" fmla="*/ 467 h 920"/>
                  <a:gd name="T22" fmla="*/ 183 w 464"/>
                  <a:gd name="T23" fmla="*/ 303 h 920"/>
                  <a:gd name="T24" fmla="*/ 267 w 464"/>
                  <a:gd name="T25" fmla="*/ 354 h 920"/>
                  <a:gd name="T26" fmla="*/ 276 w 464"/>
                  <a:gd name="T27" fmla="*/ 354 h 920"/>
                  <a:gd name="T28" fmla="*/ 196 w 464"/>
                  <a:gd name="T29" fmla="*/ 278 h 920"/>
                  <a:gd name="T30" fmla="*/ 198 w 464"/>
                  <a:gd name="T31" fmla="*/ 275 h 920"/>
                  <a:gd name="T32" fmla="*/ 236 w 464"/>
                  <a:gd name="T33" fmla="*/ 203 h 920"/>
                  <a:gd name="T34" fmla="*/ 259 w 464"/>
                  <a:gd name="T35" fmla="*/ 209 h 920"/>
                  <a:gd name="T36" fmla="*/ 239 w 464"/>
                  <a:gd name="T37" fmla="*/ 196 h 920"/>
                  <a:gd name="T38" fmla="*/ 273 w 464"/>
                  <a:gd name="T39" fmla="*/ 132 h 920"/>
                  <a:gd name="T40" fmla="*/ 364 w 464"/>
                  <a:gd name="T41" fmla="*/ 202 h 920"/>
                  <a:gd name="T42" fmla="*/ 295 w 464"/>
                  <a:gd name="T43" fmla="*/ 95 h 920"/>
                  <a:gd name="T44" fmla="*/ 312 w 464"/>
                  <a:gd name="T45" fmla="*/ 74 h 920"/>
                  <a:gd name="T46" fmla="*/ 464 w 464"/>
                  <a:gd name="T47" fmla="*/ 4 h 920"/>
                  <a:gd name="T48" fmla="*/ 97 w 464"/>
                  <a:gd name="T49" fmla="*/ 920 h 920"/>
                  <a:gd name="T50" fmla="*/ 94 w 464"/>
                  <a:gd name="T51" fmla="*/ 918 h 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64" h="920">
                    <a:moveTo>
                      <a:pt x="94" y="918"/>
                    </a:moveTo>
                    <a:cubicBezTo>
                      <a:pt x="94" y="918"/>
                      <a:pt x="13" y="780"/>
                      <a:pt x="4" y="727"/>
                    </a:cubicBezTo>
                    <a:cubicBezTo>
                      <a:pt x="0" y="696"/>
                      <a:pt x="30" y="604"/>
                      <a:pt x="59" y="547"/>
                    </a:cubicBezTo>
                    <a:cubicBezTo>
                      <a:pt x="81" y="589"/>
                      <a:pt x="117" y="618"/>
                      <a:pt x="158" y="622"/>
                    </a:cubicBezTo>
                    <a:cubicBezTo>
                      <a:pt x="167" y="623"/>
                      <a:pt x="176" y="622"/>
                      <a:pt x="184" y="621"/>
                    </a:cubicBezTo>
                    <a:cubicBezTo>
                      <a:pt x="157" y="612"/>
                      <a:pt x="130" y="596"/>
                      <a:pt x="104" y="574"/>
                    </a:cubicBezTo>
                    <a:cubicBezTo>
                      <a:pt x="90" y="562"/>
                      <a:pt x="77" y="549"/>
                      <a:pt x="66" y="534"/>
                    </a:cubicBezTo>
                    <a:cubicBezTo>
                      <a:pt x="69" y="529"/>
                      <a:pt x="72" y="525"/>
                      <a:pt x="74" y="520"/>
                    </a:cubicBezTo>
                    <a:cubicBezTo>
                      <a:pt x="80" y="512"/>
                      <a:pt x="87" y="500"/>
                      <a:pt x="94" y="487"/>
                    </a:cubicBezTo>
                    <a:cubicBezTo>
                      <a:pt x="110" y="509"/>
                      <a:pt x="130" y="525"/>
                      <a:pt x="152" y="534"/>
                    </a:cubicBezTo>
                    <a:cubicBezTo>
                      <a:pt x="132" y="518"/>
                      <a:pt x="116" y="495"/>
                      <a:pt x="104" y="467"/>
                    </a:cubicBezTo>
                    <a:cubicBezTo>
                      <a:pt x="130" y="416"/>
                      <a:pt x="160" y="348"/>
                      <a:pt x="183" y="303"/>
                    </a:cubicBezTo>
                    <a:cubicBezTo>
                      <a:pt x="205" y="332"/>
                      <a:pt x="234" y="351"/>
                      <a:pt x="267" y="354"/>
                    </a:cubicBezTo>
                    <a:cubicBezTo>
                      <a:pt x="270" y="354"/>
                      <a:pt x="273" y="354"/>
                      <a:pt x="276" y="354"/>
                    </a:cubicBezTo>
                    <a:cubicBezTo>
                      <a:pt x="242" y="343"/>
                      <a:pt x="214" y="315"/>
                      <a:pt x="196" y="278"/>
                    </a:cubicBezTo>
                    <a:cubicBezTo>
                      <a:pt x="197" y="277"/>
                      <a:pt x="197" y="276"/>
                      <a:pt x="198" y="275"/>
                    </a:cubicBezTo>
                    <a:cubicBezTo>
                      <a:pt x="209" y="256"/>
                      <a:pt x="222" y="230"/>
                      <a:pt x="236" y="203"/>
                    </a:cubicBezTo>
                    <a:cubicBezTo>
                      <a:pt x="244" y="204"/>
                      <a:pt x="252" y="206"/>
                      <a:pt x="259" y="209"/>
                    </a:cubicBezTo>
                    <a:cubicBezTo>
                      <a:pt x="253" y="204"/>
                      <a:pt x="246" y="200"/>
                      <a:pt x="239" y="196"/>
                    </a:cubicBezTo>
                    <a:cubicBezTo>
                      <a:pt x="250" y="174"/>
                      <a:pt x="262" y="152"/>
                      <a:pt x="273" y="132"/>
                    </a:cubicBezTo>
                    <a:cubicBezTo>
                      <a:pt x="294" y="170"/>
                      <a:pt x="326" y="196"/>
                      <a:pt x="364" y="202"/>
                    </a:cubicBezTo>
                    <a:cubicBezTo>
                      <a:pt x="331" y="180"/>
                      <a:pt x="306" y="141"/>
                      <a:pt x="295" y="95"/>
                    </a:cubicBezTo>
                    <a:cubicBezTo>
                      <a:pt x="301" y="87"/>
                      <a:pt x="306" y="79"/>
                      <a:pt x="312" y="74"/>
                    </a:cubicBezTo>
                    <a:cubicBezTo>
                      <a:pt x="345" y="37"/>
                      <a:pt x="452" y="0"/>
                      <a:pt x="464" y="4"/>
                    </a:cubicBezTo>
                    <a:cubicBezTo>
                      <a:pt x="394" y="386"/>
                      <a:pt x="263" y="708"/>
                      <a:pt x="97" y="920"/>
                    </a:cubicBezTo>
                    <a:cubicBezTo>
                      <a:pt x="95" y="919"/>
                      <a:pt x="94" y="918"/>
                      <a:pt x="94" y="918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Freeform 104">
                <a:extLst>
                  <a:ext uri="{FF2B5EF4-FFF2-40B4-BE49-F238E27FC236}">
                    <a16:creationId xmlns:a16="http://schemas.microsoft.com/office/drawing/2014/main" id="{CC4095E9-1653-4F54-BE62-248E3A2B0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11987" y="10573708"/>
                <a:ext cx="1003300" cy="1758950"/>
              </a:xfrm>
              <a:custGeom>
                <a:avLst/>
                <a:gdLst>
                  <a:gd name="T0" fmla="*/ 41 w 414"/>
                  <a:gd name="T1" fmla="*/ 408 h 726"/>
                  <a:gd name="T2" fmla="*/ 305 w 414"/>
                  <a:gd name="T3" fmla="*/ 726 h 726"/>
                  <a:gd name="T4" fmla="*/ 374 w 414"/>
                  <a:gd name="T5" fmla="*/ 318 h 726"/>
                  <a:gd name="T6" fmla="*/ 109 w 414"/>
                  <a:gd name="T7" fmla="*/ 0 h 726"/>
                  <a:gd name="T8" fmla="*/ 41 w 414"/>
                  <a:gd name="T9" fmla="*/ 408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4" h="726">
                    <a:moveTo>
                      <a:pt x="41" y="408"/>
                    </a:moveTo>
                    <a:cubicBezTo>
                      <a:pt x="82" y="558"/>
                      <a:pt x="183" y="674"/>
                      <a:pt x="305" y="726"/>
                    </a:cubicBezTo>
                    <a:cubicBezTo>
                      <a:pt x="384" y="619"/>
                      <a:pt x="414" y="469"/>
                      <a:pt x="374" y="318"/>
                    </a:cubicBezTo>
                    <a:cubicBezTo>
                      <a:pt x="333" y="168"/>
                      <a:pt x="232" y="53"/>
                      <a:pt x="109" y="0"/>
                    </a:cubicBezTo>
                    <a:cubicBezTo>
                      <a:pt x="30" y="107"/>
                      <a:pt x="0" y="257"/>
                      <a:pt x="41" y="408"/>
                    </a:cubicBezTo>
                    <a:close/>
                  </a:path>
                </a:pathLst>
              </a:custGeom>
              <a:solidFill>
                <a:srgbClr val="742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Line 105">
                <a:extLst>
                  <a:ext uri="{FF2B5EF4-FFF2-40B4-BE49-F238E27FC236}">
                    <a16:creationId xmlns:a16="http://schemas.microsoft.com/office/drawing/2014/main" id="{B5754191-1456-4F7F-862A-1960BBC259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6713537" y="10711820"/>
                <a:ext cx="419100" cy="15541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Line 106">
                <a:extLst>
                  <a:ext uri="{FF2B5EF4-FFF2-40B4-BE49-F238E27FC236}">
                    <a16:creationId xmlns:a16="http://schemas.microsoft.com/office/drawing/2014/main" id="{B376059E-6BA8-47B9-B034-DF0520BA0F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626224" y="10813420"/>
                <a:ext cx="125413" cy="2206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Line 107">
                <a:extLst>
                  <a:ext uri="{FF2B5EF4-FFF2-40B4-BE49-F238E27FC236}">
                    <a16:creationId xmlns:a16="http://schemas.microsoft.com/office/drawing/2014/main" id="{072AFF3C-8D3D-4C1B-9A4B-2AA56E40E2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553199" y="11027733"/>
                <a:ext cx="153988" cy="2698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Line 108">
                <a:extLst>
                  <a:ext uri="{FF2B5EF4-FFF2-40B4-BE49-F238E27FC236}">
                    <a16:creationId xmlns:a16="http://schemas.microsoft.com/office/drawing/2014/main" id="{CE12B68C-39C6-4278-B54F-BCE2F82307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483349" y="11110283"/>
                <a:ext cx="261938" cy="454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Line 109">
                <a:extLst>
                  <a:ext uri="{FF2B5EF4-FFF2-40B4-BE49-F238E27FC236}">
                    <a16:creationId xmlns:a16="http://schemas.microsoft.com/office/drawing/2014/main" id="{2A49AA6E-EE05-4AEE-9D53-5B4C52F7CE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410324" y="11389683"/>
                <a:ext cx="250825" cy="4381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Line 110">
                <a:extLst>
                  <a:ext uri="{FF2B5EF4-FFF2-40B4-BE49-F238E27FC236}">
                    <a16:creationId xmlns:a16="http://schemas.microsoft.com/office/drawing/2014/main" id="{5FB44096-E267-4783-9C57-8ED2EA4B5F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340474" y="11846883"/>
                <a:ext cx="141288" cy="2476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Line 111">
                <a:extLst>
                  <a:ext uri="{FF2B5EF4-FFF2-40B4-BE49-F238E27FC236}">
                    <a16:creationId xmlns:a16="http://schemas.microsoft.com/office/drawing/2014/main" id="{545E1080-F184-401A-82F3-ED4ED3F1BC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57999" y="10875333"/>
                <a:ext cx="219075" cy="1270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Line 112">
                <a:extLst>
                  <a:ext uri="{FF2B5EF4-FFF2-40B4-BE49-F238E27FC236}">
                    <a16:creationId xmlns:a16="http://schemas.microsoft.com/office/drawing/2014/main" id="{835B88C6-EA39-4A4C-946F-A414DD93F3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908799" y="11069008"/>
                <a:ext cx="342900" cy="1968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Line 113">
                <a:extLst>
                  <a:ext uri="{FF2B5EF4-FFF2-40B4-BE49-F238E27FC236}">
                    <a16:creationId xmlns:a16="http://schemas.microsoft.com/office/drawing/2014/main" id="{EB0C3A4E-41F7-4770-8936-6F31F646E6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924674" y="11284908"/>
                <a:ext cx="428625" cy="2476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Line 114">
                <a:extLst>
                  <a:ext uri="{FF2B5EF4-FFF2-40B4-BE49-F238E27FC236}">
                    <a16:creationId xmlns:a16="http://schemas.microsoft.com/office/drawing/2014/main" id="{AE72D05F-0C8B-427F-987A-5774494AE5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62762" y="11545258"/>
                <a:ext cx="439738" cy="2508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Line 115">
                <a:extLst>
                  <a:ext uri="{FF2B5EF4-FFF2-40B4-BE49-F238E27FC236}">
                    <a16:creationId xmlns:a16="http://schemas.microsoft.com/office/drawing/2014/main" id="{85605F82-C3E7-480B-BE91-8CB71725D7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730999" y="11845295"/>
                <a:ext cx="377825" cy="2174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116">
                <a:extLst>
                  <a:ext uri="{FF2B5EF4-FFF2-40B4-BE49-F238E27FC236}">
                    <a16:creationId xmlns:a16="http://schemas.microsoft.com/office/drawing/2014/main" id="{A21C5026-1897-4626-900C-DD2A178B2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778749" y="11135683"/>
                <a:ext cx="1392238" cy="1330325"/>
              </a:xfrm>
              <a:custGeom>
                <a:avLst/>
                <a:gdLst>
                  <a:gd name="T0" fmla="*/ 172 w 575"/>
                  <a:gd name="T1" fmla="*/ 402 h 549"/>
                  <a:gd name="T2" fmla="*/ 566 w 575"/>
                  <a:gd name="T3" fmla="*/ 527 h 549"/>
                  <a:gd name="T4" fmla="*/ 403 w 575"/>
                  <a:gd name="T5" fmla="*/ 147 h 549"/>
                  <a:gd name="T6" fmla="*/ 8 w 575"/>
                  <a:gd name="T7" fmla="*/ 22 h 549"/>
                  <a:gd name="T8" fmla="*/ 172 w 575"/>
                  <a:gd name="T9" fmla="*/ 402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5" h="549">
                    <a:moveTo>
                      <a:pt x="172" y="402"/>
                    </a:moveTo>
                    <a:cubicBezTo>
                      <a:pt x="287" y="507"/>
                      <a:pt x="435" y="549"/>
                      <a:pt x="566" y="527"/>
                    </a:cubicBezTo>
                    <a:cubicBezTo>
                      <a:pt x="575" y="394"/>
                      <a:pt x="519" y="251"/>
                      <a:pt x="403" y="147"/>
                    </a:cubicBezTo>
                    <a:cubicBezTo>
                      <a:pt x="287" y="42"/>
                      <a:pt x="140" y="0"/>
                      <a:pt x="8" y="22"/>
                    </a:cubicBezTo>
                    <a:cubicBezTo>
                      <a:pt x="0" y="155"/>
                      <a:pt x="56" y="298"/>
                      <a:pt x="172" y="402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Line 117">
                <a:extLst>
                  <a:ext uri="{FF2B5EF4-FFF2-40B4-BE49-F238E27FC236}">
                    <a16:creationId xmlns:a16="http://schemas.microsoft.com/office/drawing/2014/main" id="{754DB6F4-9308-41D0-88EE-6D344A8D7D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654924" y="11288083"/>
                <a:ext cx="1193800" cy="10826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Line 118">
                <a:extLst>
                  <a:ext uri="{FF2B5EF4-FFF2-40B4-BE49-F238E27FC236}">
                    <a16:creationId xmlns:a16="http://schemas.microsoft.com/office/drawing/2014/main" id="{62851F21-EF72-4FD7-BDEB-E5DD864449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419974" y="11257920"/>
                <a:ext cx="11113" cy="2524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Line 119">
                <a:extLst>
                  <a:ext uri="{FF2B5EF4-FFF2-40B4-BE49-F238E27FC236}">
                    <a16:creationId xmlns:a16="http://schemas.microsoft.com/office/drawing/2014/main" id="{CFCAAED6-C788-4FBD-8936-58FE6A49AD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219949" y="11381745"/>
                <a:ext cx="14288" cy="3127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Line 120">
                <a:extLst>
                  <a:ext uri="{FF2B5EF4-FFF2-40B4-BE49-F238E27FC236}">
                    <a16:creationId xmlns:a16="http://schemas.microsoft.com/office/drawing/2014/main" id="{4A65BB1F-20E5-4690-A82E-13D4864F07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027862" y="11357933"/>
                <a:ext cx="26988" cy="520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Line 121">
                <a:extLst>
                  <a:ext uri="{FF2B5EF4-FFF2-40B4-BE49-F238E27FC236}">
                    <a16:creationId xmlns:a16="http://schemas.microsoft.com/office/drawing/2014/main" id="{CEDF93F7-BC5C-4ABC-97D3-2B30DB972D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23074" y="11556370"/>
                <a:ext cx="25400" cy="5064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Line 122">
                <a:extLst>
                  <a:ext uri="{FF2B5EF4-FFF2-40B4-BE49-F238E27FC236}">
                    <a16:creationId xmlns:a16="http://schemas.microsoft.com/office/drawing/2014/main" id="{841B2402-FD2F-4FF9-B451-885826009C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608762" y="11965945"/>
                <a:ext cx="14288" cy="2809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Line 123">
                <a:extLst>
                  <a:ext uri="{FF2B5EF4-FFF2-40B4-BE49-F238E27FC236}">
                    <a16:creationId xmlns:a16="http://schemas.microsoft.com/office/drawing/2014/main" id="{F400788B-1E46-4A2E-AA1F-97176F8A9A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689849" y="11491283"/>
                <a:ext cx="254000" cy="12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Line 124">
                <a:extLst>
                  <a:ext uri="{FF2B5EF4-FFF2-40B4-BE49-F238E27FC236}">
                    <a16:creationId xmlns:a16="http://schemas.microsoft.com/office/drawing/2014/main" id="{6900958A-8AD8-4F28-81FA-F18C66D4E4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626349" y="11675433"/>
                <a:ext cx="395288" cy="190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Line 125">
                <a:extLst>
                  <a:ext uri="{FF2B5EF4-FFF2-40B4-BE49-F238E27FC236}">
                    <a16:creationId xmlns:a16="http://schemas.microsoft.com/office/drawing/2014/main" id="{D4D8CCB0-C6F6-4BCC-B82F-732A6FE17E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521574" y="11859583"/>
                <a:ext cx="493713" cy="238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Line 126">
                <a:extLst>
                  <a:ext uri="{FF2B5EF4-FFF2-40B4-BE49-F238E27FC236}">
                    <a16:creationId xmlns:a16="http://schemas.microsoft.com/office/drawing/2014/main" id="{94C11194-545D-469D-B166-8C8054173A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331074" y="12043733"/>
                <a:ext cx="506413" cy="26987"/>
              </a:xfrm>
              <a:prstGeom prst="line">
                <a:avLst/>
              </a:prstGeom>
              <a:noFill/>
              <a:ln w="14288" cap="flat">
                <a:solidFill>
                  <a:srgbClr val="0C115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Line 127">
                <a:extLst>
                  <a:ext uri="{FF2B5EF4-FFF2-40B4-BE49-F238E27FC236}">
                    <a16:creationId xmlns:a16="http://schemas.microsoft.com/office/drawing/2014/main" id="{29B1A00F-0877-4B04-873A-063343F4E0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058024" y="12227883"/>
                <a:ext cx="436563" cy="222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Freeform 128">
                <a:extLst>
                  <a:ext uri="{FF2B5EF4-FFF2-40B4-BE49-F238E27FC236}">
                    <a16:creationId xmlns:a16="http://schemas.microsoft.com/office/drawing/2014/main" id="{1EA82D20-8D26-480A-8440-88F0BB2E4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746999" y="11804020"/>
                <a:ext cx="1014413" cy="1022350"/>
              </a:xfrm>
              <a:custGeom>
                <a:avLst/>
                <a:gdLst>
                  <a:gd name="T0" fmla="*/ 150 w 419"/>
                  <a:gd name="T1" fmla="*/ 339 h 422"/>
                  <a:gd name="T2" fmla="*/ 154 w 419"/>
                  <a:gd name="T3" fmla="*/ 387 h 422"/>
                  <a:gd name="T4" fmla="*/ 50 w 419"/>
                  <a:gd name="T5" fmla="*/ 422 h 422"/>
                  <a:gd name="T6" fmla="*/ 23 w 419"/>
                  <a:gd name="T7" fmla="*/ 323 h 422"/>
                  <a:gd name="T8" fmla="*/ 419 w 419"/>
                  <a:gd name="T9" fmla="*/ 111 h 422"/>
                  <a:gd name="T10" fmla="*/ 255 w 419"/>
                  <a:gd name="T11" fmla="*/ 328 h 422"/>
                  <a:gd name="T12" fmla="*/ 183 w 419"/>
                  <a:gd name="T13" fmla="*/ 373 h 422"/>
                  <a:gd name="T14" fmla="*/ 150 w 419"/>
                  <a:gd name="T15" fmla="*/ 339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9" h="422">
                    <a:moveTo>
                      <a:pt x="150" y="339"/>
                    </a:moveTo>
                    <a:cubicBezTo>
                      <a:pt x="154" y="387"/>
                      <a:pt x="154" y="387"/>
                      <a:pt x="154" y="387"/>
                    </a:cubicBezTo>
                    <a:cubicBezTo>
                      <a:pt x="119" y="403"/>
                      <a:pt x="84" y="415"/>
                      <a:pt x="50" y="422"/>
                    </a:cubicBezTo>
                    <a:cubicBezTo>
                      <a:pt x="37" y="391"/>
                      <a:pt x="28" y="358"/>
                      <a:pt x="23" y="323"/>
                    </a:cubicBezTo>
                    <a:cubicBezTo>
                      <a:pt x="0" y="153"/>
                      <a:pt x="224" y="0"/>
                      <a:pt x="419" y="111"/>
                    </a:cubicBezTo>
                    <a:cubicBezTo>
                      <a:pt x="402" y="182"/>
                      <a:pt x="344" y="263"/>
                      <a:pt x="255" y="328"/>
                    </a:cubicBezTo>
                    <a:cubicBezTo>
                      <a:pt x="231" y="345"/>
                      <a:pt x="208" y="360"/>
                      <a:pt x="183" y="373"/>
                    </a:cubicBezTo>
                    <a:lnTo>
                      <a:pt x="150" y="339"/>
                    </a:lnTo>
                    <a:close/>
                  </a:path>
                </a:pathLst>
              </a:custGeom>
              <a:solidFill>
                <a:srgbClr val="641B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Freeform 129">
                <a:extLst>
                  <a:ext uri="{FF2B5EF4-FFF2-40B4-BE49-F238E27FC236}">
                    <a16:creationId xmlns:a16="http://schemas.microsoft.com/office/drawing/2014/main" id="{6F5720BA-CAAE-4679-B323-5849694EF7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26349" y="12072308"/>
                <a:ext cx="893763" cy="754062"/>
              </a:xfrm>
              <a:custGeom>
                <a:avLst/>
                <a:gdLst>
                  <a:gd name="T0" fmla="*/ 0 w 369"/>
                  <a:gd name="T1" fmla="*/ 311 h 311"/>
                  <a:gd name="T2" fmla="*/ 369 w 369"/>
                  <a:gd name="T3" fmla="*/ 0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69" h="311">
                    <a:moveTo>
                      <a:pt x="0" y="311"/>
                    </a:moveTo>
                    <a:cubicBezTo>
                      <a:pt x="0" y="311"/>
                      <a:pt x="62" y="16"/>
                      <a:pt x="369" y="0"/>
                    </a:cubicBezTo>
                  </a:path>
                </a:pathLst>
              </a:cu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Line 130">
                <a:extLst>
                  <a:ext uri="{FF2B5EF4-FFF2-40B4-BE49-F238E27FC236}">
                    <a16:creationId xmlns:a16="http://schemas.microsoft.com/office/drawing/2014/main" id="{B5C6A22D-2300-4BE1-8C2D-EE15D615BD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81912" y="12615233"/>
                <a:ext cx="134938" cy="317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Line 131">
                <a:extLst>
                  <a:ext uri="{FF2B5EF4-FFF2-40B4-BE49-F238E27FC236}">
                    <a16:creationId xmlns:a16="http://schemas.microsoft.com/office/drawing/2014/main" id="{BEBAB6CC-91ED-40E7-8E38-1802BDB21C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91437" y="12480295"/>
                <a:ext cx="222250" cy="285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Line 132">
                <a:extLst>
                  <a:ext uri="{FF2B5EF4-FFF2-40B4-BE49-F238E27FC236}">
                    <a16:creationId xmlns:a16="http://schemas.microsoft.com/office/drawing/2014/main" id="{60561950-BA19-4D6C-970D-C50C0FDE3A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64449" y="12358058"/>
                <a:ext cx="290513" cy="158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Line 133">
                <a:extLst>
                  <a:ext uri="{FF2B5EF4-FFF2-40B4-BE49-F238E27FC236}">
                    <a16:creationId xmlns:a16="http://schemas.microsoft.com/office/drawing/2014/main" id="{F6F84221-4D88-40B3-B571-A2474445DF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585074" y="12227883"/>
                <a:ext cx="319088" cy="333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Line 134">
                <a:extLst>
                  <a:ext uri="{FF2B5EF4-FFF2-40B4-BE49-F238E27FC236}">
                    <a16:creationId xmlns:a16="http://schemas.microsoft.com/office/drawing/2014/main" id="{C7741803-D811-4F3C-B9A1-498D653B42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473949" y="12121520"/>
                <a:ext cx="309563" cy="73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Line 135">
                <a:extLst>
                  <a:ext uri="{FF2B5EF4-FFF2-40B4-BE49-F238E27FC236}">
                    <a16:creationId xmlns:a16="http://schemas.microsoft.com/office/drawing/2014/main" id="{B52428A0-DDE7-4E29-AFA8-733C8B8872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313612" y="12029445"/>
                <a:ext cx="296863" cy="968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Line 136">
                <a:extLst>
                  <a:ext uri="{FF2B5EF4-FFF2-40B4-BE49-F238E27FC236}">
                    <a16:creationId xmlns:a16="http://schemas.microsoft.com/office/drawing/2014/main" id="{59940D78-B3F5-4BDB-838F-E804CFF734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129462" y="11983408"/>
                <a:ext cx="260350" cy="1031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Line 137">
                <a:extLst>
                  <a:ext uri="{FF2B5EF4-FFF2-40B4-BE49-F238E27FC236}">
                    <a16:creationId xmlns:a16="http://schemas.microsoft.com/office/drawing/2014/main" id="{77AAD96D-5430-46C1-8ABC-328BE0F8B6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551737" y="12618408"/>
                <a:ext cx="65088" cy="1666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Line 138">
                <a:extLst>
                  <a:ext uri="{FF2B5EF4-FFF2-40B4-BE49-F238E27FC236}">
                    <a16:creationId xmlns:a16="http://schemas.microsoft.com/office/drawing/2014/main" id="{38BC22EF-DB7B-465F-BCB1-E3D4EA9533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469187" y="12480295"/>
                <a:ext cx="82550" cy="266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Line 139">
                <a:extLst>
                  <a:ext uri="{FF2B5EF4-FFF2-40B4-BE49-F238E27FC236}">
                    <a16:creationId xmlns:a16="http://schemas.microsoft.com/office/drawing/2014/main" id="{FF77A705-635C-40AA-85CC-1E63E481F0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373937" y="12358058"/>
                <a:ext cx="125413" cy="3175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Line 140">
                <a:extLst>
                  <a:ext uri="{FF2B5EF4-FFF2-40B4-BE49-F238E27FC236}">
                    <a16:creationId xmlns:a16="http://schemas.microsoft.com/office/drawing/2014/main" id="{CEDE5FEE-DDF6-4216-BF77-2AB0309CA0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265987" y="12261220"/>
                <a:ext cx="147638" cy="327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Line 141">
                <a:extLst>
                  <a:ext uri="{FF2B5EF4-FFF2-40B4-BE49-F238E27FC236}">
                    <a16:creationId xmlns:a16="http://schemas.microsoft.com/office/drawing/2014/main" id="{329E69A5-21B6-41E2-B831-03C00D420C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164387" y="12194545"/>
                <a:ext cx="152400" cy="3048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Line 142">
                <a:extLst>
                  <a:ext uri="{FF2B5EF4-FFF2-40B4-BE49-F238E27FC236}">
                    <a16:creationId xmlns:a16="http://schemas.microsoft.com/office/drawing/2014/main" id="{87DD9082-5EE5-45C8-95DB-B80E5C07C4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016749" y="12126283"/>
                <a:ext cx="117475" cy="2587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Line 143">
                <a:extLst>
                  <a:ext uri="{FF2B5EF4-FFF2-40B4-BE49-F238E27FC236}">
                    <a16:creationId xmlns:a16="http://schemas.microsoft.com/office/drawing/2014/main" id="{B78D4107-4A11-4AD6-8E67-DB45E90ECA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6869112" y="12086595"/>
                <a:ext cx="58738" cy="1682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448" name="Group 447">
              <a:extLst>
                <a:ext uri="{FF2B5EF4-FFF2-40B4-BE49-F238E27FC236}">
                  <a16:creationId xmlns:a16="http://schemas.microsoft.com/office/drawing/2014/main" id="{E01DD18A-ED51-4099-B2E8-0E7319ECB4CF}"/>
                </a:ext>
              </a:extLst>
            </p:cNvPr>
            <p:cNvGrpSpPr/>
            <p:nvPr/>
          </p:nvGrpSpPr>
          <p:grpSpPr>
            <a:xfrm flipH="1">
              <a:off x="3543743" y="3359682"/>
              <a:ext cx="2248473" cy="1458362"/>
              <a:chOff x="7827963" y="-5399088"/>
              <a:chExt cx="4598988" cy="2982913"/>
            </a:xfrm>
          </p:grpSpPr>
          <p:sp>
            <p:nvSpPr>
              <p:cNvPr id="449" name="Freeform 18">
                <a:extLst>
                  <a:ext uri="{FF2B5EF4-FFF2-40B4-BE49-F238E27FC236}">
                    <a16:creationId xmlns:a16="http://schemas.microsoft.com/office/drawing/2014/main" id="{37F1F09D-61A1-4C4B-ADEA-656D0A5A3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7963" y="-4533900"/>
                <a:ext cx="4598988" cy="1735137"/>
              </a:xfrm>
              <a:custGeom>
                <a:avLst/>
                <a:gdLst>
                  <a:gd name="T0" fmla="*/ 1845 w 1899"/>
                  <a:gd name="T1" fmla="*/ 716 h 716"/>
                  <a:gd name="T2" fmla="*/ 1717 w 1899"/>
                  <a:gd name="T3" fmla="*/ 619 h 716"/>
                  <a:gd name="T4" fmla="*/ 1343 w 1899"/>
                  <a:gd name="T5" fmla="*/ 625 h 716"/>
                  <a:gd name="T6" fmla="*/ 1631 w 1899"/>
                  <a:gd name="T7" fmla="*/ 320 h 716"/>
                  <a:gd name="T8" fmla="*/ 1272 w 1899"/>
                  <a:gd name="T9" fmla="*/ 406 h 716"/>
                  <a:gd name="T10" fmla="*/ 1431 w 1899"/>
                  <a:gd name="T11" fmla="*/ 154 h 716"/>
                  <a:gd name="T12" fmla="*/ 955 w 1899"/>
                  <a:gd name="T13" fmla="*/ 367 h 716"/>
                  <a:gd name="T14" fmla="*/ 1090 w 1899"/>
                  <a:gd name="T15" fmla="*/ 102 h 716"/>
                  <a:gd name="T16" fmla="*/ 859 w 1899"/>
                  <a:gd name="T17" fmla="*/ 185 h 716"/>
                  <a:gd name="T18" fmla="*/ 765 w 1899"/>
                  <a:gd name="T19" fmla="*/ 72 h 716"/>
                  <a:gd name="T20" fmla="*/ 599 w 1899"/>
                  <a:gd name="T21" fmla="*/ 264 h 716"/>
                  <a:gd name="T22" fmla="*/ 202 w 1899"/>
                  <a:gd name="T23" fmla="*/ 43 h 716"/>
                  <a:gd name="T24" fmla="*/ 233 w 1899"/>
                  <a:gd name="T25" fmla="*/ 665 h 716"/>
                  <a:gd name="T26" fmla="*/ 1845 w 1899"/>
                  <a:gd name="T27" fmla="*/ 716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99" h="716">
                    <a:moveTo>
                      <a:pt x="1845" y="716"/>
                    </a:moveTo>
                    <a:cubicBezTo>
                      <a:pt x="1873" y="676"/>
                      <a:pt x="1841" y="641"/>
                      <a:pt x="1717" y="619"/>
                    </a:cubicBezTo>
                    <a:cubicBezTo>
                      <a:pt x="1581" y="594"/>
                      <a:pt x="1451" y="604"/>
                      <a:pt x="1343" y="625"/>
                    </a:cubicBezTo>
                    <a:cubicBezTo>
                      <a:pt x="1599" y="511"/>
                      <a:pt x="1899" y="348"/>
                      <a:pt x="1631" y="320"/>
                    </a:cubicBezTo>
                    <a:cubicBezTo>
                      <a:pt x="1548" y="311"/>
                      <a:pt x="1417" y="348"/>
                      <a:pt x="1272" y="406"/>
                    </a:cubicBezTo>
                    <a:cubicBezTo>
                      <a:pt x="1436" y="281"/>
                      <a:pt x="1527" y="177"/>
                      <a:pt x="1431" y="154"/>
                    </a:cubicBezTo>
                    <a:cubicBezTo>
                      <a:pt x="1342" y="133"/>
                      <a:pt x="1155" y="233"/>
                      <a:pt x="955" y="367"/>
                    </a:cubicBezTo>
                    <a:cubicBezTo>
                      <a:pt x="1070" y="253"/>
                      <a:pt x="1138" y="152"/>
                      <a:pt x="1090" y="102"/>
                    </a:cubicBezTo>
                    <a:cubicBezTo>
                      <a:pt x="1050" y="62"/>
                      <a:pt x="962" y="104"/>
                      <a:pt x="859" y="185"/>
                    </a:cubicBezTo>
                    <a:cubicBezTo>
                      <a:pt x="866" y="111"/>
                      <a:pt x="836" y="66"/>
                      <a:pt x="765" y="72"/>
                    </a:cubicBezTo>
                    <a:cubicBezTo>
                      <a:pt x="698" y="79"/>
                      <a:pt x="641" y="163"/>
                      <a:pt x="599" y="264"/>
                    </a:cubicBezTo>
                    <a:cubicBezTo>
                      <a:pt x="540" y="103"/>
                      <a:pt x="374" y="0"/>
                      <a:pt x="202" y="43"/>
                    </a:cubicBezTo>
                    <a:cubicBezTo>
                      <a:pt x="0" y="93"/>
                      <a:pt x="149" y="480"/>
                      <a:pt x="233" y="665"/>
                    </a:cubicBezTo>
                    <a:lnTo>
                      <a:pt x="1845" y="716"/>
                    </a:lnTo>
                    <a:close/>
                  </a:path>
                </a:pathLst>
              </a:custGeom>
              <a:solidFill>
                <a:srgbClr val="2805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0" name="Freeform 27">
                <a:extLst>
                  <a:ext uri="{FF2B5EF4-FFF2-40B4-BE49-F238E27FC236}">
                    <a16:creationId xmlns:a16="http://schemas.microsoft.com/office/drawing/2014/main" id="{38954E17-5B74-4362-B9A5-2FB3F44DF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3163" y="-5399088"/>
                <a:ext cx="1376363" cy="2038350"/>
              </a:xfrm>
              <a:custGeom>
                <a:avLst/>
                <a:gdLst>
                  <a:gd name="T0" fmla="*/ 62 w 568"/>
                  <a:gd name="T1" fmla="*/ 342 h 841"/>
                  <a:gd name="T2" fmla="*/ 135 w 568"/>
                  <a:gd name="T3" fmla="*/ 841 h 841"/>
                  <a:gd name="T4" fmla="*/ 506 w 568"/>
                  <a:gd name="T5" fmla="*/ 499 h 841"/>
                  <a:gd name="T6" fmla="*/ 433 w 568"/>
                  <a:gd name="T7" fmla="*/ 0 h 841"/>
                  <a:gd name="T8" fmla="*/ 62 w 568"/>
                  <a:gd name="T9" fmla="*/ 34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8" h="841">
                    <a:moveTo>
                      <a:pt x="62" y="342"/>
                    </a:moveTo>
                    <a:cubicBezTo>
                      <a:pt x="0" y="516"/>
                      <a:pt x="34" y="701"/>
                      <a:pt x="135" y="841"/>
                    </a:cubicBezTo>
                    <a:cubicBezTo>
                      <a:pt x="303" y="796"/>
                      <a:pt x="445" y="673"/>
                      <a:pt x="506" y="499"/>
                    </a:cubicBezTo>
                    <a:cubicBezTo>
                      <a:pt x="568" y="325"/>
                      <a:pt x="534" y="140"/>
                      <a:pt x="433" y="0"/>
                    </a:cubicBezTo>
                    <a:cubicBezTo>
                      <a:pt x="266" y="45"/>
                      <a:pt x="123" y="168"/>
                      <a:pt x="62" y="342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1" name="Line 28">
                <a:extLst>
                  <a:ext uri="{FF2B5EF4-FFF2-40B4-BE49-F238E27FC236}">
                    <a16:creationId xmlns:a16="http://schemas.microsoft.com/office/drawing/2014/main" id="{B7777A92-1B62-4BDB-9534-F4A9AC4AF9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142413" y="-5240338"/>
                <a:ext cx="636588" cy="18002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2" name="Line 29">
                <a:extLst>
                  <a:ext uri="{FF2B5EF4-FFF2-40B4-BE49-F238E27FC236}">
                    <a16:creationId xmlns:a16="http://schemas.microsoft.com/office/drawing/2014/main" id="{BE87DA0E-71EA-4F9B-A20D-520D5DC643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648826" y="-4986338"/>
                <a:ext cx="303213" cy="1190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3" name="Line 30">
                <a:extLst>
                  <a:ext uri="{FF2B5EF4-FFF2-40B4-BE49-F238E27FC236}">
                    <a16:creationId xmlns:a16="http://schemas.microsoft.com/office/drawing/2014/main" id="{5777215A-3654-4180-B8EC-E78B399724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542463" y="-4708525"/>
                <a:ext cx="369888" cy="1492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4" name="Line 31">
                <a:extLst>
                  <a:ext uri="{FF2B5EF4-FFF2-40B4-BE49-F238E27FC236}">
                    <a16:creationId xmlns:a16="http://schemas.microsoft.com/office/drawing/2014/main" id="{FBB34D73-2BD7-4A14-8272-40C468763C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32926" y="-4497388"/>
                <a:ext cx="620713" cy="242887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5" name="Line 32">
                <a:extLst>
                  <a:ext uri="{FF2B5EF4-FFF2-40B4-BE49-F238E27FC236}">
                    <a16:creationId xmlns:a16="http://schemas.microsoft.com/office/drawing/2014/main" id="{4EE27BAC-CE01-46BA-9520-931E107483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323388" y="-4184650"/>
                <a:ext cx="606425" cy="238125"/>
              </a:xfrm>
              <a:prstGeom prst="line">
                <a:avLst/>
              </a:pr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6" name="Line 33">
                <a:extLst>
                  <a:ext uri="{FF2B5EF4-FFF2-40B4-BE49-F238E27FC236}">
                    <a16:creationId xmlns:a16="http://schemas.microsoft.com/office/drawing/2014/main" id="{10C3709B-2B77-42BF-91C4-076889D874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15438" y="-3771900"/>
                <a:ext cx="336550" cy="133350"/>
              </a:xfrm>
              <a:prstGeom prst="line">
                <a:avLst/>
              </a:pr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7" name="Line 34">
                <a:extLst>
                  <a:ext uri="{FF2B5EF4-FFF2-40B4-BE49-F238E27FC236}">
                    <a16:creationId xmlns:a16="http://schemas.microsoft.com/office/drawing/2014/main" id="{D8ABC1E1-8BD0-406B-B8E6-7CD5D9EE23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496426" y="-5187950"/>
                <a:ext cx="161925" cy="280987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8" name="Line 35">
                <a:extLst>
                  <a:ext uri="{FF2B5EF4-FFF2-40B4-BE49-F238E27FC236}">
                    <a16:creationId xmlns:a16="http://schemas.microsoft.com/office/drawing/2014/main" id="{D32D5405-9815-4AAA-8031-51B981533D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299576" y="-5040313"/>
                <a:ext cx="249238" cy="4413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9" name="Line 36">
                <a:extLst>
                  <a:ext uri="{FF2B5EF4-FFF2-40B4-BE49-F238E27FC236}">
                    <a16:creationId xmlns:a16="http://schemas.microsoft.com/office/drawing/2014/main" id="{07366D5F-1F09-451E-8F56-3E1CC3A66E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128126" y="-4843463"/>
                <a:ext cx="312738" cy="54927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0" name="Line 37">
                <a:extLst>
                  <a:ext uri="{FF2B5EF4-FFF2-40B4-BE49-F238E27FC236}">
                    <a16:creationId xmlns:a16="http://schemas.microsoft.com/office/drawing/2014/main" id="{E0978656-89F1-4BD4-9F3E-C5E60F6943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012238" y="-4549775"/>
                <a:ext cx="319088" cy="5635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1" name="Line 38">
                <a:extLst>
                  <a:ext uri="{FF2B5EF4-FFF2-40B4-BE49-F238E27FC236}">
                    <a16:creationId xmlns:a16="http://schemas.microsoft.com/office/drawing/2014/main" id="{6DBFDE9D-5508-477F-B3AC-23D9924473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8948738" y="-4165600"/>
                <a:ext cx="273050" cy="4873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2" name="Freeform 40">
                <a:extLst>
                  <a:ext uri="{FF2B5EF4-FFF2-40B4-BE49-F238E27FC236}">
                    <a16:creationId xmlns:a16="http://schemas.microsoft.com/office/drawing/2014/main" id="{50CACAE0-2ACE-44C6-AA36-061A1043E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4638" y="-3997325"/>
                <a:ext cx="1912938" cy="1268412"/>
              </a:xfrm>
              <a:custGeom>
                <a:avLst/>
                <a:gdLst>
                  <a:gd name="T0" fmla="*/ 327 w 790"/>
                  <a:gd name="T1" fmla="*/ 53 h 524"/>
                  <a:gd name="T2" fmla="*/ 0 w 790"/>
                  <a:gd name="T3" fmla="*/ 391 h 524"/>
                  <a:gd name="T4" fmla="*/ 463 w 790"/>
                  <a:gd name="T5" fmla="*/ 471 h 524"/>
                  <a:gd name="T6" fmla="*/ 790 w 790"/>
                  <a:gd name="T7" fmla="*/ 134 h 524"/>
                  <a:gd name="T8" fmla="*/ 327 w 790"/>
                  <a:gd name="T9" fmla="*/ 53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0" h="524">
                    <a:moveTo>
                      <a:pt x="327" y="53"/>
                    </a:moveTo>
                    <a:cubicBezTo>
                      <a:pt x="164" y="107"/>
                      <a:pt x="46" y="236"/>
                      <a:pt x="0" y="391"/>
                    </a:cubicBezTo>
                    <a:cubicBezTo>
                      <a:pt x="128" y="489"/>
                      <a:pt x="300" y="524"/>
                      <a:pt x="463" y="471"/>
                    </a:cubicBezTo>
                    <a:cubicBezTo>
                      <a:pt x="627" y="418"/>
                      <a:pt x="744" y="288"/>
                      <a:pt x="790" y="134"/>
                    </a:cubicBezTo>
                    <a:cubicBezTo>
                      <a:pt x="662" y="36"/>
                      <a:pt x="491" y="0"/>
                      <a:pt x="327" y="53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3" name="Line 41">
                <a:extLst>
                  <a:ext uri="{FF2B5EF4-FFF2-40B4-BE49-F238E27FC236}">
                    <a16:creationId xmlns:a16="http://schemas.microsoft.com/office/drawing/2014/main" id="{0BCDCC50-7127-42DD-9B8F-4BB4DD3F9E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234488" y="-3632200"/>
                <a:ext cx="1690688" cy="550862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4" name="Line 42">
                <a:extLst>
                  <a:ext uri="{FF2B5EF4-FFF2-40B4-BE49-F238E27FC236}">
                    <a16:creationId xmlns:a16="http://schemas.microsoft.com/office/drawing/2014/main" id="{1A50F47E-E9B9-4D4C-9484-DEFD7CF031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575926" y="-3516313"/>
                <a:ext cx="258763" cy="15557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5" name="Line 43">
                <a:extLst>
                  <a:ext uri="{FF2B5EF4-FFF2-40B4-BE49-F238E27FC236}">
                    <a16:creationId xmlns:a16="http://schemas.microsoft.com/office/drawing/2014/main" id="{E59F4EFF-4BD7-4E06-8808-3374525350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288588" y="-3421063"/>
                <a:ext cx="319088" cy="190500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6" name="Line 44">
                <a:extLst>
                  <a:ext uri="{FF2B5EF4-FFF2-40B4-BE49-F238E27FC236}">
                    <a16:creationId xmlns:a16="http://schemas.microsoft.com/office/drawing/2014/main" id="{B64220E8-FB55-4E94-97F6-8D02FAB597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99663" y="-3328988"/>
                <a:ext cx="533400" cy="322262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7" name="Line 45">
                <a:extLst>
                  <a:ext uri="{FF2B5EF4-FFF2-40B4-BE49-F238E27FC236}">
                    <a16:creationId xmlns:a16="http://schemas.microsoft.com/office/drawing/2014/main" id="{31F11620-04AD-484F-B3B8-8609E77DC6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712326" y="-3235325"/>
                <a:ext cx="517525" cy="312737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8" name="Line 46">
                <a:extLst>
                  <a:ext uri="{FF2B5EF4-FFF2-40B4-BE49-F238E27FC236}">
                    <a16:creationId xmlns:a16="http://schemas.microsoft.com/office/drawing/2014/main" id="{969750B5-F770-4AA8-AC4C-06484DF987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26576" y="-3140075"/>
                <a:ext cx="287338" cy="174625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9" name="Line 47">
                <a:extLst>
                  <a:ext uri="{FF2B5EF4-FFF2-40B4-BE49-F238E27FC236}">
                    <a16:creationId xmlns:a16="http://schemas.microsoft.com/office/drawing/2014/main" id="{2BD5D9CC-21EE-42B7-82F1-5C375D357D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610851" y="-3808413"/>
                <a:ext cx="115888" cy="27622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0" name="Line 48">
                <a:extLst>
                  <a:ext uri="{FF2B5EF4-FFF2-40B4-BE49-F238E27FC236}">
                    <a16:creationId xmlns:a16="http://schemas.microsoft.com/office/drawing/2014/main" id="{3D78FBC8-2A02-4DBF-A9F9-B59091AD49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321926" y="-3871913"/>
                <a:ext cx="180975" cy="433387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1" name="Line 49">
                <a:extLst>
                  <a:ext uri="{FF2B5EF4-FFF2-40B4-BE49-F238E27FC236}">
                    <a16:creationId xmlns:a16="http://schemas.microsoft.com/office/drawing/2014/main" id="{9ADB3385-DAFA-4996-945B-D0200C74A5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033001" y="-3886200"/>
                <a:ext cx="228600" cy="54292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2" name="Line 50">
                <a:extLst>
                  <a:ext uri="{FF2B5EF4-FFF2-40B4-BE49-F238E27FC236}">
                    <a16:creationId xmlns:a16="http://schemas.microsoft.com/office/drawing/2014/main" id="{C106E96E-D986-4D03-8EE6-9A0C301BE9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745663" y="-3808413"/>
                <a:ext cx="234950" cy="557212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3" name="Line 51">
                <a:extLst>
                  <a:ext uri="{FF2B5EF4-FFF2-40B4-BE49-F238E27FC236}">
                    <a16:creationId xmlns:a16="http://schemas.microsoft.com/office/drawing/2014/main" id="{B9F62B66-8AA5-4FFA-A367-752BBA9E53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56738" y="-3633788"/>
                <a:ext cx="201613" cy="476250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4" name="Freeform 52">
                <a:extLst>
                  <a:ext uri="{FF2B5EF4-FFF2-40B4-BE49-F238E27FC236}">
                    <a16:creationId xmlns:a16="http://schemas.microsoft.com/office/drawing/2014/main" id="{2E8EC3ED-FE8A-4F02-A95D-DAA8D0177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5376" y="-5008563"/>
                <a:ext cx="174625" cy="211137"/>
              </a:xfrm>
              <a:custGeom>
                <a:avLst/>
                <a:gdLst>
                  <a:gd name="T0" fmla="*/ 3 w 72"/>
                  <a:gd name="T1" fmla="*/ 87 h 87"/>
                  <a:gd name="T2" fmla="*/ 60 w 72"/>
                  <a:gd name="T3" fmla="*/ 51 h 87"/>
                  <a:gd name="T4" fmla="*/ 61 w 72"/>
                  <a:gd name="T5" fmla="*/ 8 h 87"/>
                  <a:gd name="T6" fmla="*/ 21 w 72"/>
                  <a:gd name="T7" fmla="*/ 22 h 87"/>
                  <a:gd name="T8" fmla="*/ 3 w 72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87">
                    <a:moveTo>
                      <a:pt x="3" y="87"/>
                    </a:moveTo>
                    <a:cubicBezTo>
                      <a:pt x="3" y="87"/>
                      <a:pt x="39" y="79"/>
                      <a:pt x="60" y="51"/>
                    </a:cubicBezTo>
                    <a:cubicBezTo>
                      <a:pt x="68" y="40"/>
                      <a:pt x="72" y="16"/>
                      <a:pt x="61" y="8"/>
                    </a:cubicBezTo>
                    <a:cubicBezTo>
                      <a:pt x="51" y="0"/>
                      <a:pt x="33" y="7"/>
                      <a:pt x="21" y="22"/>
                    </a:cubicBezTo>
                    <a:cubicBezTo>
                      <a:pt x="0" y="50"/>
                      <a:pt x="3" y="87"/>
                      <a:pt x="3" y="87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5" name="Freeform 53">
                <a:extLst>
                  <a:ext uri="{FF2B5EF4-FFF2-40B4-BE49-F238E27FC236}">
                    <a16:creationId xmlns:a16="http://schemas.microsoft.com/office/drawing/2014/main" id="{467021C5-A00E-4452-B2C7-D91B050DB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3926" y="-4897438"/>
                <a:ext cx="122238" cy="209550"/>
              </a:xfrm>
              <a:custGeom>
                <a:avLst/>
                <a:gdLst>
                  <a:gd name="T0" fmla="*/ 35 w 51"/>
                  <a:gd name="T1" fmla="*/ 86 h 86"/>
                  <a:gd name="T2" fmla="*/ 45 w 51"/>
                  <a:gd name="T3" fmla="*/ 28 h 86"/>
                  <a:gd name="T4" fmla="*/ 18 w 51"/>
                  <a:gd name="T5" fmla="*/ 3 h 86"/>
                  <a:gd name="T6" fmla="*/ 3 w 51"/>
                  <a:gd name="T7" fmla="*/ 36 h 86"/>
                  <a:gd name="T8" fmla="*/ 35 w 51"/>
                  <a:gd name="T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86">
                    <a:moveTo>
                      <a:pt x="35" y="86"/>
                    </a:moveTo>
                    <a:cubicBezTo>
                      <a:pt x="35" y="86"/>
                      <a:pt x="51" y="58"/>
                      <a:pt x="45" y="28"/>
                    </a:cubicBezTo>
                    <a:cubicBezTo>
                      <a:pt x="43" y="17"/>
                      <a:pt x="30" y="0"/>
                      <a:pt x="18" y="3"/>
                    </a:cubicBezTo>
                    <a:cubicBezTo>
                      <a:pt x="7" y="5"/>
                      <a:pt x="0" y="21"/>
                      <a:pt x="3" y="36"/>
                    </a:cubicBezTo>
                    <a:cubicBezTo>
                      <a:pt x="9" y="66"/>
                      <a:pt x="35" y="86"/>
                      <a:pt x="35" y="8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6" name="Freeform 54">
                <a:extLst>
                  <a:ext uri="{FF2B5EF4-FFF2-40B4-BE49-F238E27FC236}">
                    <a16:creationId xmlns:a16="http://schemas.microsoft.com/office/drawing/2014/main" id="{103C8102-1329-41B5-99EA-BD2BEEFF7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72638" y="-4727575"/>
                <a:ext cx="150813" cy="184150"/>
              </a:xfrm>
              <a:custGeom>
                <a:avLst/>
                <a:gdLst>
                  <a:gd name="T0" fmla="*/ 59 w 62"/>
                  <a:gd name="T1" fmla="*/ 76 h 76"/>
                  <a:gd name="T2" fmla="*/ 45 w 62"/>
                  <a:gd name="T3" fmla="*/ 18 h 76"/>
                  <a:gd name="T4" fmla="*/ 10 w 62"/>
                  <a:gd name="T5" fmla="*/ 6 h 76"/>
                  <a:gd name="T6" fmla="*/ 10 w 62"/>
                  <a:gd name="T7" fmla="*/ 43 h 76"/>
                  <a:gd name="T8" fmla="*/ 59 w 62"/>
                  <a:gd name="T9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76">
                    <a:moveTo>
                      <a:pt x="59" y="76"/>
                    </a:moveTo>
                    <a:cubicBezTo>
                      <a:pt x="59" y="76"/>
                      <a:pt x="62" y="43"/>
                      <a:pt x="45" y="18"/>
                    </a:cubicBezTo>
                    <a:cubicBezTo>
                      <a:pt x="38" y="9"/>
                      <a:pt x="19" y="0"/>
                      <a:pt x="10" y="6"/>
                    </a:cubicBezTo>
                    <a:cubicBezTo>
                      <a:pt x="0" y="13"/>
                      <a:pt x="1" y="30"/>
                      <a:pt x="10" y="43"/>
                    </a:cubicBezTo>
                    <a:cubicBezTo>
                      <a:pt x="28" y="68"/>
                      <a:pt x="59" y="76"/>
                      <a:pt x="59" y="7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7" name="Freeform 55">
                <a:extLst>
                  <a:ext uri="{FF2B5EF4-FFF2-40B4-BE49-F238E27FC236}">
                    <a16:creationId xmlns:a16="http://schemas.microsoft.com/office/drawing/2014/main" id="{1E8618A9-058B-4CCE-9CB0-382DD86C13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8063" y="-4724400"/>
                <a:ext cx="206375" cy="84137"/>
              </a:xfrm>
              <a:custGeom>
                <a:avLst/>
                <a:gdLst>
                  <a:gd name="T0" fmla="*/ 0 w 85"/>
                  <a:gd name="T1" fmla="*/ 17 h 35"/>
                  <a:gd name="T2" fmla="*/ 55 w 85"/>
                  <a:gd name="T3" fmla="*/ 35 h 35"/>
                  <a:gd name="T4" fmla="*/ 85 w 85"/>
                  <a:gd name="T5" fmla="*/ 18 h 35"/>
                  <a:gd name="T6" fmla="*/ 55 w 85"/>
                  <a:gd name="T7" fmla="*/ 0 h 35"/>
                  <a:gd name="T8" fmla="*/ 0 w 85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35">
                    <a:moveTo>
                      <a:pt x="0" y="17"/>
                    </a:moveTo>
                    <a:cubicBezTo>
                      <a:pt x="0" y="17"/>
                      <a:pt x="24" y="35"/>
                      <a:pt x="55" y="35"/>
                    </a:cubicBezTo>
                    <a:cubicBezTo>
                      <a:pt x="66" y="35"/>
                      <a:pt x="85" y="28"/>
                      <a:pt x="85" y="18"/>
                    </a:cubicBezTo>
                    <a:cubicBezTo>
                      <a:pt x="85" y="8"/>
                      <a:pt x="71" y="0"/>
                      <a:pt x="55" y="0"/>
                    </a:cubicBezTo>
                    <a:cubicBezTo>
                      <a:pt x="25" y="0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8" name="Freeform 56">
                <a:extLst>
                  <a:ext uri="{FF2B5EF4-FFF2-40B4-BE49-F238E27FC236}">
                    <a16:creationId xmlns:a16="http://schemas.microsoft.com/office/drawing/2014/main" id="{4C403C5A-C90A-4173-963E-19F002CA0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09163" y="-4594225"/>
                <a:ext cx="204788" cy="92075"/>
              </a:xfrm>
              <a:custGeom>
                <a:avLst/>
                <a:gdLst>
                  <a:gd name="T0" fmla="*/ 0 w 85"/>
                  <a:gd name="T1" fmla="*/ 18 h 38"/>
                  <a:gd name="T2" fmla="*/ 54 w 85"/>
                  <a:gd name="T3" fmla="*/ 38 h 38"/>
                  <a:gd name="T4" fmla="*/ 85 w 85"/>
                  <a:gd name="T5" fmla="*/ 20 h 38"/>
                  <a:gd name="T6" fmla="*/ 55 w 85"/>
                  <a:gd name="T7" fmla="*/ 1 h 38"/>
                  <a:gd name="T8" fmla="*/ 0 w 85"/>
                  <a:gd name="T9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38">
                    <a:moveTo>
                      <a:pt x="0" y="18"/>
                    </a:moveTo>
                    <a:cubicBezTo>
                      <a:pt x="0" y="18"/>
                      <a:pt x="24" y="37"/>
                      <a:pt x="54" y="38"/>
                    </a:cubicBezTo>
                    <a:cubicBezTo>
                      <a:pt x="65" y="38"/>
                      <a:pt x="84" y="30"/>
                      <a:pt x="85" y="20"/>
                    </a:cubicBezTo>
                    <a:cubicBezTo>
                      <a:pt x="85" y="9"/>
                      <a:pt x="71" y="1"/>
                      <a:pt x="55" y="1"/>
                    </a:cubicBezTo>
                    <a:cubicBezTo>
                      <a:pt x="24" y="0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9" name="Freeform 57">
                <a:extLst>
                  <a:ext uri="{FF2B5EF4-FFF2-40B4-BE49-F238E27FC236}">
                    <a16:creationId xmlns:a16="http://schemas.microsoft.com/office/drawing/2014/main" id="{251DF43C-E7C8-4A9B-8343-0399BFF20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18676" y="-4387850"/>
                <a:ext cx="157163" cy="88900"/>
              </a:xfrm>
              <a:custGeom>
                <a:avLst/>
                <a:gdLst>
                  <a:gd name="T0" fmla="*/ 0 w 65"/>
                  <a:gd name="T1" fmla="*/ 18 h 37"/>
                  <a:gd name="T2" fmla="*/ 42 w 65"/>
                  <a:gd name="T3" fmla="*/ 37 h 37"/>
                  <a:gd name="T4" fmla="*/ 65 w 65"/>
                  <a:gd name="T5" fmla="*/ 19 h 37"/>
                  <a:gd name="T6" fmla="*/ 42 w 65"/>
                  <a:gd name="T7" fmla="*/ 0 h 37"/>
                  <a:gd name="T8" fmla="*/ 0 w 65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37">
                    <a:moveTo>
                      <a:pt x="0" y="18"/>
                    </a:moveTo>
                    <a:cubicBezTo>
                      <a:pt x="0" y="18"/>
                      <a:pt x="18" y="37"/>
                      <a:pt x="42" y="37"/>
                    </a:cubicBezTo>
                    <a:cubicBezTo>
                      <a:pt x="50" y="37"/>
                      <a:pt x="65" y="29"/>
                      <a:pt x="65" y="19"/>
                    </a:cubicBezTo>
                    <a:cubicBezTo>
                      <a:pt x="65" y="9"/>
                      <a:pt x="54" y="0"/>
                      <a:pt x="42" y="0"/>
                    </a:cubicBezTo>
                    <a:cubicBezTo>
                      <a:pt x="19" y="0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0" name="Freeform 58">
                <a:extLst>
                  <a:ext uri="{FF2B5EF4-FFF2-40B4-BE49-F238E27FC236}">
                    <a16:creationId xmlns:a16="http://schemas.microsoft.com/office/drawing/2014/main" id="{CAE1A7DA-1A20-41A3-A08C-393FAA591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5488" y="-4506913"/>
                <a:ext cx="106363" cy="157162"/>
              </a:xfrm>
              <a:custGeom>
                <a:avLst/>
                <a:gdLst>
                  <a:gd name="T0" fmla="*/ 40 w 44"/>
                  <a:gd name="T1" fmla="*/ 65 h 65"/>
                  <a:gd name="T2" fmla="*/ 33 w 44"/>
                  <a:gd name="T3" fmla="*/ 18 h 65"/>
                  <a:gd name="T4" fmla="*/ 8 w 44"/>
                  <a:gd name="T5" fmla="*/ 4 h 65"/>
                  <a:gd name="T6" fmla="*/ 6 w 44"/>
                  <a:gd name="T7" fmla="*/ 32 h 65"/>
                  <a:gd name="T8" fmla="*/ 40 w 44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65">
                    <a:moveTo>
                      <a:pt x="40" y="65"/>
                    </a:moveTo>
                    <a:cubicBezTo>
                      <a:pt x="40" y="65"/>
                      <a:pt x="44" y="40"/>
                      <a:pt x="33" y="18"/>
                    </a:cubicBezTo>
                    <a:cubicBezTo>
                      <a:pt x="29" y="11"/>
                      <a:pt x="16" y="0"/>
                      <a:pt x="8" y="4"/>
                    </a:cubicBezTo>
                    <a:cubicBezTo>
                      <a:pt x="1" y="8"/>
                      <a:pt x="0" y="21"/>
                      <a:pt x="6" y="32"/>
                    </a:cubicBezTo>
                    <a:cubicBezTo>
                      <a:pt x="17" y="54"/>
                      <a:pt x="40" y="65"/>
                      <a:pt x="40" y="65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1" name="Freeform 59">
                <a:extLst>
                  <a:ext uri="{FF2B5EF4-FFF2-40B4-BE49-F238E27FC236}">
                    <a16:creationId xmlns:a16="http://schemas.microsoft.com/office/drawing/2014/main" id="{D982F0A3-11B0-4735-9CA2-3D86A36FF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9876" y="-4833938"/>
                <a:ext cx="863600" cy="1225550"/>
              </a:xfrm>
              <a:custGeom>
                <a:avLst/>
                <a:gdLst>
                  <a:gd name="T0" fmla="*/ 12 w 357"/>
                  <a:gd name="T1" fmla="*/ 504 h 506"/>
                  <a:gd name="T2" fmla="*/ 0 w 357"/>
                  <a:gd name="T3" fmla="*/ 498 h 506"/>
                  <a:gd name="T4" fmla="*/ 4 w 357"/>
                  <a:gd name="T5" fmla="*/ 493 h 506"/>
                  <a:gd name="T6" fmla="*/ 2 w 357"/>
                  <a:gd name="T7" fmla="*/ 496 h 506"/>
                  <a:gd name="T8" fmla="*/ 4 w 357"/>
                  <a:gd name="T9" fmla="*/ 493 h 506"/>
                  <a:gd name="T10" fmla="*/ 35 w 357"/>
                  <a:gd name="T11" fmla="*/ 497 h 506"/>
                  <a:gd name="T12" fmla="*/ 109 w 357"/>
                  <a:gd name="T13" fmla="*/ 436 h 506"/>
                  <a:gd name="T14" fmla="*/ 219 w 357"/>
                  <a:gd name="T15" fmla="*/ 218 h 506"/>
                  <a:gd name="T16" fmla="*/ 334 w 357"/>
                  <a:gd name="T17" fmla="*/ 22 h 506"/>
                  <a:gd name="T18" fmla="*/ 352 w 357"/>
                  <a:gd name="T19" fmla="*/ 0 h 506"/>
                  <a:gd name="T20" fmla="*/ 357 w 357"/>
                  <a:gd name="T21" fmla="*/ 4 h 506"/>
                  <a:gd name="T22" fmla="*/ 339 w 357"/>
                  <a:gd name="T23" fmla="*/ 26 h 506"/>
                  <a:gd name="T24" fmla="*/ 225 w 357"/>
                  <a:gd name="T25" fmla="*/ 220 h 506"/>
                  <a:gd name="T26" fmla="*/ 37 w 357"/>
                  <a:gd name="T27" fmla="*/ 503 h 506"/>
                  <a:gd name="T28" fmla="*/ 12 w 357"/>
                  <a:gd name="T29" fmla="*/ 504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7" h="506">
                    <a:moveTo>
                      <a:pt x="12" y="504"/>
                    </a:moveTo>
                    <a:cubicBezTo>
                      <a:pt x="4" y="502"/>
                      <a:pt x="0" y="498"/>
                      <a:pt x="0" y="498"/>
                    </a:cubicBezTo>
                    <a:cubicBezTo>
                      <a:pt x="4" y="493"/>
                      <a:pt x="4" y="493"/>
                      <a:pt x="4" y="493"/>
                    </a:cubicBezTo>
                    <a:cubicBezTo>
                      <a:pt x="2" y="496"/>
                      <a:pt x="2" y="496"/>
                      <a:pt x="2" y="496"/>
                    </a:cubicBezTo>
                    <a:cubicBezTo>
                      <a:pt x="4" y="493"/>
                      <a:pt x="4" y="493"/>
                      <a:pt x="4" y="493"/>
                    </a:cubicBezTo>
                    <a:cubicBezTo>
                      <a:pt x="4" y="494"/>
                      <a:pt x="15" y="502"/>
                      <a:pt x="35" y="497"/>
                    </a:cubicBezTo>
                    <a:cubicBezTo>
                      <a:pt x="58" y="491"/>
                      <a:pt x="83" y="471"/>
                      <a:pt x="109" y="436"/>
                    </a:cubicBezTo>
                    <a:cubicBezTo>
                      <a:pt x="145" y="388"/>
                      <a:pt x="182" y="315"/>
                      <a:pt x="219" y="218"/>
                    </a:cubicBezTo>
                    <a:cubicBezTo>
                      <a:pt x="263" y="105"/>
                      <a:pt x="306" y="55"/>
                      <a:pt x="334" y="22"/>
                    </a:cubicBezTo>
                    <a:cubicBezTo>
                      <a:pt x="341" y="14"/>
                      <a:pt x="348" y="7"/>
                      <a:pt x="352" y="0"/>
                    </a:cubicBezTo>
                    <a:cubicBezTo>
                      <a:pt x="357" y="4"/>
                      <a:pt x="357" y="4"/>
                      <a:pt x="357" y="4"/>
                    </a:cubicBezTo>
                    <a:cubicBezTo>
                      <a:pt x="352" y="10"/>
                      <a:pt x="346" y="18"/>
                      <a:pt x="339" y="26"/>
                    </a:cubicBezTo>
                    <a:cubicBezTo>
                      <a:pt x="311" y="59"/>
                      <a:pt x="268" y="109"/>
                      <a:pt x="225" y="220"/>
                    </a:cubicBezTo>
                    <a:cubicBezTo>
                      <a:pt x="142" y="436"/>
                      <a:pt x="76" y="493"/>
                      <a:pt x="37" y="503"/>
                    </a:cubicBezTo>
                    <a:cubicBezTo>
                      <a:pt x="26" y="506"/>
                      <a:pt x="18" y="505"/>
                      <a:pt x="12" y="50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2" name="Freeform 60">
                <a:extLst>
                  <a:ext uri="{FF2B5EF4-FFF2-40B4-BE49-F238E27FC236}">
                    <a16:creationId xmlns:a16="http://schemas.microsoft.com/office/drawing/2014/main" id="{DF7F7302-0881-494D-81DD-901E2B79D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3788" y="-4278313"/>
                <a:ext cx="1608138" cy="1538287"/>
              </a:xfrm>
              <a:custGeom>
                <a:avLst/>
                <a:gdLst>
                  <a:gd name="T0" fmla="*/ 198 w 664"/>
                  <a:gd name="T1" fmla="*/ 171 h 635"/>
                  <a:gd name="T2" fmla="*/ 11 w 664"/>
                  <a:gd name="T3" fmla="*/ 611 h 635"/>
                  <a:gd name="T4" fmla="*/ 466 w 664"/>
                  <a:gd name="T5" fmla="*/ 465 h 635"/>
                  <a:gd name="T6" fmla="*/ 653 w 664"/>
                  <a:gd name="T7" fmla="*/ 24 h 635"/>
                  <a:gd name="T8" fmla="*/ 198 w 664"/>
                  <a:gd name="T9" fmla="*/ 171 h 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4" h="635">
                    <a:moveTo>
                      <a:pt x="198" y="171"/>
                    </a:moveTo>
                    <a:cubicBezTo>
                      <a:pt x="65" y="292"/>
                      <a:pt x="0" y="458"/>
                      <a:pt x="11" y="611"/>
                    </a:cubicBezTo>
                    <a:cubicBezTo>
                      <a:pt x="163" y="635"/>
                      <a:pt x="333" y="586"/>
                      <a:pt x="466" y="465"/>
                    </a:cubicBezTo>
                    <a:cubicBezTo>
                      <a:pt x="599" y="343"/>
                      <a:pt x="664" y="178"/>
                      <a:pt x="653" y="24"/>
                    </a:cubicBezTo>
                    <a:cubicBezTo>
                      <a:pt x="501" y="0"/>
                      <a:pt x="331" y="49"/>
                      <a:pt x="198" y="171"/>
                    </a:cubicBezTo>
                    <a:close/>
                  </a:path>
                </a:pathLst>
              </a:custGeom>
              <a:solidFill>
                <a:srgbClr val="742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3" name="Line 61">
                <a:extLst>
                  <a:ext uri="{FF2B5EF4-FFF2-40B4-BE49-F238E27FC236}">
                    <a16:creationId xmlns:a16="http://schemas.microsoft.com/office/drawing/2014/main" id="{3A9F3B32-AD8A-4810-82DE-336056849A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793163" y="-4111625"/>
                <a:ext cx="1376363" cy="1254125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4" name="Line 62">
                <a:extLst>
                  <a:ext uri="{FF2B5EF4-FFF2-40B4-BE49-F238E27FC236}">
                    <a16:creationId xmlns:a16="http://schemas.microsoft.com/office/drawing/2014/main" id="{86CDFA4A-6514-4D8C-8723-4B75190FEA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885363" y="-3852863"/>
                <a:ext cx="293688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5" name="Line 63">
                <a:extLst>
                  <a:ext uri="{FF2B5EF4-FFF2-40B4-BE49-F238E27FC236}">
                    <a16:creationId xmlns:a16="http://schemas.microsoft.com/office/drawing/2014/main" id="{2F1BEDA3-652B-4A75-A1D3-0B7275B636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53588" y="-3636963"/>
                <a:ext cx="358775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6" name="Line 64">
                <a:extLst>
                  <a:ext uri="{FF2B5EF4-FFF2-40B4-BE49-F238E27FC236}">
                    <a16:creationId xmlns:a16="http://schemas.microsoft.com/office/drawing/2014/main" id="{22D24DCD-D7AB-412E-92D5-D4DA85DB19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18638" y="-3424238"/>
                <a:ext cx="600075" cy="269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7" name="Line 65">
                <a:extLst>
                  <a:ext uri="{FF2B5EF4-FFF2-40B4-BE49-F238E27FC236}">
                    <a16:creationId xmlns:a16="http://schemas.microsoft.com/office/drawing/2014/main" id="{19E97C87-A9F0-4589-8DDA-89FC31A6CE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83688" y="-3209925"/>
                <a:ext cx="585788" cy="25400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8" name="Line 66">
                <a:extLst>
                  <a:ext uri="{FF2B5EF4-FFF2-40B4-BE49-F238E27FC236}">
                    <a16:creationId xmlns:a16="http://schemas.microsoft.com/office/drawing/2014/main" id="{001A3BE0-E772-45B6-BA72-3624FD504A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48738" y="-2994025"/>
                <a:ext cx="327025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Line 67">
                <a:extLst>
                  <a:ext uri="{FF2B5EF4-FFF2-40B4-BE49-F238E27FC236}">
                    <a16:creationId xmlns:a16="http://schemas.microsoft.com/office/drawing/2014/main" id="{2EE0976A-7C7A-4B2A-8825-54FCCC17D1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912351" y="-4171950"/>
                <a:ext cx="12700" cy="2905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Line 68">
                <a:extLst>
                  <a:ext uri="{FF2B5EF4-FFF2-40B4-BE49-F238E27FC236}">
                    <a16:creationId xmlns:a16="http://schemas.microsoft.com/office/drawing/2014/main" id="{A0C8A4B8-DE10-464A-A638-44EE0E4F22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677401" y="-4121150"/>
                <a:ext cx="19050" cy="4556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Line 69">
                <a:extLst>
                  <a:ext uri="{FF2B5EF4-FFF2-40B4-BE49-F238E27FC236}">
                    <a16:creationId xmlns:a16="http://schemas.microsoft.com/office/drawing/2014/main" id="{88A8014C-B691-499C-9D2C-CE6D95A2F5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42451" y="-4022725"/>
                <a:ext cx="26988" cy="5699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Line 70">
                <a:extLst>
                  <a:ext uri="{FF2B5EF4-FFF2-40B4-BE49-F238E27FC236}">
                    <a16:creationId xmlns:a16="http://schemas.microsoft.com/office/drawing/2014/main" id="{A10099D8-7237-4C34-A094-5A35D7434D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07501" y="-3822700"/>
                <a:ext cx="26988" cy="5826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Line 71">
                <a:extLst>
                  <a:ext uri="{FF2B5EF4-FFF2-40B4-BE49-F238E27FC236}">
                    <a16:creationId xmlns:a16="http://schemas.microsoft.com/office/drawing/2014/main" id="{115C9DA6-6028-4DF1-8C16-04E3BB2ED9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975726" y="-3527425"/>
                <a:ext cx="20638" cy="50323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Freeform 144">
                <a:extLst>
                  <a:ext uri="{FF2B5EF4-FFF2-40B4-BE49-F238E27FC236}">
                    <a16:creationId xmlns:a16="http://schemas.microsoft.com/office/drawing/2014/main" id="{94BA5AEF-4F02-4244-97F2-064A2C50E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5576" y="-3600450"/>
                <a:ext cx="1709738" cy="1184275"/>
              </a:xfrm>
              <a:custGeom>
                <a:avLst/>
                <a:gdLst>
                  <a:gd name="T0" fmla="*/ 516 w 706"/>
                  <a:gd name="T1" fmla="*/ 421 h 489"/>
                  <a:gd name="T2" fmla="*/ 541 w 706"/>
                  <a:gd name="T3" fmla="*/ 489 h 489"/>
                  <a:gd name="T4" fmla="*/ 706 w 706"/>
                  <a:gd name="T5" fmla="*/ 472 h 489"/>
                  <a:gd name="T6" fmla="*/ 680 w 706"/>
                  <a:gd name="T7" fmla="*/ 319 h 489"/>
                  <a:gd name="T8" fmla="*/ 0 w 706"/>
                  <a:gd name="T9" fmla="*/ 277 h 489"/>
                  <a:gd name="T10" fmla="*/ 365 w 706"/>
                  <a:gd name="T11" fmla="*/ 472 h 489"/>
                  <a:gd name="T12" fmla="*/ 491 w 706"/>
                  <a:gd name="T13" fmla="*/ 488 h 489"/>
                  <a:gd name="T14" fmla="*/ 516 w 706"/>
                  <a:gd name="T15" fmla="*/ 421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489">
                    <a:moveTo>
                      <a:pt x="516" y="421"/>
                    </a:moveTo>
                    <a:cubicBezTo>
                      <a:pt x="541" y="489"/>
                      <a:pt x="541" y="489"/>
                      <a:pt x="541" y="489"/>
                    </a:cubicBezTo>
                    <a:cubicBezTo>
                      <a:pt x="599" y="489"/>
                      <a:pt x="655" y="483"/>
                      <a:pt x="706" y="472"/>
                    </a:cubicBezTo>
                    <a:cubicBezTo>
                      <a:pt x="704" y="421"/>
                      <a:pt x="695" y="369"/>
                      <a:pt x="680" y="319"/>
                    </a:cubicBezTo>
                    <a:cubicBezTo>
                      <a:pt x="604" y="70"/>
                      <a:pt x="199" y="0"/>
                      <a:pt x="0" y="277"/>
                    </a:cubicBezTo>
                    <a:cubicBezTo>
                      <a:pt x="69" y="365"/>
                      <a:pt x="200" y="439"/>
                      <a:pt x="365" y="472"/>
                    </a:cubicBezTo>
                    <a:cubicBezTo>
                      <a:pt x="407" y="480"/>
                      <a:pt x="450" y="486"/>
                      <a:pt x="491" y="488"/>
                    </a:cubicBezTo>
                    <a:lnTo>
                      <a:pt x="516" y="421"/>
                    </a:lnTo>
                    <a:close/>
                  </a:path>
                </a:pathLst>
              </a:custGeom>
              <a:solidFill>
                <a:srgbClr val="641B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Freeform 145">
                <a:extLst>
                  <a:ext uri="{FF2B5EF4-FFF2-40B4-BE49-F238E27FC236}">
                    <a16:creationId xmlns:a16="http://schemas.microsoft.com/office/drawing/2014/main" id="{11F188D0-DE59-4F28-ACD0-163EBBD07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5576" y="-3346450"/>
                <a:ext cx="1709738" cy="889000"/>
              </a:xfrm>
              <a:custGeom>
                <a:avLst/>
                <a:gdLst>
                  <a:gd name="T0" fmla="*/ 706 w 706"/>
                  <a:gd name="T1" fmla="*/ 367 h 367"/>
                  <a:gd name="T2" fmla="*/ 0 w 706"/>
                  <a:gd name="T3" fmla="*/ 172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6" h="367">
                    <a:moveTo>
                      <a:pt x="706" y="367"/>
                    </a:moveTo>
                    <a:cubicBezTo>
                      <a:pt x="706" y="367"/>
                      <a:pt x="433" y="0"/>
                      <a:pt x="0" y="172"/>
                    </a:cubicBezTo>
                  </a:path>
                </a:pathLst>
              </a:cu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Line 146">
                <a:extLst>
                  <a:ext uri="{FF2B5EF4-FFF2-40B4-BE49-F238E27FC236}">
                    <a16:creationId xmlns:a16="http://schemas.microsoft.com/office/drawing/2014/main" id="{1CB7630E-7F36-4515-9B42-BF9ED05BC5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510838" y="-2740025"/>
                <a:ext cx="206375" cy="428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Line 147">
                <a:extLst>
                  <a:ext uri="{FF2B5EF4-FFF2-40B4-BE49-F238E27FC236}">
                    <a16:creationId xmlns:a16="http://schemas.microsoft.com/office/drawing/2014/main" id="{F4076B19-9D17-49D2-88A3-DABF02AD53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321926" y="-2933700"/>
                <a:ext cx="323850" cy="984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Line 148">
                <a:extLst>
                  <a:ext uri="{FF2B5EF4-FFF2-40B4-BE49-F238E27FC236}">
                    <a16:creationId xmlns:a16="http://schemas.microsoft.com/office/drawing/2014/main" id="{2C2E6067-5C32-43E5-8E02-293EA01B0D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110788" y="-3103563"/>
                <a:ext cx="412750" cy="16510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Line 149">
                <a:extLst>
                  <a:ext uri="{FF2B5EF4-FFF2-40B4-BE49-F238E27FC236}">
                    <a16:creationId xmlns:a16="http://schemas.microsoft.com/office/drawing/2014/main" id="{C2142408-0ED1-4B6B-8F11-42F2C21B51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902826" y="-3255963"/>
                <a:ext cx="415925" cy="2508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Line 150">
                <a:extLst>
                  <a:ext uri="{FF2B5EF4-FFF2-40B4-BE49-F238E27FC236}">
                    <a16:creationId xmlns:a16="http://schemas.microsoft.com/office/drawing/2014/main" id="{7D01F95D-480E-454D-9B5D-834D9A846A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718676" y="-3333750"/>
                <a:ext cx="381000" cy="29845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Line 151">
                <a:extLst>
                  <a:ext uri="{FF2B5EF4-FFF2-40B4-BE49-F238E27FC236}">
                    <a16:creationId xmlns:a16="http://schemas.microsoft.com/office/drawing/2014/main" id="{B81C7CDD-F890-4589-ADB4-575CDED25F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471026" y="-3357563"/>
                <a:ext cx="349250" cy="32385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Line 152">
                <a:extLst>
                  <a:ext uri="{FF2B5EF4-FFF2-40B4-BE49-F238E27FC236}">
                    <a16:creationId xmlns:a16="http://schemas.microsoft.com/office/drawing/2014/main" id="{7619690F-5721-4784-AB61-6AB9DA3414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244013" y="-3302000"/>
                <a:ext cx="293688" cy="3095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Line 153">
                <a:extLst>
                  <a:ext uri="{FF2B5EF4-FFF2-40B4-BE49-F238E27FC236}">
                    <a16:creationId xmlns:a16="http://schemas.microsoft.com/office/drawing/2014/main" id="{478E6AAA-C922-48DE-9205-3ED66FC60C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0518776" y="-2697163"/>
                <a:ext cx="15875" cy="2714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Line 154">
                <a:extLst>
                  <a:ext uri="{FF2B5EF4-FFF2-40B4-BE49-F238E27FC236}">
                    <a16:creationId xmlns:a16="http://schemas.microsoft.com/office/drawing/2014/main" id="{284A3798-696C-4B87-804C-CF16683717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321926" y="-2835275"/>
                <a:ext cx="53975" cy="41910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Line 155">
                <a:extLst>
                  <a:ext uri="{FF2B5EF4-FFF2-40B4-BE49-F238E27FC236}">
                    <a16:creationId xmlns:a16="http://schemas.microsoft.com/office/drawing/2014/main" id="{146BDC6E-B234-4DD6-BBFF-AE7AE2E6C9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110788" y="-2938463"/>
                <a:ext cx="30163" cy="51117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Line 156">
                <a:extLst>
                  <a:ext uri="{FF2B5EF4-FFF2-40B4-BE49-F238E27FC236}">
                    <a16:creationId xmlns:a16="http://schemas.microsoft.com/office/drawing/2014/main" id="{31036A90-9E47-4DAD-96C7-D499314DEF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02826" y="-3005138"/>
                <a:ext cx="0" cy="5429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Line 157">
                <a:extLst>
                  <a:ext uri="{FF2B5EF4-FFF2-40B4-BE49-F238E27FC236}">
                    <a16:creationId xmlns:a16="http://schemas.microsoft.com/office/drawing/2014/main" id="{4D4BB189-0A98-46C7-8AC8-A372C9143A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701213" y="-3035300"/>
                <a:ext cx="17463" cy="5175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8" name="Line 158">
                <a:extLst>
                  <a:ext uri="{FF2B5EF4-FFF2-40B4-BE49-F238E27FC236}">
                    <a16:creationId xmlns:a16="http://schemas.microsoft.com/office/drawing/2014/main" id="{13E7618A-862F-45BD-9EAB-CFDD5104BC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71026" y="-3033713"/>
                <a:ext cx="3175" cy="4286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9" name="Line 159">
                <a:extLst>
                  <a:ext uri="{FF2B5EF4-FFF2-40B4-BE49-F238E27FC236}">
                    <a16:creationId xmlns:a16="http://schemas.microsoft.com/office/drawing/2014/main" id="{C6583027-1426-44C5-ADDD-D8C805B294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244013" y="-2992438"/>
                <a:ext cx="23813" cy="2635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630" name="Picture 629">
              <a:extLst>
                <a:ext uri="{FF2B5EF4-FFF2-40B4-BE49-F238E27FC236}">
                  <a16:creationId xmlns:a16="http://schemas.microsoft.com/office/drawing/2014/main" id="{984D61FB-F7EC-487A-BDC1-58DE14F06A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69" t="17291" r="12016" b="11631"/>
            <a:stretch/>
          </p:blipFill>
          <p:spPr>
            <a:xfrm>
              <a:off x="4748737" y="2085747"/>
              <a:ext cx="3359586" cy="3170530"/>
            </a:xfrm>
            <a:prstGeom prst="rect">
              <a:avLst/>
            </a:prstGeom>
          </p:spPr>
        </p:pic>
      </p:grpSp>
      <p:sp>
        <p:nvSpPr>
          <p:cNvPr id="659" name="Arc 658">
            <a:extLst>
              <a:ext uri="{FF2B5EF4-FFF2-40B4-BE49-F238E27FC236}">
                <a16:creationId xmlns:a16="http://schemas.microsoft.com/office/drawing/2014/main" id="{C4E6A427-D050-4DCC-AAAB-CFF2CD58EAD1}"/>
              </a:ext>
            </a:extLst>
          </p:cNvPr>
          <p:cNvSpPr/>
          <p:nvPr/>
        </p:nvSpPr>
        <p:spPr>
          <a:xfrm>
            <a:off x="3130824" y="1279621"/>
            <a:ext cx="4685148" cy="4685148"/>
          </a:xfrm>
          <a:prstGeom prst="arc">
            <a:avLst>
              <a:gd name="adj1" fmla="val 6989423"/>
              <a:gd name="adj2" fmla="val 1463117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38" name="Group 637">
            <a:extLst>
              <a:ext uri="{FF2B5EF4-FFF2-40B4-BE49-F238E27FC236}">
                <a16:creationId xmlns:a16="http://schemas.microsoft.com/office/drawing/2014/main" id="{41E5FFFB-3173-4B48-89D2-18A171233339}"/>
              </a:ext>
            </a:extLst>
          </p:cNvPr>
          <p:cNvGrpSpPr/>
          <p:nvPr/>
        </p:nvGrpSpPr>
        <p:grpSpPr>
          <a:xfrm>
            <a:off x="3246185" y="1838529"/>
            <a:ext cx="768244" cy="768242"/>
            <a:chOff x="8422581" y="812800"/>
            <a:chExt cx="564174" cy="564174"/>
          </a:xfrm>
        </p:grpSpPr>
        <p:sp>
          <p:nvSpPr>
            <p:cNvPr id="656" name="Oval 655">
              <a:extLst>
                <a:ext uri="{FF2B5EF4-FFF2-40B4-BE49-F238E27FC236}">
                  <a16:creationId xmlns:a16="http://schemas.microsoft.com/office/drawing/2014/main" id="{8F156C8E-4148-416B-B6A9-D32A3179EA77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Oval 656">
              <a:extLst>
                <a:ext uri="{FF2B5EF4-FFF2-40B4-BE49-F238E27FC236}">
                  <a16:creationId xmlns:a16="http://schemas.microsoft.com/office/drawing/2014/main" id="{9ABD80A8-B047-4C2C-9E39-5B3E4CD76418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61" name="Rectangle 660">
            <a:extLst>
              <a:ext uri="{FF2B5EF4-FFF2-40B4-BE49-F238E27FC236}">
                <a16:creationId xmlns:a16="http://schemas.microsoft.com/office/drawing/2014/main" id="{5CAF1DCF-81D0-4805-81A7-3FE3214079B6}"/>
              </a:ext>
            </a:extLst>
          </p:cNvPr>
          <p:cNvSpPr/>
          <p:nvPr/>
        </p:nvSpPr>
        <p:spPr>
          <a:xfrm>
            <a:off x="399912" y="4765435"/>
            <a:ext cx="29628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Готовые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видеоуроки, тесты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и упражнения.</a:t>
            </a:r>
          </a:p>
        </p:txBody>
      </p:sp>
      <p:grpSp>
        <p:nvGrpSpPr>
          <p:cNvPr id="666" name="Group 665">
            <a:extLst>
              <a:ext uri="{FF2B5EF4-FFF2-40B4-BE49-F238E27FC236}">
                <a16:creationId xmlns:a16="http://schemas.microsoft.com/office/drawing/2014/main" id="{70E61CE6-FBD2-49EA-92FC-268DD2A0946F}"/>
              </a:ext>
            </a:extLst>
          </p:cNvPr>
          <p:cNvGrpSpPr/>
          <p:nvPr/>
        </p:nvGrpSpPr>
        <p:grpSpPr>
          <a:xfrm>
            <a:off x="3246185" y="4637621"/>
            <a:ext cx="768244" cy="768242"/>
            <a:chOff x="8422581" y="812800"/>
            <a:chExt cx="564174" cy="564174"/>
          </a:xfrm>
        </p:grpSpPr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B9712A6-89BA-4691-9C87-998D92C39D03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F77E0DB-1DEC-47F6-AD9A-92AADD0562E4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90" name="Arc 689">
            <a:extLst>
              <a:ext uri="{FF2B5EF4-FFF2-40B4-BE49-F238E27FC236}">
                <a16:creationId xmlns:a16="http://schemas.microsoft.com/office/drawing/2014/main" id="{27B845D4-7942-4621-89FF-0C37A046A184}"/>
              </a:ext>
            </a:extLst>
          </p:cNvPr>
          <p:cNvSpPr/>
          <p:nvPr/>
        </p:nvSpPr>
        <p:spPr>
          <a:xfrm flipH="1">
            <a:off x="4372021" y="1279621"/>
            <a:ext cx="4685148" cy="4685148"/>
          </a:xfrm>
          <a:prstGeom prst="arc">
            <a:avLst>
              <a:gd name="adj1" fmla="val 6989423"/>
              <a:gd name="adj2" fmla="val 1463117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18" name="Group 717">
            <a:extLst>
              <a:ext uri="{FF2B5EF4-FFF2-40B4-BE49-F238E27FC236}">
                <a16:creationId xmlns:a16="http://schemas.microsoft.com/office/drawing/2014/main" id="{138506A7-8EF9-4181-9DBB-21E91DB1124B}"/>
              </a:ext>
            </a:extLst>
          </p:cNvPr>
          <p:cNvGrpSpPr/>
          <p:nvPr/>
        </p:nvGrpSpPr>
        <p:grpSpPr>
          <a:xfrm flipH="1">
            <a:off x="8173565" y="1838529"/>
            <a:ext cx="768242" cy="768242"/>
            <a:chOff x="8422581" y="812800"/>
            <a:chExt cx="564174" cy="564174"/>
          </a:xfrm>
        </p:grpSpPr>
        <p:sp>
          <p:nvSpPr>
            <p:cNvPr id="736" name="Oval 735">
              <a:extLst>
                <a:ext uri="{FF2B5EF4-FFF2-40B4-BE49-F238E27FC236}">
                  <a16:creationId xmlns:a16="http://schemas.microsoft.com/office/drawing/2014/main" id="{CE5E7058-5EBE-43D2-88EC-5AD48B1CE42E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Oval 736">
              <a:extLst>
                <a:ext uri="{FF2B5EF4-FFF2-40B4-BE49-F238E27FC236}">
                  <a16:creationId xmlns:a16="http://schemas.microsoft.com/office/drawing/2014/main" id="{189AAE49-9DED-45CE-9A9A-33E90406298F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96" name="Group 695">
            <a:extLst>
              <a:ext uri="{FF2B5EF4-FFF2-40B4-BE49-F238E27FC236}">
                <a16:creationId xmlns:a16="http://schemas.microsoft.com/office/drawing/2014/main" id="{DA746FFB-E5AA-4418-9B1A-7262096F7A31}"/>
              </a:ext>
            </a:extLst>
          </p:cNvPr>
          <p:cNvGrpSpPr/>
          <p:nvPr/>
        </p:nvGrpSpPr>
        <p:grpSpPr>
          <a:xfrm flipH="1">
            <a:off x="8173565" y="4637621"/>
            <a:ext cx="768242" cy="768242"/>
            <a:chOff x="8422581" y="812800"/>
            <a:chExt cx="564174" cy="564174"/>
          </a:xfrm>
        </p:grpSpPr>
        <p:sp>
          <p:nvSpPr>
            <p:cNvPr id="714" name="Oval 713">
              <a:extLst>
                <a:ext uri="{FF2B5EF4-FFF2-40B4-BE49-F238E27FC236}">
                  <a16:creationId xmlns:a16="http://schemas.microsoft.com/office/drawing/2014/main" id="{9CDB66C3-33FE-45E8-959D-2803BB53B8FB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Oval 714">
              <a:extLst>
                <a:ext uri="{FF2B5EF4-FFF2-40B4-BE49-F238E27FC236}">
                  <a16:creationId xmlns:a16="http://schemas.microsoft.com/office/drawing/2014/main" id="{05C58D9D-7243-4D3D-A5E1-27E89B8DAC55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" name="Rectangle 660">
            <a:extLst>
              <a:ext uri="{FF2B5EF4-FFF2-40B4-BE49-F238E27FC236}">
                <a16:creationId xmlns:a16="http://schemas.microsoft.com/office/drawing/2014/main" id="{48FDF808-97F7-45BD-849D-7E71A73C2130}"/>
              </a:ext>
            </a:extLst>
          </p:cNvPr>
          <p:cNvSpPr/>
          <p:nvPr/>
        </p:nvSpPr>
        <p:spPr>
          <a:xfrm>
            <a:off x="463447" y="1797025"/>
            <a:ext cx="2787776" cy="19697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латформа помогает учителям усовершенствовать все основные этапы урока: изучение нового, закрепление изученного и контроль знаний учащихся как в классе, так и дистанционно.</a:t>
            </a:r>
          </a:p>
        </p:txBody>
      </p:sp>
      <p:sp>
        <p:nvSpPr>
          <p:cNvPr id="4" name="Rectangle 660">
            <a:extLst>
              <a:ext uri="{FF2B5EF4-FFF2-40B4-BE49-F238E27FC236}">
                <a16:creationId xmlns:a16="http://schemas.microsoft.com/office/drawing/2014/main" id="{1C0D0F21-B2AE-4A0F-BC95-5D8C39E98FEE}"/>
              </a:ext>
            </a:extLst>
          </p:cNvPr>
          <p:cNvSpPr/>
          <p:nvPr/>
        </p:nvSpPr>
        <p:spPr>
          <a:xfrm>
            <a:off x="9112850" y="4784903"/>
            <a:ext cx="29628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Удобная работа через личные кабинеты учителя и ученика.</a:t>
            </a:r>
          </a:p>
        </p:txBody>
      </p:sp>
      <p:sp>
        <p:nvSpPr>
          <p:cNvPr id="5" name="Rectangle 660">
            <a:extLst>
              <a:ext uri="{FF2B5EF4-FFF2-40B4-BE49-F238E27FC236}">
                <a16:creationId xmlns:a16="http://schemas.microsoft.com/office/drawing/2014/main" id="{BB68F843-A530-411F-B3A7-4AF822735797}"/>
              </a:ext>
            </a:extLst>
          </p:cNvPr>
          <p:cNvSpPr/>
          <p:nvPr/>
        </p:nvSpPr>
        <p:spPr>
          <a:xfrm>
            <a:off x="9034761" y="1730610"/>
            <a:ext cx="3104958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Удобные инструменты учителя</a:t>
            </a:r>
          </a:p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для основных этапов уро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2590A9-A7B2-48DC-A895-9CF219D9B1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1947" y="425332"/>
            <a:ext cx="4506694" cy="514982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B222A74-05B0-485D-990A-40213B55E43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0" t="-21512" r="74196" b="-4029"/>
          <a:stretch/>
        </p:blipFill>
        <p:spPr>
          <a:xfrm>
            <a:off x="3474553" y="1907864"/>
            <a:ext cx="416299" cy="53447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0E3EB6F-F479-465F-9D52-8DAA0768F95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0" t="-21512" r="74196" b="-4029"/>
          <a:stretch/>
        </p:blipFill>
        <p:spPr>
          <a:xfrm>
            <a:off x="3458337" y="4729779"/>
            <a:ext cx="416299" cy="53447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265F96C-7E2C-499A-B845-C1A7232D7F3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0" t="-21512" r="74196" b="-4029"/>
          <a:stretch/>
        </p:blipFill>
        <p:spPr>
          <a:xfrm>
            <a:off x="8396506" y="1922658"/>
            <a:ext cx="416299" cy="534472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3E89F7D-355A-41CF-9590-7AA8379531D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0" t="-21512" r="74196" b="-4029"/>
          <a:stretch/>
        </p:blipFill>
        <p:spPr>
          <a:xfrm>
            <a:off x="8387773" y="4718858"/>
            <a:ext cx="416299" cy="534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3124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8C65F9-9064-40D0-8147-1B957E7AC2C4}"/>
              </a:ext>
            </a:extLst>
          </p:cNvPr>
          <p:cNvSpPr/>
          <p:nvPr/>
        </p:nvSpPr>
        <p:spPr>
          <a:xfrm>
            <a:off x="0" y="0"/>
            <a:ext cx="12191996" cy="2943224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5" name="Graphic 2">
            <a:extLst>
              <a:ext uri="{FF2B5EF4-FFF2-40B4-BE49-F238E27FC236}">
                <a16:creationId xmlns:a16="http://schemas.microsoft.com/office/drawing/2014/main" id="{D8D77915-D895-4408-836D-BC5D45371753}"/>
              </a:ext>
            </a:extLst>
          </p:cNvPr>
          <p:cNvGrpSpPr/>
          <p:nvPr/>
        </p:nvGrpSpPr>
        <p:grpSpPr>
          <a:xfrm>
            <a:off x="0" y="-91644"/>
            <a:ext cx="12184441" cy="3584691"/>
            <a:chOff x="0" y="-91644"/>
            <a:chExt cx="12184441" cy="3584691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27AF5C6-5287-464C-A94F-BFF5E8D34F67}"/>
                </a:ext>
              </a:extLst>
            </p:cNvPr>
            <p:cNvSpPr/>
            <p:nvPr/>
          </p:nvSpPr>
          <p:spPr>
            <a:xfrm>
              <a:off x="8765561" y="1049728"/>
              <a:ext cx="3413760" cy="2243327"/>
            </a:xfrm>
            <a:custGeom>
              <a:avLst/>
              <a:gdLst>
                <a:gd name="connsiteX0" fmla="*/ 0 w 3413760"/>
                <a:gd name="connsiteY0" fmla="*/ 2258489 h 2243327"/>
                <a:gd name="connsiteX1" fmla="*/ 3426440 w 3413760"/>
                <a:gd name="connsiteY1" fmla="*/ 2258489 h 2243327"/>
                <a:gd name="connsiteX2" fmla="*/ 3426440 w 3413760"/>
                <a:gd name="connsiteY2" fmla="*/ 498208 h 2243327"/>
                <a:gd name="connsiteX3" fmla="*/ 2979724 w 3413760"/>
                <a:gd name="connsiteY3" fmla="*/ 788134 h 2243327"/>
                <a:gd name="connsiteX4" fmla="*/ 2471806 w 3413760"/>
                <a:gd name="connsiteY4" fmla="*/ 43 h 2243327"/>
                <a:gd name="connsiteX5" fmla="*/ 1867814 w 3413760"/>
                <a:gd name="connsiteY5" fmla="*/ 932243 h 2243327"/>
                <a:gd name="connsiteX6" fmla="*/ 1078016 w 3413760"/>
                <a:gd name="connsiteY6" fmla="*/ 932243 h 2243327"/>
                <a:gd name="connsiteX7" fmla="*/ 753465 w 3413760"/>
                <a:gd name="connsiteY7" fmla="*/ 1722528 h 2243327"/>
                <a:gd name="connsiteX8" fmla="*/ 0 w 3413760"/>
                <a:gd name="connsiteY8" fmla="*/ 2258489 h 22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13760" h="2243327">
                  <a:moveTo>
                    <a:pt x="0" y="2258489"/>
                  </a:moveTo>
                  <a:lnTo>
                    <a:pt x="3426440" y="2258489"/>
                  </a:lnTo>
                  <a:lnTo>
                    <a:pt x="3426440" y="498208"/>
                  </a:lnTo>
                  <a:cubicBezTo>
                    <a:pt x="3213080" y="466997"/>
                    <a:pt x="3150412" y="779843"/>
                    <a:pt x="2979724" y="788134"/>
                  </a:cubicBezTo>
                  <a:cubicBezTo>
                    <a:pt x="2774655" y="797887"/>
                    <a:pt x="2735397" y="-6784"/>
                    <a:pt x="2471806" y="43"/>
                  </a:cubicBezTo>
                  <a:cubicBezTo>
                    <a:pt x="2207971" y="6627"/>
                    <a:pt x="2143354" y="812274"/>
                    <a:pt x="1867814" y="932243"/>
                  </a:cubicBezTo>
                  <a:cubicBezTo>
                    <a:pt x="1592519" y="1051969"/>
                    <a:pt x="1247242" y="656216"/>
                    <a:pt x="1078016" y="932243"/>
                  </a:cubicBezTo>
                  <a:cubicBezTo>
                    <a:pt x="908547" y="1208270"/>
                    <a:pt x="1047781" y="1728624"/>
                    <a:pt x="753465" y="1722528"/>
                  </a:cubicBezTo>
                  <a:cubicBezTo>
                    <a:pt x="459150" y="1716189"/>
                    <a:pt x="19507" y="1608899"/>
                    <a:pt x="0" y="2258489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7D986F0-928E-4E29-A80C-AEE9EFDA257C}"/>
                </a:ext>
              </a:extLst>
            </p:cNvPr>
            <p:cNvSpPr/>
            <p:nvPr/>
          </p:nvSpPr>
          <p:spPr>
            <a:xfrm>
              <a:off x="11243706" y="1357009"/>
              <a:ext cx="48768" cy="1950719"/>
            </a:xfrm>
            <a:custGeom>
              <a:avLst/>
              <a:gdLst>
                <a:gd name="connsiteX0" fmla="*/ 0 w 48768"/>
                <a:gd name="connsiteY0" fmla="*/ 0 h 1950719"/>
                <a:gd name="connsiteX1" fmla="*/ 13168 w 48768"/>
                <a:gd name="connsiteY1" fmla="*/ 1952914 h 1950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950719">
                  <a:moveTo>
                    <a:pt x="0" y="0"/>
                  </a:moveTo>
                  <a:cubicBezTo>
                    <a:pt x="0" y="0"/>
                    <a:pt x="100950" y="1157508"/>
                    <a:pt x="13168" y="1952914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C785E83-F6A5-4C2D-95FA-712DF75BD973}"/>
                </a:ext>
              </a:extLst>
            </p:cNvPr>
            <p:cNvSpPr/>
            <p:nvPr/>
          </p:nvSpPr>
          <p:spPr>
            <a:xfrm>
              <a:off x="12126163" y="3071691"/>
              <a:ext cx="48768" cy="219456"/>
            </a:xfrm>
            <a:custGeom>
              <a:avLst/>
              <a:gdLst>
                <a:gd name="connsiteX0" fmla="*/ 65837 w 48768"/>
                <a:gd name="connsiteY0" fmla="*/ 0 h 219455"/>
                <a:gd name="connsiteX1" fmla="*/ 0 w 48768"/>
                <a:gd name="connsiteY1" fmla="*/ 231648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219455">
                  <a:moveTo>
                    <a:pt x="65837" y="0"/>
                  </a:moveTo>
                  <a:cubicBezTo>
                    <a:pt x="49012" y="86807"/>
                    <a:pt x="27554" y="165811"/>
                    <a:pt x="0" y="23164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929AC63-569D-4B72-9302-2C207AB18971}"/>
                </a:ext>
              </a:extLst>
            </p:cNvPr>
            <p:cNvSpPr/>
            <p:nvPr/>
          </p:nvSpPr>
          <p:spPr>
            <a:xfrm>
              <a:off x="12101779" y="1886629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90221 w 73152"/>
                <a:gd name="connsiteY1" fmla="*/ 87782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90221" y="877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ED061E2-DB6C-4619-8FF7-25D4C1E3577F}"/>
                </a:ext>
              </a:extLst>
            </p:cNvPr>
            <p:cNvSpPr/>
            <p:nvPr/>
          </p:nvSpPr>
          <p:spPr>
            <a:xfrm>
              <a:off x="12035942" y="2214594"/>
              <a:ext cx="146304" cy="97536"/>
            </a:xfrm>
            <a:custGeom>
              <a:avLst/>
              <a:gdLst>
                <a:gd name="connsiteX0" fmla="*/ 0 w 146304"/>
                <a:gd name="connsiteY0" fmla="*/ 0 h 97535"/>
                <a:gd name="connsiteX1" fmla="*/ 156058 w 146304"/>
                <a:gd name="connsiteY1" fmla="*/ 118262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97535">
                  <a:moveTo>
                    <a:pt x="0" y="0"/>
                  </a:moveTo>
                  <a:lnTo>
                    <a:pt x="156058" y="11826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1A7E89C-D70A-4B03-B62C-F000EE899C99}"/>
                </a:ext>
              </a:extLst>
            </p:cNvPr>
            <p:cNvSpPr/>
            <p:nvPr/>
          </p:nvSpPr>
          <p:spPr>
            <a:xfrm>
              <a:off x="11989369" y="2507934"/>
              <a:ext cx="195072" cy="146304"/>
            </a:xfrm>
            <a:custGeom>
              <a:avLst/>
              <a:gdLst>
                <a:gd name="connsiteX0" fmla="*/ 0 w 195072"/>
                <a:gd name="connsiteY0" fmla="*/ 0 h 146303"/>
                <a:gd name="connsiteX1" fmla="*/ 202631 w 195072"/>
                <a:gd name="connsiteY1" fmla="*/ 15947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46303">
                  <a:moveTo>
                    <a:pt x="0" y="0"/>
                  </a:moveTo>
                  <a:lnTo>
                    <a:pt x="202631" y="15947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AFF682B-0D2A-454C-A62A-1F1748367914}"/>
                </a:ext>
              </a:extLst>
            </p:cNvPr>
            <p:cNvSpPr/>
            <p:nvPr/>
          </p:nvSpPr>
          <p:spPr>
            <a:xfrm>
              <a:off x="11261019" y="1433819"/>
              <a:ext cx="97536" cy="146304"/>
            </a:xfrm>
            <a:custGeom>
              <a:avLst/>
              <a:gdLst>
                <a:gd name="connsiteX0" fmla="*/ 116068 w 97536"/>
                <a:gd name="connsiteY0" fmla="*/ 0 h 146303"/>
                <a:gd name="connsiteX1" fmla="*/ 0 w 97536"/>
                <a:gd name="connsiteY1" fmla="*/ 16312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16068" y="0"/>
                  </a:moveTo>
                  <a:lnTo>
                    <a:pt x="0" y="16312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6629E6-15BE-4150-A207-A9E00FC54C4B}"/>
                </a:ext>
              </a:extLst>
            </p:cNvPr>
            <p:cNvSpPr/>
            <p:nvPr/>
          </p:nvSpPr>
          <p:spPr>
            <a:xfrm>
              <a:off x="11038637" y="1534281"/>
              <a:ext cx="219456" cy="219456"/>
            </a:xfrm>
            <a:custGeom>
              <a:avLst/>
              <a:gdLst>
                <a:gd name="connsiteX0" fmla="*/ 0 w 219456"/>
                <a:gd name="connsiteY0" fmla="*/ 0 h 219455"/>
                <a:gd name="connsiteX1" fmla="*/ 231892 w 219456"/>
                <a:gd name="connsiteY1" fmla="*/ 223357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19455">
                  <a:moveTo>
                    <a:pt x="0" y="0"/>
                  </a:moveTo>
                  <a:lnTo>
                    <a:pt x="231892" y="2233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387AFEB-E764-4BDD-BD02-9F754F07238E}"/>
                </a:ext>
              </a:extLst>
            </p:cNvPr>
            <p:cNvSpPr/>
            <p:nvPr/>
          </p:nvSpPr>
          <p:spPr>
            <a:xfrm>
              <a:off x="11285403" y="1829815"/>
              <a:ext cx="243840" cy="268224"/>
            </a:xfrm>
            <a:custGeom>
              <a:avLst/>
              <a:gdLst>
                <a:gd name="connsiteX0" fmla="*/ 244815 w 243840"/>
                <a:gd name="connsiteY0" fmla="*/ 0 h 268223"/>
                <a:gd name="connsiteX1" fmla="*/ 0 w 243840"/>
                <a:gd name="connsiteY1" fmla="*/ 272857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68223">
                  <a:moveTo>
                    <a:pt x="244815" y="0"/>
                  </a:moveTo>
                  <a:lnTo>
                    <a:pt x="0" y="2728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33F58C6-1A25-40DF-AF74-FE9627A7E967}"/>
                </a:ext>
              </a:extLst>
            </p:cNvPr>
            <p:cNvSpPr/>
            <p:nvPr/>
          </p:nvSpPr>
          <p:spPr>
            <a:xfrm>
              <a:off x="10918180" y="1966121"/>
              <a:ext cx="365760" cy="365760"/>
            </a:xfrm>
            <a:custGeom>
              <a:avLst/>
              <a:gdLst>
                <a:gd name="connsiteX0" fmla="*/ 0 w 365760"/>
                <a:gd name="connsiteY0" fmla="*/ 0 h 365759"/>
                <a:gd name="connsiteX1" fmla="*/ 374538 w 365760"/>
                <a:gd name="connsiteY1" fmla="*/ 367223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760" h="365759">
                  <a:moveTo>
                    <a:pt x="0" y="0"/>
                  </a:moveTo>
                  <a:lnTo>
                    <a:pt x="374538" y="367223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05A9F5-E3FD-47DF-A624-5B1166595FB9}"/>
                </a:ext>
              </a:extLst>
            </p:cNvPr>
            <p:cNvSpPr/>
            <p:nvPr/>
          </p:nvSpPr>
          <p:spPr>
            <a:xfrm>
              <a:off x="11292474" y="2149733"/>
              <a:ext cx="438912" cy="414528"/>
            </a:xfrm>
            <a:custGeom>
              <a:avLst/>
              <a:gdLst>
                <a:gd name="connsiteX0" fmla="*/ 443057 w 438912"/>
                <a:gd name="connsiteY0" fmla="*/ 0 h 414527"/>
                <a:gd name="connsiteX1" fmla="*/ 0 w 438912"/>
                <a:gd name="connsiteY1" fmla="*/ 427451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8912" h="414527">
                  <a:moveTo>
                    <a:pt x="443057" y="0"/>
                  </a:moveTo>
                  <a:lnTo>
                    <a:pt x="0" y="4274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FA883DC-092C-4BA7-903B-CE206E5B5165}"/>
                </a:ext>
              </a:extLst>
            </p:cNvPr>
            <p:cNvSpPr/>
            <p:nvPr/>
          </p:nvSpPr>
          <p:spPr>
            <a:xfrm>
              <a:off x="10797479" y="2428686"/>
              <a:ext cx="487680" cy="438912"/>
            </a:xfrm>
            <a:custGeom>
              <a:avLst/>
              <a:gdLst>
                <a:gd name="connsiteX0" fmla="*/ 0 w 487680"/>
                <a:gd name="connsiteY0" fmla="*/ 0 h 438911"/>
                <a:gd name="connsiteX1" fmla="*/ 489143 w 487680"/>
                <a:gd name="connsiteY1" fmla="*/ 448422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0" h="438911">
                  <a:moveTo>
                    <a:pt x="0" y="0"/>
                  </a:moveTo>
                  <a:lnTo>
                    <a:pt x="489143" y="44842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20362A7-DEF4-4AF5-9222-C2CAEF4355C4}"/>
                </a:ext>
              </a:extLst>
            </p:cNvPr>
            <p:cNvSpPr/>
            <p:nvPr/>
          </p:nvSpPr>
          <p:spPr>
            <a:xfrm>
              <a:off x="11278819" y="2679109"/>
              <a:ext cx="512064" cy="341376"/>
            </a:xfrm>
            <a:custGeom>
              <a:avLst/>
              <a:gdLst>
                <a:gd name="connsiteX0" fmla="*/ 524987 w 512064"/>
                <a:gd name="connsiteY0" fmla="*/ 0 h 341375"/>
                <a:gd name="connsiteX1" fmla="*/ 0 w 512064"/>
                <a:gd name="connsiteY1" fmla="*/ 36454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2064" h="341375">
                  <a:moveTo>
                    <a:pt x="524987" y="0"/>
                  </a:moveTo>
                  <a:lnTo>
                    <a:pt x="0" y="3645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E96689F-A080-4032-AF87-666EE826E4F1}"/>
                </a:ext>
              </a:extLst>
            </p:cNvPr>
            <p:cNvSpPr/>
            <p:nvPr/>
          </p:nvSpPr>
          <p:spPr>
            <a:xfrm>
              <a:off x="10056206" y="2149733"/>
              <a:ext cx="195072" cy="1146048"/>
            </a:xfrm>
            <a:custGeom>
              <a:avLst/>
              <a:gdLst>
                <a:gd name="connsiteX0" fmla="*/ 0 w 195072"/>
                <a:gd name="connsiteY0" fmla="*/ 0 h 1146047"/>
                <a:gd name="connsiteX1" fmla="*/ 208483 w 195072"/>
                <a:gd name="connsiteY1" fmla="*/ 1159947 h 114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146047">
                  <a:moveTo>
                    <a:pt x="0" y="0"/>
                  </a:moveTo>
                  <a:cubicBezTo>
                    <a:pt x="0" y="0"/>
                    <a:pt x="192146" y="592531"/>
                    <a:pt x="208483" y="115994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52B809-45E2-4DEB-8D43-0746B47A7242}"/>
                </a:ext>
              </a:extLst>
            </p:cNvPr>
            <p:cNvSpPr/>
            <p:nvPr/>
          </p:nvSpPr>
          <p:spPr>
            <a:xfrm>
              <a:off x="10122774" y="2200208"/>
              <a:ext cx="48768" cy="170688"/>
            </a:xfrm>
            <a:custGeom>
              <a:avLst/>
              <a:gdLst>
                <a:gd name="connsiteX0" fmla="*/ 70226 w 48768"/>
                <a:gd name="connsiteY0" fmla="*/ 0 h 170687"/>
                <a:gd name="connsiteX1" fmla="*/ 0 w 48768"/>
                <a:gd name="connsiteY1" fmla="*/ 186294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70687">
                  <a:moveTo>
                    <a:pt x="70226" y="0"/>
                  </a:moveTo>
                  <a:lnTo>
                    <a:pt x="0" y="18629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4132E27-5C8B-4140-AF2C-0DA11251F028}"/>
                </a:ext>
              </a:extLst>
            </p:cNvPr>
            <p:cNvSpPr/>
            <p:nvPr/>
          </p:nvSpPr>
          <p:spPr>
            <a:xfrm>
              <a:off x="10202509" y="2294086"/>
              <a:ext cx="195072" cy="438912"/>
            </a:xfrm>
            <a:custGeom>
              <a:avLst/>
              <a:gdLst>
                <a:gd name="connsiteX0" fmla="*/ 218481 w 195072"/>
                <a:gd name="connsiteY0" fmla="*/ 0 h 438911"/>
                <a:gd name="connsiteX1" fmla="*/ 0 w 195072"/>
                <a:gd name="connsiteY1" fmla="*/ 457688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438911">
                  <a:moveTo>
                    <a:pt x="218481" y="0"/>
                  </a:moveTo>
                  <a:lnTo>
                    <a:pt x="0" y="45768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3510742-BEC5-4745-824F-1E8880BC88E6}"/>
                </a:ext>
              </a:extLst>
            </p:cNvPr>
            <p:cNvSpPr/>
            <p:nvPr/>
          </p:nvSpPr>
          <p:spPr>
            <a:xfrm>
              <a:off x="10249571" y="2698616"/>
              <a:ext cx="219456" cy="365760"/>
            </a:xfrm>
            <a:custGeom>
              <a:avLst/>
              <a:gdLst>
                <a:gd name="connsiteX0" fmla="*/ 233355 w 219456"/>
                <a:gd name="connsiteY0" fmla="*/ 0 h 365759"/>
                <a:gd name="connsiteX1" fmla="*/ 0 w 219456"/>
                <a:gd name="connsiteY1" fmla="*/ 384292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365759">
                  <a:moveTo>
                    <a:pt x="233355" y="0"/>
                  </a:moveTo>
                  <a:lnTo>
                    <a:pt x="0" y="38429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1277AEB-7279-47B5-A074-F309964A3D57}"/>
                </a:ext>
              </a:extLst>
            </p:cNvPr>
            <p:cNvSpPr/>
            <p:nvPr/>
          </p:nvSpPr>
          <p:spPr>
            <a:xfrm>
              <a:off x="9968423" y="2373822"/>
              <a:ext cx="170688" cy="73152"/>
            </a:xfrm>
            <a:custGeom>
              <a:avLst/>
              <a:gdLst>
                <a:gd name="connsiteX0" fmla="*/ 0 w 170688"/>
                <a:gd name="connsiteY0" fmla="*/ 0 h 73151"/>
                <a:gd name="connsiteX1" fmla="*/ 172882 w 170688"/>
                <a:gd name="connsiteY1" fmla="*/ 8705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73151">
                  <a:moveTo>
                    <a:pt x="0" y="0"/>
                  </a:moveTo>
                  <a:lnTo>
                    <a:pt x="172882" y="870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C664493-5E34-456F-A6DE-D0E8AE23B777}"/>
                </a:ext>
              </a:extLst>
            </p:cNvPr>
            <p:cNvSpPr/>
            <p:nvPr/>
          </p:nvSpPr>
          <p:spPr>
            <a:xfrm>
              <a:off x="9874057" y="2652774"/>
              <a:ext cx="316992" cy="146304"/>
            </a:xfrm>
            <a:custGeom>
              <a:avLst/>
              <a:gdLst>
                <a:gd name="connsiteX0" fmla="*/ 0 w 316992"/>
                <a:gd name="connsiteY0" fmla="*/ 0 h 146303"/>
                <a:gd name="connsiteX1" fmla="*/ 340889 w 316992"/>
                <a:gd name="connsiteY1" fmla="*/ 170200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146303">
                  <a:moveTo>
                    <a:pt x="0" y="0"/>
                  </a:moveTo>
                  <a:lnTo>
                    <a:pt x="340889" y="1702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6D0E4E7-13F0-4DB2-9F5B-06A6C8D0D914}"/>
                </a:ext>
              </a:extLst>
            </p:cNvPr>
            <p:cNvSpPr/>
            <p:nvPr/>
          </p:nvSpPr>
          <p:spPr>
            <a:xfrm>
              <a:off x="9947453" y="3009756"/>
              <a:ext cx="292608" cy="97536"/>
            </a:xfrm>
            <a:custGeom>
              <a:avLst/>
              <a:gdLst>
                <a:gd name="connsiteX0" fmla="*/ 0 w 292608"/>
                <a:gd name="connsiteY0" fmla="*/ 0 h 97535"/>
                <a:gd name="connsiteX1" fmla="*/ 306507 w 292608"/>
                <a:gd name="connsiteY1" fmla="*/ 118750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608" h="97535">
                  <a:moveTo>
                    <a:pt x="0" y="0"/>
                  </a:moveTo>
                  <a:lnTo>
                    <a:pt x="306507" y="11875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749D8B2-2519-4E11-BE5E-3F8BB8C102FB}"/>
                </a:ext>
              </a:extLst>
            </p:cNvPr>
            <p:cNvSpPr/>
            <p:nvPr/>
          </p:nvSpPr>
          <p:spPr>
            <a:xfrm>
              <a:off x="8722347" y="1691694"/>
              <a:ext cx="1560576" cy="1609344"/>
            </a:xfrm>
            <a:custGeom>
              <a:avLst/>
              <a:gdLst>
                <a:gd name="connsiteX0" fmla="*/ 1563068 w 1560576"/>
                <a:gd name="connsiteY0" fmla="*/ 1616522 h 1609343"/>
                <a:gd name="connsiteX1" fmla="*/ 1304597 w 1560576"/>
                <a:gd name="connsiteY1" fmla="*/ 917920 h 1609343"/>
                <a:gd name="connsiteX2" fmla="*/ 951760 w 1560576"/>
                <a:gd name="connsiteY2" fmla="*/ 537286 h 1609343"/>
                <a:gd name="connsiteX3" fmla="*/ 665493 w 1560576"/>
                <a:gd name="connsiteY3" fmla="*/ 3277 h 1609343"/>
                <a:gd name="connsiteX4" fmla="*/ 379225 w 1560576"/>
                <a:gd name="connsiteY4" fmla="*/ 584347 h 1609343"/>
                <a:gd name="connsiteX5" fmla="*/ 67840 w 1560576"/>
                <a:gd name="connsiteY5" fmla="*/ 955472 h 1609343"/>
                <a:gd name="connsiteX6" fmla="*/ 77838 w 1560576"/>
                <a:gd name="connsiteY6" fmla="*/ 1616278 h 1609343"/>
                <a:gd name="connsiteX7" fmla="*/ 1563068 w 1560576"/>
                <a:gd name="connsiteY7" fmla="*/ 1616278 h 160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0576" h="1609343">
                  <a:moveTo>
                    <a:pt x="1563068" y="1616522"/>
                  </a:moveTo>
                  <a:cubicBezTo>
                    <a:pt x="1624272" y="1197605"/>
                    <a:pt x="1478211" y="948888"/>
                    <a:pt x="1304597" y="917920"/>
                  </a:cubicBezTo>
                  <a:cubicBezTo>
                    <a:pt x="1126107" y="886221"/>
                    <a:pt x="1005650" y="820872"/>
                    <a:pt x="951760" y="537286"/>
                  </a:cubicBezTo>
                  <a:cubicBezTo>
                    <a:pt x="897872" y="253700"/>
                    <a:pt x="864710" y="-34031"/>
                    <a:pt x="665493" y="3277"/>
                  </a:cubicBezTo>
                  <a:cubicBezTo>
                    <a:pt x="466275" y="40584"/>
                    <a:pt x="395806" y="293690"/>
                    <a:pt x="379225" y="584347"/>
                  </a:cubicBezTo>
                  <a:cubicBezTo>
                    <a:pt x="362643" y="874761"/>
                    <a:pt x="238041" y="841599"/>
                    <a:pt x="67840" y="955472"/>
                  </a:cubicBezTo>
                  <a:cubicBezTo>
                    <a:pt x="-65052" y="1044473"/>
                    <a:pt x="30046" y="1445346"/>
                    <a:pt x="77838" y="1616278"/>
                  </a:cubicBezTo>
                  <a:lnTo>
                    <a:pt x="1563068" y="1616278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3247B0A-CDBA-414B-95FF-54A552364396}"/>
                </a:ext>
              </a:extLst>
            </p:cNvPr>
            <p:cNvSpPr/>
            <p:nvPr/>
          </p:nvSpPr>
          <p:spPr>
            <a:xfrm>
              <a:off x="8819326" y="2604982"/>
              <a:ext cx="1292352" cy="682752"/>
            </a:xfrm>
            <a:custGeom>
              <a:avLst/>
              <a:gdLst>
                <a:gd name="connsiteX0" fmla="*/ 1272724 w 1292352"/>
                <a:gd name="connsiteY0" fmla="*/ 379415 h 682751"/>
                <a:gd name="connsiteX1" fmla="*/ 897211 w 1292352"/>
                <a:gd name="connsiteY1" fmla="*/ 421356 h 682751"/>
                <a:gd name="connsiteX2" fmla="*/ 617038 w 1292352"/>
                <a:gd name="connsiteY2" fmla="*/ 0 h 682751"/>
                <a:gd name="connsiteX3" fmla="*/ 303704 w 1292352"/>
                <a:gd name="connsiteY3" fmla="*/ 466954 h 682751"/>
                <a:gd name="connsiteX4" fmla="*/ 52549 w 1292352"/>
                <a:gd name="connsiteY4" fmla="*/ 333573 h 682751"/>
                <a:gd name="connsiteX5" fmla="*/ 43527 w 1292352"/>
                <a:gd name="connsiteY5" fmla="*/ 703234 h 682751"/>
                <a:gd name="connsiteX6" fmla="*/ 1220055 w 1292352"/>
                <a:gd name="connsiteY6" fmla="*/ 703234 h 682751"/>
                <a:gd name="connsiteX7" fmla="*/ 1272724 w 1292352"/>
                <a:gd name="connsiteY7" fmla="*/ 379415 h 68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2352" h="682751">
                  <a:moveTo>
                    <a:pt x="1272724" y="379415"/>
                  </a:moveTo>
                  <a:cubicBezTo>
                    <a:pt x="1191769" y="322844"/>
                    <a:pt x="1027909" y="435986"/>
                    <a:pt x="897211" y="421356"/>
                  </a:cubicBezTo>
                  <a:cubicBezTo>
                    <a:pt x="766512" y="406725"/>
                    <a:pt x="799675" y="0"/>
                    <a:pt x="617038" y="0"/>
                  </a:cubicBezTo>
                  <a:cubicBezTo>
                    <a:pt x="434402" y="0"/>
                    <a:pt x="449033" y="464759"/>
                    <a:pt x="303704" y="466954"/>
                  </a:cubicBezTo>
                  <a:cubicBezTo>
                    <a:pt x="158375" y="468904"/>
                    <a:pt x="170811" y="265786"/>
                    <a:pt x="52549" y="333573"/>
                  </a:cubicBezTo>
                  <a:cubicBezTo>
                    <a:pt x="-44987" y="389412"/>
                    <a:pt x="18411" y="623011"/>
                    <a:pt x="43527" y="703234"/>
                  </a:cubicBezTo>
                  <a:lnTo>
                    <a:pt x="1220055" y="703234"/>
                  </a:lnTo>
                  <a:cubicBezTo>
                    <a:pt x="1264921" y="596676"/>
                    <a:pt x="1328564" y="418429"/>
                    <a:pt x="1272724" y="379415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F9F39C0-3E48-41B4-8969-4C09A54EE9C7}"/>
                </a:ext>
              </a:extLst>
            </p:cNvPr>
            <p:cNvSpPr/>
            <p:nvPr/>
          </p:nvSpPr>
          <p:spPr>
            <a:xfrm>
              <a:off x="9403202" y="1904917"/>
              <a:ext cx="24384" cy="1389888"/>
            </a:xfrm>
            <a:custGeom>
              <a:avLst/>
              <a:gdLst>
                <a:gd name="connsiteX0" fmla="*/ 0 w 24384"/>
                <a:gd name="connsiteY0" fmla="*/ 0 h 1389887"/>
                <a:gd name="connsiteX1" fmla="*/ 9266 w 24384"/>
                <a:gd name="connsiteY1" fmla="*/ 1403543 h 138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389887">
                  <a:moveTo>
                    <a:pt x="0" y="0"/>
                  </a:moveTo>
                  <a:cubicBezTo>
                    <a:pt x="0" y="0"/>
                    <a:pt x="72421" y="831738"/>
                    <a:pt x="9266" y="140354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70CF274-641A-4F42-8DF5-C5C25ED1D035}"/>
                </a:ext>
              </a:extLst>
            </p:cNvPr>
            <p:cNvSpPr/>
            <p:nvPr/>
          </p:nvSpPr>
          <p:spPr>
            <a:xfrm>
              <a:off x="9415638" y="1960025"/>
              <a:ext cx="73152" cy="97536"/>
            </a:xfrm>
            <a:custGeom>
              <a:avLst/>
              <a:gdLst>
                <a:gd name="connsiteX0" fmla="*/ 83393 w 73152"/>
                <a:gd name="connsiteY0" fmla="*/ 0 h 97535"/>
                <a:gd name="connsiteX1" fmla="*/ 0 w 73152"/>
                <a:gd name="connsiteY1" fmla="*/ 117287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97535">
                  <a:moveTo>
                    <a:pt x="83393" y="0"/>
                  </a:moveTo>
                  <a:lnTo>
                    <a:pt x="0" y="1172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6C95E72-EBA8-4693-82DE-A741C633D29D}"/>
                </a:ext>
              </a:extLst>
            </p:cNvPr>
            <p:cNvSpPr/>
            <p:nvPr/>
          </p:nvSpPr>
          <p:spPr>
            <a:xfrm>
              <a:off x="9255679" y="2032202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66787 w 146304"/>
                <a:gd name="connsiteY1" fmla="*/ 16069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66787" y="1606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5D88DC9-557C-4A0A-891D-77BF05E00DFB}"/>
                </a:ext>
              </a:extLst>
            </p:cNvPr>
            <p:cNvSpPr/>
            <p:nvPr/>
          </p:nvSpPr>
          <p:spPr>
            <a:xfrm>
              <a:off x="9433194" y="2244586"/>
              <a:ext cx="170688" cy="195072"/>
            </a:xfrm>
            <a:custGeom>
              <a:avLst/>
              <a:gdLst>
                <a:gd name="connsiteX0" fmla="*/ 175809 w 170688"/>
                <a:gd name="connsiteY0" fmla="*/ 0 h 195071"/>
                <a:gd name="connsiteX1" fmla="*/ 0 w 170688"/>
                <a:gd name="connsiteY1" fmla="*/ 19604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95071">
                  <a:moveTo>
                    <a:pt x="175809" y="0"/>
                  </a:moveTo>
                  <a:lnTo>
                    <a:pt x="0" y="19604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77138AE-FBDA-48C8-A631-CEA0D4AFD4F4}"/>
                </a:ext>
              </a:extLst>
            </p:cNvPr>
            <p:cNvSpPr/>
            <p:nvPr/>
          </p:nvSpPr>
          <p:spPr>
            <a:xfrm>
              <a:off x="9169116" y="2342610"/>
              <a:ext cx="268224" cy="243840"/>
            </a:xfrm>
            <a:custGeom>
              <a:avLst/>
              <a:gdLst>
                <a:gd name="connsiteX0" fmla="*/ 0 w 268224"/>
                <a:gd name="connsiteY0" fmla="*/ 0 h 243839"/>
                <a:gd name="connsiteX1" fmla="*/ 269200 w 268224"/>
                <a:gd name="connsiteY1" fmla="*/ 263835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43839">
                  <a:moveTo>
                    <a:pt x="0" y="0"/>
                  </a:moveTo>
                  <a:lnTo>
                    <a:pt x="269200" y="26383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3024CDF-1985-429D-9786-19754090781B}"/>
                </a:ext>
              </a:extLst>
            </p:cNvPr>
            <p:cNvSpPr/>
            <p:nvPr/>
          </p:nvSpPr>
          <p:spPr>
            <a:xfrm>
              <a:off x="9438071" y="2474527"/>
              <a:ext cx="316992" cy="292608"/>
            </a:xfrm>
            <a:custGeom>
              <a:avLst/>
              <a:gdLst>
                <a:gd name="connsiteX0" fmla="*/ 318455 w 316992"/>
                <a:gd name="connsiteY0" fmla="*/ 0 h 292607"/>
                <a:gd name="connsiteX1" fmla="*/ 0 w 316992"/>
                <a:gd name="connsiteY1" fmla="*/ 307238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292607">
                  <a:moveTo>
                    <a:pt x="318455" y="0"/>
                  </a:moveTo>
                  <a:lnTo>
                    <a:pt x="0" y="3072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70D8454-7703-4ADF-849A-3322284F0DDB}"/>
                </a:ext>
              </a:extLst>
            </p:cNvPr>
            <p:cNvSpPr/>
            <p:nvPr/>
          </p:nvSpPr>
          <p:spPr>
            <a:xfrm>
              <a:off x="9246413" y="2812733"/>
              <a:ext cx="170688" cy="170688"/>
            </a:xfrm>
            <a:custGeom>
              <a:avLst/>
              <a:gdLst>
                <a:gd name="connsiteX0" fmla="*/ 0 w 170688"/>
                <a:gd name="connsiteY0" fmla="*/ 0 h 170687"/>
                <a:gd name="connsiteX1" fmla="*/ 187513 w 170688"/>
                <a:gd name="connsiteY1" fmla="*/ 18458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70687">
                  <a:moveTo>
                    <a:pt x="0" y="0"/>
                  </a:moveTo>
                  <a:lnTo>
                    <a:pt x="187513" y="1845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630D5F5-671A-4B54-8639-1817C42EC345}"/>
                </a:ext>
              </a:extLst>
            </p:cNvPr>
            <p:cNvSpPr/>
            <p:nvPr/>
          </p:nvSpPr>
          <p:spPr>
            <a:xfrm>
              <a:off x="9428317" y="2861989"/>
              <a:ext cx="219456" cy="243840"/>
            </a:xfrm>
            <a:custGeom>
              <a:avLst/>
              <a:gdLst>
                <a:gd name="connsiteX0" fmla="*/ 241157 w 219456"/>
                <a:gd name="connsiteY0" fmla="*/ 0 h 243839"/>
                <a:gd name="connsiteX1" fmla="*/ 0 w 219456"/>
                <a:gd name="connsiteY1" fmla="*/ 255056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43839">
                  <a:moveTo>
                    <a:pt x="241157" y="0"/>
                  </a:moveTo>
                  <a:lnTo>
                    <a:pt x="0" y="25505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9D2BAD05-FE19-45AC-BDA9-748B15C039A5}"/>
                </a:ext>
              </a:extLst>
            </p:cNvPr>
            <p:cNvSpPr/>
            <p:nvPr/>
          </p:nvSpPr>
          <p:spPr>
            <a:xfrm>
              <a:off x="8950878" y="2781278"/>
              <a:ext cx="73152" cy="512064"/>
            </a:xfrm>
            <a:custGeom>
              <a:avLst/>
              <a:gdLst>
                <a:gd name="connsiteX0" fmla="*/ 0 w 73152"/>
                <a:gd name="connsiteY0" fmla="*/ 0 h 512063"/>
                <a:gd name="connsiteX1" fmla="*/ 84369 w 73152"/>
                <a:gd name="connsiteY1" fmla="*/ 527182 h 51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12063">
                  <a:moveTo>
                    <a:pt x="0" y="0"/>
                  </a:moveTo>
                  <a:cubicBezTo>
                    <a:pt x="0" y="0"/>
                    <a:pt x="72665" y="119238"/>
                    <a:pt x="84369" y="52718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94E8627-6C5A-4F01-A9DC-9F1B0D0568DA}"/>
                </a:ext>
              </a:extLst>
            </p:cNvPr>
            <p:cNvSpPr/>
            <p:nvPr/>
          </p:nvSpPr>
          <p:spPr>
            <a:xfrm>
              <a:off x="9024518" y="2976106"/>
              <a:ext cx="97536" cy="146304"/>
            </a:xfrm>
            <a:custGeom>
              <a:avLst/>
              <a:gdLst>
                <a:gd name="connsiteX0" fmla="*/ 102413 w 97536"/>
                <a:gd name="connsiteY0" fmla="*/ 0 h 146303"/>
                <a:gd name="connsiteX1" fmla="*/ 0 w 97536"/>
                <a:gd name="connsiteY1" fmla="*/ 16922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02413" y="0"/>
                  </a:moveTo>
                  <a:lnTo>
                    <a:pt x="0" y="16922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83B00FA-A029-440F-960F-654E67EA43BA}"/>
                </a:ext>
              </a:extLst>
            </p:cNvPr>
            <p:cNvSpPr/>
            <p:nvPr/>
          </p:nvSpPr>
          <p:spPr>
            <a:xfrm>
              <a:off x="8807257" y="3092662"/>
              <a:ext cx="219456" cy="73152"/>
            </a:xfrm>
            <a:custGeom>
              <a:avLst/>
              <a:gdLst>
                <a:gd name="connsiteX0" fmla="*/ 0 w 219456"/>
                <a:gd name="connsiteY0" fmla="*/ 0 h 73151"/>
                <a:gd name="connsiteX1" fmla="*/ 220188 w 219456"/>
                <a:gd name="connsiteY1" fmla="*/ 85344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0" y="0"/>
                  </a:moveTo>
                  <a:lnTo>
                    <a:pt x="220188" y="8534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7D1F5D6-1927-4BC3-8D78-DE512966E327}"/>
                </a:ext>
              </a:extLst>
            </p:cNvPr>
            <p:cNvSpPr/>
            <p:nvPr/>
          </p:nvSpPr>
          <p:spPr>
            <a:xfrm>
              <a:off x="9941357" y="2872962"/>
              <a:ext cx="48768" cy="414528"/>
            </a:xfrm>
            <a:custGeom>
              <a:avLst/>
              <a:gdLst>
                <a:gd name="connsiteX0" fmla="*/ 49011 w 48768"/>
                <a:gd name="connsiteY0" fmla="*/ 0 h 414527"/>
                <a:gd name="connsiteX1" fmla="*/ 0 w 48768"/>
                <a:gd name="connsiteY1" fmla="*/ 435498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49011" y="0"/>
                  </a:moveTo>
                  <a:cubicBezTo>
                    <a:pt x="49011" y="0"/>
                    <a:pt x="11704" y="27554"/>
                    <a:pt x="0" y="43549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0F07BD1-D852-4702-A0F2-FE23DFE653D5}"/>
                </a:ext>
              </a:extLst>
            </p:cNvPr>
            <p:cNvSpPr/>
            <p:nvPr/>
          </p:nvSpPr>
          <p:spPr>
            <a:xfrm>
              <a:off x="9849917" y="2976594"/>
              <a:ext cx="97536" cy="146304"/>
            </a:xfrm>
            <a:custGeom>
              <a:avLst/>
              <a:gdLst>
                <a:gd name="connsiteX0" fmla="*/ 0 w 97536"/>
                <a:gd name="connsiteY0" fmla="*/ 0 h 146303"/>
                <a:gd name="connsiteX1" fmla="*/ 102169 w 97536"/>
                <a:gd name="connsiteY1" fmla="*/ 168737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0" y="0"/>
                  </a:moveTo>
                  <a:lnTo>
                    <a:pt x="102169" y="16873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A7D0A88-7EF5-41F2-9BA6-AEB4EEFE415B}"/>
                </a:ext>
              </a:extLst>
            </p:cNvPr>
            <p:cNvSpPr/>
            <p:nvPr/>
          </p:nvSpPr>
          <p:spPr>
            <a:xfrm>
              <a:off x="9949160" y="3117777"/>
              <a:ext cx="146304" cy="48768"/>
            </a:xfrm>
            <a:custGeom>
              <a:avLst/>
              <a:gdLst>
                <a:gd name="connsiteX0" fmla="*/ 155082 w 146304"/>
                <a:gd name="connsiteY0" fmla="*/ 0 h 48767"/>
                <a:gd name="connsiteX1" fmla="*/ 0 w 146304"/>
                <a:gd name="connsiteY1" fmla="*/ 6022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48767">
                  <a:moveTo>
                    <a:pt x="155082" y="0"/>
                  </a:moveTo>
                  <a:lnTo>
                    <a:pt x="0" y="6022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60660E3-3D13-4E53-BED2-4D0B847F8DF7}"/>
                </a:ext>
              </a:extLst>
            </p:cNvPr>
            <p:cNvSpPr/>
            <p:nvPr/>
          </p:nvSpPr>
          <p:spPr>
            <a:xfrm>
              <a:off x="7475159" y="2195962"/>
              <a:ext cx="1463040" cy="1097280"/>
            </a:xfrm>
            <a:custGeom>
              <a:avLst/>
              <a:gdLst>
                <a:gd name="connsiteX0" fmla="*/ 1449385 w 1463040"/>
                <a:gd name="connsiteY0" fmla="*/ 1110791 h 1097279"/>
                <a:gd name="connsiteX1" fmla="*/ 1342827 w 1463040"/>
                <a:gd name="connsiteY1" fmla="*/ 832 h 1097279"/>
                <a:gd name="connsiteX2" fmla="*/ 998037 w 1463040"/>
                <a:gd name="connsiteY2" fmla="*/ 451692 h 1097279"/>
                <a:gd name="connsiteX3" fmla="*/ 637398 w 1463040"/>
                <a:gd name="connsiteY3" fmla="*/ 459495 h 1097279"/>
                <a:gd name="connsiteX4" fmla="*/ 403799 w 1463040"/>
                <a:gd name="connsiteY4" fmla="*/ 743325 h 1097279"/>
                <a:gd name="connsiteX5" fmla="*/ 0 w 1463040"/>
                <a:gd name="connsiteY5" fmla="*/ 1110548 h 1097279"/>
                <a:gd name="connsiteX6" fmla="*/ 1449385 w 1463040"/>
                <a:gd name="connsiteY6" fmla="*/ 1110548 h 109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3040" h="1097279">
                  <a:moveTo>
                    <a:pt x="1449385" y="1110791"/>
                  </a:moveTo>
                  <a:cubicBezTo>
                    <a:pt x="1449385" y="1110791"/>
                    <a:pt x="1532291" y="24241"/>
                    <a:pt x="1342827" y="832"/>
                  </a:cubicBezTo>
                  <a:cubicBezTo>
                    <a:pt x="1153120" y="-22577"/>
                    <a:pt x="1186770" y="455837"/>
                    <a:pt x="998037" y="451692"/>
                  </a:cubicBezTo>
                  <a:cubicBezTo>
                    <a:pt x="809549" y="447547"/>
                    <a:pt x="706405" y="289782"/>
                    <a:pt x="637398" y="459495"/>
                  </a:cubicBezTo>
                  <a:cubicBezTo>
                    <a:pt x="568391" y="629208"/>
                    <a:pt x="566684" y="794287"/>
                    <a:pt x="403799" y="743325"/>
                  </a:cubicBezTo>
                  <a:cubicBezTo>
                    <a:pt x="240670" y="692362"/>
                    <a:pt x="0" y="1110548"/>
                    <a:pt x="0" y="1110548"/>
                  </a:cubicBezTo>
                  <a:lnTo>
                    <a:pt x="1449385" y="1110548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5D14979D-D615-498E-8096-9A6471B1BF57}"/>
                </a:ext>
              </a:extLst>
            </p:cNvPr>
            <p:cNvSpPr/>
            <p:nvPr/>
          </p:nvSpPr>
          <p:spPr>
            <a:xfrm>
              <a:off x="7474672" y="2577151"/>
              <a:ext cx="902208" cy="707136"/>
            </a:xfrm>
            <a:custGeom>
              <a:avLst/>
              <a:gdLst>
                <a:gd name="connsiteX0" fmla="*/ 404042 w 902208"/>
                <a:gd name="connsiteY0" fmla="*/ 362379 h 707135"/>
                <a:gd name="connsiteX1" fmla="*/ 637641 w 902208"/>
                <a:gd name="connsiteY1" fmla="*/ 78549 h 707135"/>
                <a:gd name="connsiteX2" fmla="*/ 916839 w 902208"/>
                <a:gd name="connsiteY2" fmla="*/ 59530 h 707135"/>
                <a:gd name="connsiteX3" fmla="*/ 916839 w 902208"/>
                <a:gd name="connsiteY3" fmla="*/ 729602 h 707135"/>
                <a:gd name="connsiteX4" fmla="*/ 0 w 902208"/>
                <a:gd name="connsiteY4" fmla="*/ 729602 h 707135"/>
                <a:gd name="connsiteX5" fmla="*/ 404042 w 902208"/>
                <a:gd name="connsiteY5" fmla="*/ 362379 h 70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2208" h="707135">
                  <a:moveTo>
                    <a:pt x="404042" y="362379"/>
                  </a:moveTo>
                  <a:cubicBezTo>
                    <a:pt x="567171" y="413341"/>
                    <a:pt x="568878" y="248262"/>
                    <a:pt x="637641" y="78549"/>
                  </a:cubicBezTo>
                  <a:cubicBezTo>
                    <a:pt x="695919" y="-65073"/>
                    <a:pt x="778825" y="25636"/>
                    <a:pt x="916839" y="59530"/>
                  </a:cubicBezTo>
                  <a:lnTo>
                    <a:pt x="916839" y="729602"/>
                  </a:lnTo>
                  <a:lnTo>
                    <a:pt x="0" y="729602"/>
                  </a:lnTo>
                  <a:cubicBezTo>
                    <a:pt x="243" y="729602"/>
                    <a:pt x="240914" y="311416"/>
                    <a:pt x="404042" y="362379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9EFD81-A786-4276-A7F5-6F81A59C13A8}"/>
                </a:ext>
              </a:extLst>
            </p:cNvPr>
            <p:cNvSpPr/>
            <p:nvPr/>
          </p:nvSpPr>
          <p:spPr>
            <a:xfrm>
              <a:off x="0" y="1601012"/>
              <a:ext cx="2584704" cy="1706880"/>
            </a:xfrm>
            <a:custGeom>
              <a:avLst/>
              <a:gdLst>
                <a:gd name="connsiteX0" fmla="*/ 2605430 w 2584704"/>
                <a:gd name="connsiteY0" fmla="*/ 1707204 h 1706879"/>
                <a:gd name="connsiteX1" fmla="*/ 0 w 2584704"/>
                <a:gd name="connsiteY1" fmla="*/ 1707204 h 1706879"/>
                <a:gd name="connsiteX2" fmla="*/ 0 w 2584704"/>
                <a:gd name="connsiteY2" fmla="*/ 543844 h 1706879"/>
                <a:gd name="connsiteX3" fmla="*/ 283830 w 2584704"/>
                <a:gd name="connsiteY3" fmla="*/ 324 h 1706879"/>
                <a:gd name="connsiteX4" fmla="*/ 1247729 w 2584704"/>
                <a:gd name="connsiteY4" fmla="*/ 896680 h 1706879"/>
                <a:gd name="connsiteX5" fmla="*/ 2605430 w 2584704"/>
                <a:gd name="connsiteY5" fmla="*/ 1271706 h 1706879"/>
                <a:gd name="connsiteX6" fmla="*/ 2605430 w 2584704"/>
                <a:gd name="connsiteY6" fmla="*/ 1707204 h 1706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4704" h="1706879">
                  <a:moveTo>
                    <a:pt x="2605430" y="1707204"/>
                  </a:moveTo>
                  <a:lnTo>
                    <a:pt x="0" y="1707204"/>
                  </a:lnTo>
                  <a:lnTo>
                    <a:pt x="0" y="543844"/>
                  </a:lnTo>
                  <a:cubicBezTo>
                    <a:pt x="53889" y="247090"/>
                    <a:pt x="141427" y="8127"/>
                    <a:pt x="283830" y="324"/>
                  </a:cubicBezTo>
                  <a:cubicBezTo>
                    <a:pt x="665927" y="-20402"/>
                    <a:pt x="682996" y="959590"/>
                    <a:pt x="1247729" y="896680"/>
                  </a:cubicBezTo>
                  <a:cubicBezTo>
                    <a:pt x="1691030" y="847424"/>
                    <a:pt x="2274296" y="859860"/>
                    <a:pt x="2605430" y="1271706"/>
                  </a:cubicBezTo>
                  <a:lnTo>
                    <a:pt x="2605430" y="1707204"/>
                  </a:ln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2183445-C60C-4DF9-98DF-E5C889C915B2}"/>
                </a:ext>
              </a:extLst>
            </p:cNvPr>
            <p:cNvSpPr/>
            <p:nvPr/>
          </p:nvSpPr>
          <p:spPr>
            <a:xfrm>
              <a:off x="985995" y="1772592"/>
              <a:ext cx="2023872" cy="1511808"/>
            </a:xfrm>
            <a:custGeom>
              <a:avLst/>
              <a:gdLst>
                <a:gd name="connsiteX0" fmla="*/ 24965 w 2023872"/>
                <a:gd name="connsiteY0" fmla="*/ 1534161 h 1511807"/>
                <a:gd name="connsiteX1" fmla="*/ 172245 w 2023872"/>
                <a:gd name="connsiteY1" fmla="*/ 1139 h 1511807"/>
                <a:gd name="connsiteX2" fmla="*/ 648464 w 2023872"/>
                <a:gd name="connsiteY2" fmla="*/ 623907 h 1511807"/>
                <a:gd name="connsiteX3" fmla="*/ 1146630 w 2023872"/>
                <a:gd name="connsiteY3" fmla="*/ 634636 h 1511807"/>
                <a:gd name="connsiteX4" fmla="*/ 1469474 w 2023872"/>
                <a:gd name="connsiteY4" fmla="*/ 1026730 h 1511807"/>
                <a:gd name="connsiteX5" fmla="*/ 2027380 w 2023872"/>
                <a:gd name="connsiteY5" fmla="*/ 1534161 h 1511807"/>
                <a:gd name="connsiteX6" fmla="*/ 24965 w 2023872"/>
                <a:gd name="connsiteY6" fmla="*/ 1534161 h 151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23872" h="1511807">
                  <a:moveTo>
                    <a:pt x="24965" y="1534161"/>
                  </a:moveTo>
                  <a:cubicBezTo>
                    <a:pt x="24965" y="1534161"/>
                    <a:pt x="-89639" y="33326"/>
                    <a:pt x="172245" y="1139"/>
                  </a:cubicBezTo>
                  <a:cubicBezTo>
                    <a:pt x="434129" y="-31048"/>
                    <a:pt x="387799" y="629515"/>
                    <a:pt x="648464" y="623907"/>
                  </a:cubicBezTo>
                  <a:cubicBezTo>
                    <a:pt x="908885" y="618298"/>
                    <a:pt x="1051288" y="400305"/>
                    <a:pt x="1146630" y="634636"/>
                  </a:cubicBezTo>
                  <a:cubicBezTo>
                    <a:pt x="1241727" y="869209"/>
                    <a:pt x="1244166" y="1097200"/>
                    <a:pt x="1469474" y="1026730"/>
                  </a:cubicBezTo>
                  <a:cubicBezTo>
                    <a:pt x="1694782" y="956260"/>
                    <a:pt x="2027380" y="1534161"/>
                    <a:pt x="2027380" y="1534161"/>
                  </a:cubicBezTo>
                  <a:lnTo>
                    <a:pt x="24965" y="1534161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9D2F756-A6F0-4469-AA1E-B615D3811F82}"/>
                </a:ext>
              </a:extLst>
            </p:cNvPr>
            <p:cNvSpPr/>
            <p:nvPr/>
          </p:nvSpPr>
          <p:spPr>
            <a:xfrm>
              <a:off x="1746870" y="2298856"/>
              <a:ext cx="1243584" cy="999744"/>
            </a:xfrm>
            <a:custGeom>
              <a:avLst/>
              <a:gdLst>
                <a:gd name="connsiteX0" fmla="*/ 708599 w 1243584"/>
                <a:gd name="connsiteY0" fmla="*/ 500467 h 999743"/>
                <a:gd name="connsiteX1" fmla="*/ 385755 w 1243584"/>
                <a:gd name="connsiteY1" fmla="*/ 108372 h 999743"/>
                <a:gd name="connsiteX2" fmla="*/ 0 w 1243584"/>
                <a:gd name="connsiteY2" fmla="*/ 82281 h 999743"/>
                <a:gd name="connsiteX3" fmla="*/ 0 w 1243584"/>
                <a:gd name="connsiteY3" fmla="*/ 1007898 h 999743"/>
                <a:gd name="connsiteX4" fmla="*/ 1266505 w 1243584"/>
                <a:gd name="connsiteY4" fmla="*/ 1007898 h 999743"/>
                <a:gd name="connsiteX5" fmla="*/ 708599 w 1243584"/>
                <a:gd name="connsiteY5" fmla="*/ 500467 h 99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3584" h="999743">
                  <a:moveTo>
                    <a:pt x="708599" y="500467"/>
                  </a:moveTo>
                  <a:cubicBezTo>
                    <a:pt x="483291" y="570936"/>
                    <a:pt x="481096" y="342702"/>
                    <a:pt x="385755" y="108372"/>
                  </a:cubicBezTo>
                  <a:cubicBezTo>
                    <a:pt x="305288" y="-89870"/>
                    <a:pt x="190927" y="35464"/>
                    <a:pt x="0" y="82281"/>
                  </a:cubicBezTo>
                  <a:lnTo>
                    <a:pt x="0" y="1007898"/>
                  </a:lnTo>
                  <a:lnTo>
                    <a:pt x="1266505" y="1007898"/>
                  </a:lnTo>
                  <a:cubicBezTo>
                    <a:pt x="1266261" y="1007898"/>
                    <a:pt x="933663" y="430241"/>
                    <a:pt x="708599" y="500467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159037B5-8FF4-4BB9-8AAA-08294FAA437C}"/>
                </a:ext>
              </a:extLst>
            </p:cNvPr>
            <p:cNvSpPr/>
            <p:nvPr/>
          </p:nvSpPr>
          <p:spPr>
            <a:xfrm>
              <a:off x="1850746" y="2729298"/>
              <a:ext cx="73152" cy="560832"/>
            </a:xfrm>
            <a:custGeom>
              <a:avLst/>
              <a:gdLst>
                <a:gd name="connsiteX0" fmla="*/ 86075 w 73152"/>
                <a:gd name="connsiteY0" fmla="*/ 43 h 560831"/>
                <a:gd name="connsiteX1" fmla="*/ 0 w 73152"/>
                <a:gd name="connsiteY1" fmla="*/ 577212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60831">
                  <a:moveTo>
                    <a:pt x="86075" y="43"/>
                  </a:moveTo>
                  <a:cubicBezTo>
                    <a:pt x="86075" y="43"/>
                    <a:pt x="17069" y="-16051"/>
                    <a:pt x="0" y="57721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DC1FA1-A4C3-410F-904D-A85EFC561CC3}"/>
                </a:ext>
              </a:extLst>
            </p:cNvPr>
            <p:cNvSpPr/>
            <p:nvPr/>
          </p:nvSpPr>
          <p:spPr>
            <a:xfrm>
              <a:off x="1717609" y="2824438"/>
              <a:ext cx="146304" cy="243840"/>
            </a:xfrm>
            <a:custGeom>
              <a:avLst/>
              <a:gdLst>
                <a:gd name="connsiteX0" fmla="*/ 0 w 146304"/>
                <a:gd name="connsiteY0" fmla="*/ 0 h 243839"/>
                <a:gd name="connsiteX1" fmla="*/ 148742 w 146304"/>
                <a:gd name="connsiteY1" fmla="*/ 245059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243839">
                  <a:moveTo>
                    <a:pt x="0" y="0"/>
                  </a:moveTo>
                  <a:lnTo>
                    <a:pt x="148742" y="24505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772B733-680E-4C64-B107-39542445E726}"/>
                </a:ext>
              </a:extLst>
            </p:cNvPr>
            <p:cNvSpPr/>
            <p:nvPr/>
          </p:nvSpPr>
          <p:spPr>
            <a:xfrm>
              <a:off x="1861962" y="3023655"/>
              <a:ext cx="219456" cy="73152"/>
            </a:xfrm>
            <a:custGeom>
              <a:avLst/>
              <a:gdLst>
                <a:gd name="connsiteX0" fmla="*/ 241158 w 219456"/>
                <a:gd name="connsiteY0" fmla="*/ 0 h 73151"/>
                <a:gd name="connsiteX1" fmla="*/ 0 w 219456"/>
                <a:gd name="connsiteY1" fmla="*/ 9339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241158" y="0"/>
                  </a:moveTo>
                  <a:lnTo>
                    <a:pt x="0" y="933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CD27F59-AF26-4087-80D4-F89D1E1624CA}"/>
                </a:ext>
              </a:extLst>
            </p:cNvPr>
            <p:cNvSpPr/>
            <p:nvPr/>
          </p:nvSpPr>
          <p:spPr>
            <a:xfrm>
              <a:off x="1230793" y="2170459"/>
              <a:ext cx="24384" cy="1121664"/>
            </a:xfrm>
            <a:custGeom>
              <a:avLst/>
              <a:gdLst>
                <a:gd name="connsiteX0" fmla="*/ 22300 w 24384"/>
                <a:gd name="connsiteY0" fmla="*/ 0 h 1121663"/>
                <a:gd name="connsiteX1" fmla="*/ 38638 w 24384"/>
                <a:gd name="connsiteY1" fmla="*/ 1137757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22300" y="0"/>
                  </a:moveTo>
                  <a:cubicBezTo>
                    <a:pt x="22300" y="0"/>
                    <a:pt x="-37440" y="448909"/>
                    <a:pt x="38638" y="113775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2BE4FFE-481E-4738-8A10-A90AC16619CB}"/>
                </a:ext>
              </a:extLst>
            </p:cNvPr>
            <p:cNvSpPr/>
            <p:nvPr/>
          </p:nvSpPr>
          <p:spPr>
            <a:xfrm>
              <a:off x="1238463" y="2321640"/>
              <a:ext cx="121920" cy="121920"/>
            </a:xfrm>
            <a:custGeom>
              <a:avLst/>
              <a:gdLst>
                <a:gd name="connsiteX0" fmla="*/ 143622 w 121920"/>
                <a:gd name="connsiteY0" fmla="*/ 0 h 121919"/>
                <a:gd name="connsiteX1" fmla="*/ 0 w 121920"/>
                <a:gd name="connsiteY1" fmla="*/ 14093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143622" y="0"/>
                  </a:moveTo>
                  <a:lnTo>
                    <a:pt x="0" y="14093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80D90C2-9B41-4E4F-9D6D-F0062DACFFD5}"/>
                </a:ext>
              </a:extLst>
            </p:cNvPr>
            <p:cNvSpPr/>
            <p:nvPr/>
          </p:nvSpPr>
          <p:spPr>
            <a:xfrm>
              <a:off x="1150437" y="2588645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88026 w 73152"/>
                <a:gd name="connsiteY1" fmla="*/ 85100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88026" y="851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85227FB-28BE-4D36-897B-A92D9CE3FC58}"/>
                </a:ext>
              </a:extLst>
            </p:cNvPr>
            <p:cNvSpPr/>
            <p:nvPr/>
          </p:nvSpPr>
          <p:spPr>
            <a:xfrm>
              <a:off x="1243584" y="2641558"/>
              <a:ext cx="268224" cy="268224"/>
            </a:xfrm>
            <a:custGeom>
              <a:avLst/>
              <a:gdLst>
                <a:gd name="connsiteX0" fmla="*/ 271394 w 268224"/>
                <a:gd name="connsiteY0" fmla="*/ 0 h 268223"/>
                <a:gd name="connsiteX1" fmla="*/ 0 w 268224"/>
                <a:gd name="connsiteY1" fmla="*/ 29187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68223">
                  <a:moveTo>
                    <a:pt x="271394" y="0"/>
                  </a:moveTo>
                  <a:lnTo>
                    <a:pt x="0" y="29187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D47D3FF-CAE4-4384-8AE7-F152EA0FF4B5}"/>
                </a:ext>
              </a:extLst>
            </p:cNvPr>
            <p:cNvSpPr/>
            <p:nvPr/>
          </p:nvSpPr>
          <p:spPr>
            <a:xfrm>
              <a:off x="1067532" y="2950747"/>
              <a:ext cx="170688" cy="121920"/>
            </a:xfrm>
            <a:custGeom>
              <a:avLst/>
              <a:gdLst>
                <a:gd name="connsiteX0" fmla="*/ 0 w 170688"/>
                <a:gd name="connsiteY0" fmla="*/ 0 h 121919"/>
                <a:gd name="connsiteX1" fmla="*/ 182880 w 170688"/>
                <a:gd name="connsiteY1" fmla="*/ 127041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21919">
                  <a:moveTo>
                    <a:pt x="0" y="0"/>
                  </a:moveTo>
                  <a:lnTo>
                    <a:pt x="182880" y="1270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3C7B4F0-999B-4E3D-8866-84D1DC588E15}"/>
                </a:ext>
              </a:extLst>
            </p:cNvPr>
            <p:cNvSpPr/>
            <p:nvPr/>
          </p:nvSpPr>
          <p:spPr>
            <a:xfrm>
              <a:off x="10628584" y="296097"/>
              <a:ext cx="1194816" cy="2487167"/>
            </a:xfrm>
            <a:custGeom>
              <a:avLst/>
              <a:gdLst>
                <a:gd name="connsiteX0" fmla="*/ 887004 w 1194816"/>
                <a:gd name="connsiteY0" fmla="*/ 2431780 h 2487167"/>
                <a:gd name="connsiteX1" fmla="*/ 76723 w 1194816"/>
                <a:gd name="connsiteY1" fmla="*/ 2268408 h 2487167"/>
                <a:gd name="connsiteX2" fmla="*/ 4303 w 1194816"/>
                <a:gd name="connsiteY2" fmla="*/ 2149170 h 2487167"/>
                <a:gd name="connsiteX3" fmla="*/ 321782 w 1194816"/>
                <a:gd name="connsiteY3" fmla="*/ 1668805 h 2487167"/>
                <a:gd name="connsiteX4" fmla="*/ 211079 w 1194816"/>
                <a:gd name="connsiteY4" fmla="*/ 1434719 h 2487167"/>
                <a:gd name="connsiteX5" fmla="*/ 91598 w 1194816"/>
                <a:gd name="connsiteY5" fmla="*/ 856087 h 2487167"/>
                <a:gd name="connsiteX6" fmla="*/ 277160 w 1194816"/>
                <a:gd name="connsiteY6" fmla="*/ 285013 h 2487167"/>
                <a:gd name="connsiteX7" fmla="*/ 636336 w 1194816"/>
                <a:gd name="connsiteY7" fmla="*/ 4841 h 2487167"/>
                <a:gd name="connsiteX8" fmla="*/ 835797 w 1194816"/>
                <a:gd name="connsiteY8" fmla="*/ 231613 h 2487167"/>
                <a:gd name="connsiteX9" fmla="*/ 843356 w 1194816"/>
                <a:gd name="connsiteY9" fmla="*/ 663209 h 2487167"/>
                <a:gd name="connsiteX10" fmla="*/ 831652 w 1194816"/>
                <a:gd name="connsiteY10" fmla="*/ 854136 h 2487167"/>
                <a:gd name="connsiteX11" fmla="*/ 1178880 w 1194816"/>
                <a:gd name="connsiteY11" fmla="*/ 1192586 h 2487167"/>
                <a:gd name="connsiteX12" fmla="*/ 1072078 w 1194816"/>
                <a:gd name="connsiteY12" fmla="*/ 1657588 h 2487167"/>
                <a:gd name="connsiteX13" fmla="*/ 997463 w 1194816"/>
                <a:gd name="connsiteY13" fmla="*/ 1956049 h 2487167"/>
                <a:gd name="connsiteX14" fmla="*/ 1054034 w 1194816"/>
                <a:gd name="connsiteY14" fmla="*/ 2026762 h 2487167"/>
                <a:gd name="connsiteX15" fmla="*/ 887004 w 1194816"/>
                <a:gd name="connsiteY15" fmla="*/ 2431780 h 248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4816" h="2487167">
                  <a:moveTo>
                    <a:pt x="887004" y="2431780"/>
                  </a:moveTo>
                  <a:cubicBezTo>
                    <a:pt x="656575" y="2606614"/>
                    <a:pt x="283500" y="2447386"/>
                    <a:pt x="76723" y="2268408"/>
                  </a:cubicBezTo>
                  <a:cubicBezTo>
                    <a:pt x="40634" y="2237196"/>
                    <a:pt x="14056" y="2195987"/>
                    <a:pt x="4303" y="2149170"/>
                  </a:cubicBezTo>
                  <a:cubicBezTo>
                    <a:pt x="-42758" y="1924837"/>
                    <a:pt x="311541" y="1869729"/>
                    <a:pt x="321782" y="1668805"/>
                  </a:cubicBezTo>
                  <a:cubicBezTo>
                    <a:pt x="326415" y="1580779"/>
                    <a:pt x="260090" y="1507871"/>
                    <a:pt x="211079" y="1434719"/>
                  </a:cubicBezTo>
                  <a:cubicBezTo>
                    <a:pt x="99644" y="1267445"/>
                    <a:pt x="67945" y="1055792"/>
                    <a:pt x="91598" y="856087"/>
                  </a:cubicBezTo>
                  <a:cubicBezTo>
                    <a:pt x="115249" y="656382"/>
                    <a:pt x="190109" y="466187"/>
                    <a:pt x="277160" y="285013"/>
                  </a:cubicBezTo>
                  <a:cubicBezTo>
                    <a:pt x="348361" y="136759"/>
                    <a:pt x="475646" y="-30759"/>
                    <a:pt x="636336" y="4841"/>
                  </a:cubicBezTo>
                  <a:cubicBezTo>
                    <a:pt x="739480" y="27762"/>
                    <a:pt x="805561" y="130419"/>
                    <a:pt x="835797" y="231613"/>
                  </a:cubicBezTo>
                  <a:cubicBezTo>
                    <a:pt x="877006" y="370845"/>
                    <a:pt x="871153" y="520563"/>
                    <a:pt x="843356" y="663209"/>
                  </a:cubicBezTo>
                  <a:cubicBezTo>
                    <a:pt x="831164" y="726364"/>
                    <a:pt x="814583" y="791957"/>
                    <a:pt x="831652" y="854136"/>
                  </a:cubicBezTo>
                  <a:cubicBezTo>
                    <a:pt x="875299" y="1013120"/>
                    <a:pt x="1098169" y="1048964"/>
                    <a:pt x="1178880" y="1192586"/>
                  </a:cubicBezTo>
                  <a:cubicBezTo>
                    <a:pt x="1261298" y="1338646"/>
                    <a:pt x="1163030" y="1516649"/>
                    <a:pt x="1072078" y="1657588"/>
                  </a:cubicBezTo>
                  <a:cubicBezTo>
                    <a:pt x="994293" y="1778289"/>
                    <a:pt x="946501" y="1853148"/>
                    <a:pt x="997463" y="1956049"/>
                  </a:cubicBezTo>
                  <a:cubicBezTo>
                    <a:pt x="1010874" y="1983359"/>
                    <a:pt x="1030869" y="2006767"/>
                    <a:pt x="1054034" y="2026762"/>
                  </a:cubicBezTo>
                  <a:cubicBezTo>
                    <a:pt x="1103046" y="2069190"/>
                    <a:pt x="1194974" y="2198182"/>
                    <a:pt x="887004" y="2431780"/>
                  </a:cubicBezTo>
                  <a:close/>
                </a:path>
              </a:pathLst>
            </a:custGeom>
            <a:solidFill>
              <a:srgbClr val="EF855A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E28AF1A-1C50-4288-A033-6AB59AC2A39A}"/>
                </a:ext>
              </a:extLst>
            </p:cNvPr>
            <p:cNvSpPr/>
            <p:nvPr/>
          </p:nvSpPr>
          <p:spPr>
            <a:xfrm>
              <a:off x="11162020" y="713272"/>
              <a:ext cx="195072" cy="2779775"/>
            </a:xfrm>
            <a:custGeom>
              <a:avLst/>
              <a:gdLst>
                <a:gd name="connsiteX0" fmla="*/ 50718 w 195072"/>
                <a:gd name="connsiteY0" fmla="*/ 0 h 2779775"/>
                <a:gd name="connsiteX1" fmla="*/ 0 w 195072"/>
                <a:gd name="connsiteY1" fmla="*/ 2782702 h 2779775"/>
                <a:gd name="connsiteX2" fmla="*/ 197998 w 195072"/>
                <a:gd name="connsiteY2" fmla="*/ 2800014 h 2779775"/>
                <a:gd name="connsiteX3" fmla="*/ 50718 w 195072"/>
                <a:gd name="connsiteY3" fmla="*/ 0 h 277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072" h="2779775">
                  <a:moveTo>
                    <a:pt x="50718" y="0"/>
                  </a:moveTo>
                  <a:cubicBezTo>
                    <a:pt x="50474" y="49987"/>
                    <a:pt x="0" y="2782702"/>
                    <a:pt x="0" y="2782702"/>
                  </a:cubicBezTo>
                  <a:lnTo>
                    <a:pt x="197998" y="2800014"/>
                  </a:lnTo>
                  <a:lnTo>
                    <a:pt x="50718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1349FB6-A258-47BF-AFA0-EE46D3C2CA88}"/>
                </a:ext>
              </a:extLst>
            </p:cNvPr>
            <p:cNvSpPr/>
            <p:nvPr/>
          </p:nvSpPr>
          <p:spPr>
            <a:xfrm>
              <a:off x="10815767" y="2220446"/>
              <a:ext cx="438912" cy="414528"/>
            </a:xfrm>
            <a:custGeom>
              <a:avLst/>
              <a:gdLst>
                <a:gd name="connsiteX0" fmla="*/ 405506 w 438912"/>
                <a:gd name="connsiteY0" fmla="*/ 429890 h 414527"/>
                <a:gd name="connsiteX1" fmla="*/ 0 w 438912"/>
                <a:gd name="connsiteY1" fmla="*/ 0 h 414527"/>
                <a:gd name="connsiteX2" fmla="*/ 440619 w 438912"/>
                <a:gd name="connsiteY2" fmla="*/ 393802 h 414527"/>
                <a:gd name="connsiteX3" fmla="*/ 442569 w 438912"/>
                <a:gd name="connsiteY3" fmla="*/ 429402 h 414527"/>
                <a:gd name="connsiteX4" fmla="*/ 406969 w 438912"/>
                <a:gd name="connsiteY4" fmla="*/ 431353 h 414527"/>
                <a:gd name="connsiteX5" fmla="*/ 405506 w 438912"/>
                <a:gd name="connsiteY5" fmla="*/ 429890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912" h="414527">
                  <a:moveTo>
                    <a:pt x="405506" y="429890"/>
                  </a:moveTo>
                  <a:lnTo>
                    <a:pt x="0" y="0"/>
                  </a:lnTo>
                  <a:lnTo>
                    <a:pt x="440619" y="393802"/>
                  </a:lnTo>
                  <a:cubicBezTo>
                    <a:pt x="451104" y="403067"/>
                    <a:pt x="451836" y="419161"/>
                    <a:pt x="442569" y="429402"/>
                  </a:cubicBezTo>
                  <a:cubicBezTo>
                    <a:pt x="433303" y="439887"/>
                    <a:pt x="417211" y="440619"/>
                    <a:pt x="406969" y="431353"/>
                  </a:cubicBezTo>
                  <a:cubicBezTo>
                    <a:pt x="406482" y="430865"/>
                    <a:pt x="405993" y="430378"/>
                    <a:pt x="405506" y="429890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5348A22-B8EC-41B7-8F0E-07A985959318}"/>
                </a:ext>
              </a:extLst>
            </p:cNvPr>
            <p:cNvSpPr/>
            <p:nvPr/>
          </p:nvSpPr>
          <p:spPr>
            <a:xfrm>
              <a:off x="11018398" y="1089517"/>
              <a:ext cx="195072" cy="316992"/>
            </a:xfrm>
            <a:custGeom>
              <a:avLst/>
              <a:gdLst>
                <a:gd name="connsiteX0" fmla="*/ 164105 w 195072"/>
                <a:gd name="connsiteY0" fmla="*/ 321625 h 316991"/>
                <a:gd name="connsiteX1" fmla="*/ 0 w 195072"/>
                <a:gd name="connsiteY1" fmla="*/ 0 h 316991"/>
                <a:gd name="connsiteX2" fmla="*/ 196535 w 195072"/>
                <a:gd name="connsiteY2" fmla="*/ 303093 h 316991"/>
                <a:gd name="connsiteX3" fmla="*/ 190927 w 195072"/>
                <a:gd name="connsiteY3" fmla="*/ 328940 h 316991"/>
                <a:gd name="connsiteX4" fmla="*/ 165080 w 195072"/>
                <a:gd name="connsiteY4" fmla="*/ 323332 h 316991"/>
                <a:gd name="connsiteX5" fmla="*/ 164105 w 195072"/>
                <a:gd name="connsiteY5" fmla="*/ 321625 h 31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072" h="316991">
                  <a:moveTo>
                    <a:pt x="164105" y="321625"/>
                  </a:moveTo>
                  <a:lnTo>
                    <a:pt x="0" y="0"/>
                  </a:lnTo>
                  <a:lnTo>
                    <a:pt x="196535" y="303093"/>
                  </a:lnTo>
                  <a:cubicBezTo>
                    <a:pt x="202144" y="311871"/>
                    <a:pt x="199705" y="323332"/>
                    <a:pt x="190927" y="328940"/>
                  </a:cubicBezTo>
                  <a:cubicBezTo>
                    <a:pt x="182393" y="334548"/>
                    <a:pt x="170688" y="332110"/>
                    <a:pt x="165080" y="323332"/>
                  </a:cubicBezTo>
                  <a:cubicBezTo>
                    <a:pt x="164836" y="322844"/>
                    <a:pt x="164348" y="322356"/>
                    <a:pt x="164105" y="321625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7E41DF1-0235-457C-BB43-CC327DAE59DD}"/>
                </a:ext>
              </a:extLst>
            </p:cNvPr>
            <p:cNvSpPr/>
            <p:nvPr/>
          </p:nvSpPr>
          <p:spPr>
            <a:xfrm>
              <a:off x="11252485" y="1493803"/>
              <a:ext cx="390144" cy="585216"/>
            </a:xfrm>
            <a:custGeom>
              <a:avLst/>
              <a:gdLst>
                <a:gd name="connsiteX0" fmla="*/ 0 w 390144"/>
                <a:gd name="connsiteY0" fmla="*/ 591800 h 585215"/>
                <a:gd name="connsiteX1" fmla="*/ 392338 w 390144"/>
                <a:gd name="connsiteY1" fmla="*/ 0 h 585215"/>
                <a:gd name="connsiteX2" fmla="*/ 0 w 390144"/>
                <a:gd name="connsiteY2" fmla="*/ 591800 h 5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0144" h="585215">
                  <a:moveTo>
                    <a:pt x="0" y="591800"/>
                  </a:moveTo>
                  <a:lnTo>
                    <a:pt x="392338" y="0"/>
                  </a:lnTo>
                  <a:lnTo>
                    <a:pt x="0" y="59180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C85BA1A-AC36-4465-9B73-509A4B6CA4DB}"/>
                </a:ext>
              </a:extLst>
            </p:cNvPr>
            <p:cNvSpPr/>
            <p:nvPr/>
          </p:nvSpPr>
          <p:spPr>
            <a:xfrm>
              <a:off x="11227662" y="1493803"/>
              <a:ext cx="414528" cy="609600"/>
            </a:xfrm>
            <a:custGeom>
              <a:avLst/>
              <a:gdLst>
                <a:gd name="connsiteX0" fmla="*/ 4584 w 414528"/>
                <a:gd name="connsiteY0" fmla="*/ 578388 h 609599"/>
                <a:gd name="connsiteX1" fmla="*/ 417161 w 414528"/>
                <a:gd name="connsiteY1" fmla="*/ 0 h 609599"/>
                <a:gd name="connsiteX2" fmla="*/ 45061 w 414528"/>
                <a:gd name="connsiteY2" fmla="*/ 605211 h 609599"/>
                <a:gd name="connsiteX3" fmla="*/ 11655 w 414528"/>
                <a:gd name="connsiteY3" fmla="*/ 613257 h 609599"/>
                <a:gd name="connsiteX4" fmla="*/ 3608 w 414528"/>
                <a:gd name="connsiteY4" fmla="*/ 579852 h 609599"/>
                <a:gd name="connsiteX5" fmla="*/ 4584 w 414528"/>
                <a:gd name="connsiteY5" fmla="*/ 578388 h 60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4528" h="609599">
                  <a:moveTo>
                    <a:pt x="4584" y="578388"/>
                  </a:moveTo>
                  <a:lnTo>
                    <a:pt x="417161" y="0"/>
                  </a:lnTo>
                  <a:lnTo>
                    <a:pt x="45061" y="605211"/>
                  </a:lnTo>
                  <a:cubicBezTo>
                    <a:pt x="37990" y="616671"/>
                    <a:pt x="23115" y="620329"/>
                    <a:pt x="11655" y="613257"/>
                  </a:cubicBezTo>
                  <a:cubicBezTo>
                    <a:pt x="194" y="606186"/>
                    <a:pt x="-3463" y="591312"/>
                    <a:pt x="3608" y="579852"/>
                  </a:cubicBezTo>
                  <a:cubicBezTo>
                    <a:pt x="3852" y="579364"/>
                    <a:pt x="4340" y="578876"/>
                    <a:pt x="4584" y="578388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CE3BB0B-BC4B-469F-A024-9C6D0DAF7BCC}"/>
                </a:ext>
              </a:extLst>
            </p:cNvPr>
            <p:cNvSpPr/>
            <p:nvPr/>
          </p:nvSpPr>
          <p:spPr>
            <a:xfrm>
              <a:off x="10242123" y="998990"/>
              <a:ext cx="926592" cy="1901951"/>
            </a:xfrm>
            <a:custGeom>
              <a:avLst/>
              <a:gdLst>
                <a:gd name="connsiteX0" fmla="*/ 679715 w 926592"/>
                <a:gd name="connsiteY0" fmla="*/ 1863487 h 1901951"/>
                <a:gd name="connsiteX1" fmla="*/ 58898 w 926592"/>
                <a:gd name="connsiteY1" fmla="*/ 1738397 h 1901951"/>
                <a:gd name="connsiteX2" fmla="*/ 3303 w 926592"/>
                <a:gd name="connsiteY2" fmla="*/ 1646957 h 1901951"/>
                <a:gd name="connsiteX3" fmla="*/ 246655 w 926592"/>
                <a:gd name="connsiteY3" fmla="*/ 1278759 h 1901951"/>
                <a:gd name="connsiteX4" fmla="*/ 162042 w 926592"/>
                <a:gd name="connsiteY4" fmla="*/ 1099293 h 1901951"/>
                <a:gd name="connsiteX5" fmla="*/ 70359 w 926592"/>
                <a:gd name="connsiteY5" fmla="*/ 655992 h 1901951"/>
                <a:gd name="connsiteX6" fmla="*/ 212517 w 926592"/>
                <a:gd name="connsiteY6" fmla="*/ 218299 h 1901951"/>
                <a:gd name="connsiteX7" fmla="*/ 487813 w 926592"/>
                <a:gd name="connsiteY7" fmla="*/ 3720 h 1901951"/>
                <a:gd name="connsiteX8" fmla="*/ 640700 w 926592"/>
                <a:gd name="connsiteY8" fmla="*/ 177578 h 1901951"/>
                <a:gd name="connsiteX9" fmla="*/ 646552 w 926592"/>
                <a:gd name="connsiteY9" fmla="*/ 508225 h 1901951"/>
                <a:gd name="connsiteX10" fmla="*/ 637530 w 926592"/>
                <a:gd name="connsiteY10" fmla="*/ 654529 h 1901951"/>
                <a:gd name="connsiteX11" fmla="*/ 903804 w 926592"/>
                <a:gd name="connsiteY11" fmla="*/ 913974 h 1901951"/>
                <a:gd name="connsiteX12" fmla="*/ 821873 w 926592"/>
                <a:gd name="connsiteY12" fmla="*/ 1270469 h 1901951"/>
                <a:gd name="connsiteX13" fmla="*/ 764815 w 926592"/>
                <a:gd name="connsiteY13" fmla="*/ 1499190 h 1901951"/>
                <a:gd name="connsiteX14" fmla="*/ 807975 w 926592"/>
                <a:gd name="connsiteY14" fmla="*/ 1553323 h 1901951"/>
                <a:gd name="connsiteX15" fmla="*/ 679715 w 926592"/>
                <a:gd name="connsiteY15" fmla="*/ 1863487 h 190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26592" h="1901951">
                  <a:moveTo>
                    <a:pt x="679715" y="1863487"/>
                  </a:moveTo>
                  <a:cubicBezTo>
                    <a:pt x="503175" y="1997355"/>
                    <a:pt x="217150" y="1875435"/>
                    <a:pt x="58898" y="1738397"/>
                  </a:cubicBezTo>
                  <a:cubicBezTo>
                    <a:pt x="31344" y="1714501"/>
                    <a:pt x="10862" y="1682802"/>
                    <a:pt x="3303" y="1646957"/>
                  </a:cubicBezTo>
                  <a:cubicBezTo>
                    <a:pt x="-32786" y="1475050"/>
                    <a:pt x="238608" y="1432866"/>
                    <a:pt x="246655" y="1278759"/>
                  </a:cubicBezTo>
                  <a:cubicBezTo>
                    <a:pt x="250069" y="1211459"/>
                    <a:pt x="199350" y="1155376"/>
                    <a:pt x="162042" y="1099293"/>
                  </a:cubicBezTo>
                  <a:cubicBezTo>
                    <a:pt x="76698" y="971033"/>
                    <a:pt x="52314" y="808879"/>
                    <a:pt x="70359" y="655992"/>
                  </a:cubicBezTo>
                  <a:cubicBezTo>
                    <a:pt x="88403" y="502860"/>
                    <a:pt x="145705" y="357288"/>
                    <a:pt x="212517" y="218299"/>
                  </a:cubicBezTo>
                  <a:cubicBezTo>
                    <a:pt x="267137" y="104670"/>
                    <a:pt x="364673" y="-23590"/>
                    <a:pt x="487813" y="3720"/>
                  </a:cubicBezTo>
                  <a:cubicBezTo>
                    <a:pt x="566817" y="21276"/>
                    <a:pt x="617535" y="99793"/>
                    <a:pt x="640700" y="177578"/>
                  </a:cubicBezTo>
                  <a:cubicBezTo>
                    <a:pt x="672399" y="284380"/>
                    <a:pt x="667767" y="398985"/>
                    <a:pt x="646552" y="508225"/>
                  </a:cubicBezTo>
                  <a:cubicBezTo>
                    <a:pt x="637043" y="556505"/>
                    <a:pt x="624607" y="606980"/>
                    <a:pt x="637530" y="654529"/>
                  </a:cubicBezTo>
                  <a:cubicBezTo>
                    <a:pt x="670936" y="776205"/>
                    <a:pt x="841868" y="803759"/>
                    <a:pt x="903804" y="913974"/>
                  </a:cubicBezTo>
                  <a:cubicBezTo>
                    <a:pt x="966958" y="1025897"/>
                    <a:pt x="891612" y="1162204"/>
                    <a:pt x="821873" y="1270469"/>
                  </a:cubicBezTo>
                  <a:cubicBezTo>
                    <a:pt x="762133" y="1362884"/>
                    <a:pt x="725557" y="1420186"/>
                    <a:pt x="764815" y="1499190"/>
                  </a:cubicBezTo>
                  <a:cubicBezTo>
                    <a:pt x="775056" y="1520161"/>
                    <a:pt x="790418" y="1537961"/>
                    <a:pt x="807975" y="1553323"/>
                  </a:cubicBezTo>
                  <a:cubicBezTo>
                    <a:pt x="845526" y="1585510"/>
                    <a:pt x="915752" y="1684265"/>
                    <a:pt x="679715" y="186348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E1C8F0D-A063-47B6-892F-66B05134E56E}"/>
                </a:ext>
              </a:extLst>
            </p:cNvPr>
            <p:cNvSpPr/>
            <p:nvPr/>
          </p:nvSpPr>
          <p:spPr>
            <a:xfrm>
              <a:off x="10613136" y="1279712"/>
              <a:ext cx="146304" cy="1999487"/>
            </a:xfrm>
            <a:custGeom>
              <a:avLst/>
              <a:gdLst>
                <a:gd name="connsiteX0" fmla="*/ 56814 w 146304"/>
                <a:gd name="connsiteY0" fmla="*/ 0 h 1999487"/>
                <a:gd name="connsiteX1" fmla="*/ 0 w 146304"/>
                <a:gd name="connsiteY1" fmla="*/ 1999000 h 1999487"/>
                <a:gd name="connsiteX2" fmla="*/ 162885 w 146304"/>
                <a:gd name="connsiteY2" fmla="*/ 2013386 h 1999487"/>
                <a:gd name="connsiteX3" fmla="*/ 56814 w 146304"/>
                <a:gd name="connsiteY3" fmla="*/ 0 h 199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1999487">
                  <a:moveTo>
                    <a:pt x="56814" y="0"/>
                  </a:moveTo>
                  <a:cubicBezTo>
                    <a:pt x="56571" y="40965"/>
                    <a:pt x="0" y="1999000"/>
                    <a:pt x="0" y="1999000"/>
                  </a:cubicBezTo>
                  <a:lnTo>
                    <a:pt x="162885" y="2013386"/>
                  </a:lnTo>
                  <a:lnTo>
                    <a:pt x="56814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FEE0942-ED9A-4A38-B68F-4C4464C6F9E2}"/>
                </a:ext>
              </a:extLst>
            </p:cNvPr>
            <p:cNvSpPr/>
            <p:nvPr/>
          </p:nvSpPr>
          <p:spPr>
            <a:xfrm>
              <a:off x="10678877" y="2107548"/>
              <a:ext cx="365760" cy="341376"/>
            </a:xfrm>
            <a:custGeom>
              <a:avLst/>
              <a:gdLst>
                <a:gd name="connsiteX0" fmla="*/ 35940 w 365760"/>
                <a:gd name="connsiteY0" fmla="*/ 353812 h 341375"/>
                <a:gd name="connsiteX1" fmla="*/ 369513 w 365760"/>
                <a:gd name="connsiteY1" fmla="*/ 0 h 341375"/>
                <a:gd name="connsiteX2" fmla="*/ 6923 w 365760"/>
                <a:gd name="connsiteY2" fmla="*/ 324063 h 341375"/>
                <a:gd name="connsiteX3" fmla="*/ 5216 w 365760"/>
                <a:gd name="connsiteY3" fmla="*/ 353324 h 341375"/>
                <a:gd name="connsiteX4" fmla="*/ 34477 w 365760"/>
                <a:gd name="connsiteY4" fmla="*/ 355031 h 341375"/>
                <a:gd name="connsiteX5" fmla="*/ 35940 w 365760"/>
                <a:gd name="connsiteY5" fmla="*/ 353812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760" h="341375">
                  <a:moveTo>
                    <a:pt x="35940" y="353812"/>
                  </a:moveTo>
                  <a:lnTo>
                    <a:pt x="369513" y="0"/>
                  </a:lnTo>
                  <a:lnTo>
                    <a:pt x="6923" y="324063"/>
                  </a:lnTo>
                  <a:cubicBezTo>
                    <a:pt x="-1611" y="331622"/>
                    <a:pt x="-2343" y="344790"/>
                    <a:pt x="5216" y="353324"/>
                  </a:cubicBezTo>
                  <a:cubicBezTo>
                    <a:pt x="12775" y="361858"/>
                    <a:pt x="25943" y="362590"/>
                    <a:pt x="34477" y="355031"/>
                  </a:cubicBezTo>
                  <a:cubicBezTo>
                    <a:pt x="34965" y="354787"/>
                    <a:pt x="35452" y="354299"/>
                    <a:pt x="35940" y="353812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B0E740D-B463-4A25-B405-6A85B863E0EA}"/>
                </a:ext>
              </a:extLst>
            </p:cNvPr>
            <p:cNvSpPr/>
            <p:nvPr/>
          </p:nvSpPr>
          <p:spPr>
            <a:xfrm>
              <a:off x="10509991" y="1589389"/>
              <a:ext cx="146304" cy="268224"/>
            </a:xfrm>
            <a:custGeom>
              <a:avLst/>
              <a:gdLst>
                <a:gd name="connsiteX0" fmla="*/ 135088 w 146304"/>
                <a:gd name="connsiteY0" fmla="*/ 264566 h 268223"/>
                <a:gd name="connsiteX1" fmla="*/ 0 w 146304"/>
                <a:gd name="connsiteY1" fmla="*/ 0 h 268223"/>
                <a:gd name="connsiteX2" fmla="*/ 161666 w 146304"/>
                <a:gd name="connsiteY2" fmla="*/ 249204 h 268223"/>
                <a:gd name="connsiteX3" fmla="*/ 157033 w 146304"/>
                <a:gd name="connsiteY3" fmla="*/ 270418 h 268223"/>
                <a:gd name="connsiteX4" fmla="*/ 135819 w 146304"/>
                <a:gd name="connsiteY4" fmla="*/ 265785 h 268223"/>
                <a:gd name="connsiteX5" fmla="*/ 135088 w 146304"/>
                <a:gd name="connsiteY5" fmla="*/ 26456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304" h="268223">
                  <a:moveTo>
                    <a:pt x="135088" y="264566"/>
                  </a:moveTo>
                  <a:lnTo>
                    <a:pt x="0" y="0"/>
                  </a:lnTo>
                  <a:lnTo>
                    <a:pt x="161666" y="249204"/>
                  </a:lnTo>
                  <a:cubicBezTo>
                    <a:pt x="166299" y="256276"/>
                    <a:pt x="164349" y="265785"/>
                    <a:pt x="157033" y="270418"/>
                  </a:cubicBezTo>
                  <a:cubicBezTo>
                    <a:pt x="149962" y="275051"/>
                    <a:pt x="140452" y="273101"/>
                    <a:pt x="135819" y="265785"/>
                  </a:cubicBezTo>
                  <a:cubicBezTo>
                    <a:pt x="135575" y="265542"/>
                    <a:pt x="135332" y="265054"/>
                    <a:pt x="135088" y="264566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5D11EBE-9C74-421D-93F4-436FC96A4DA1}"/>
                </a:ext>
              </a:extLst>
            </p:cNvPr>
            <p:cNvSpPr/>
            <p:nvPr/>
          </p:nvSpPr>
          <p:spPr>
            <a:xfrm>
              <a:off x="10702869" y="1921742"/>
              <a:ext cx="316992" cy="463296"/>
            </a:xfrm>
            <a:custGeom>
              <a:avLst/>
              <a:gdLst>
                <a:gd name="connsiteX0" fmla="*/ 0 w 316992"/>
                <a:gd name="connsiteY0" fmla="*/ 486948 h 463295"/>
                <a:gd name="connsiteX1" fmla="*/ 322601 w 316992"/>
                <a:gd name="connsiteY1" fmla="*/ 0 h 463295"/>
                <a:gd name="connsiteX2" fmla="*/ 0 w 316992"/>
                <a:gd name="connsiteY2" fmla="*/ 486948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63295">
                  <a:moveTo>
                    <a:pt x="0" y="486948"/>
                  </a:moveTo>
                  <a:lnTo>
                    <a:pt x="322601" y="0"/>
                  </a:lnTo>
                  <a:lnTo>
                    <a:pt x="0" y="486948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C6FB0D0-F1D2-4E44-9CE4-D9B2E834751F}"/>
                </a:ext>
              </a:extLst>
            </p:cNvPr>
            <p:cNvSpPr/>
            <p:nvPr/>
          </p:nvSpPr>
          <p:spPr>
            <a:xfrm>
              <a:off x="4779796" y="1990749"/>
              <a:ext cx="1267968" cy="1316736"/>
            </a:xfrm>
            <a:custGeom>
              <a:avLst/>
              <a:gdLst>
                <a:gd name="connsiteX0" fmla="*/ 1273776 w 1267968"/>
                <a:gd name="connsiteY0" fmla="*/ 1317467 h 1316735"/>
                <a:gd name="connsiteX1" fmla="*/ 1063098 w 1267968"/>
                <a:gd name="connsiteY1" fmla="*/ 748101 h 1316735"/>
                <a:gd name="connsiteX2" fmla="*/ 775611 w 1267968"/>
                <a:gd name="connsiteY2" fmla="*/ 437936 h 1316735"/>
                <a:gd name="connsiteX3" fmla="*/ 542256 w 1267968"/>
                <a:gd name="connsiteY3" fmla="*/ 2682 h 1316735"/>
                <a:gd name="connsiteX4" fmla="*/ 308901 w 1267968"/>
                <a:gd name="connsiteY4" fmla="*/ 476219 h 1316735"/>
                <a:gd name="connsiteX5" fmla="*/ 55307 w 1267968"/>
                <a:gd name="connsiteY5" fmla="*/ 778825 h 1316735"/>
                <a:gd name="connsiteX6" fmla="*/ 63598 w 1267968"/>
                <a:gd name="connsiteY6" fmla="*/ 1317467 h 1316735"/>
                <a:gd name="connsiteX7" fmla="*/ 1273776 w 1267968"/>
                <a:gd name="connsiteY7" fmla="*/ 1317467 h 131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7968" h="1316735">
                  <a:moveTo>
                    <a:pt x="1273776" y="1317467"/>
                  </a:moveTo>
                  <a:cubicBezTo>
                    <a:pt x="1323763" y="975847"/>
                    <a:pt x="1204525" y="773216"/>
                    <a:pt x="1063098" y="748101"/>
                  </a:cubicBezTo>
                  <a:cubicBezTo>
                    <a:pt x="917526" y="722254"/>
                    <a:pt x="819502" y="669097"/>
                    <a:pt x="775611" y="437936"/>
                  </a:cubicBezTo>
                  <a:cubicBezTo>
                    <a:pt x="731720" y="206776"/>
                    <a:pt x="704653" y="-27798"/>
                    <a:pt x="542256" y="2682"/>
                  </a:cubicBezTo>
                  <a:cubicBezTo>
                    <a:pt x="379859" y="33162"/>
                    <a:pt x="322313" y="239451"/>
                    <a:pt x="308901" y="476219"/>
                  </a:cubicBezTo>
                  <a:cubicBezTo>
                    <a:pt x="295490" y="712988"/>
                    <a:pt x="193809" y="685922"/>
                    <a:pt x="55307" y="778825"/>
                  </a:cubicBezTo>
                  <a:cubicBezTo>
                    <a:pt x="-52957" y="851489"/>
                    <a:pt x="24340" y="1178235"/>
                    <a:pt x="63598" y="1317467"/>
                  </a:cubicBezTo>
                  <a:lnTo>
                    <a:pt x="1273776" y="1317467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33D0622-8C59-4EAA-9B42-E15CA9247C75}"/>
                </a:ext>
              </a:extLst>
            </p:cNvPr>
            <p:cNvSpPr/>
            <p:nvPr/>
          </p:nvSpPr>
          <p:spPr>
            <a:xfrm>
              <a:off x="4859098" y="2734948"/>
              <a:ext cx="1048512" cy="560832"/>
            </a:xfrm>
            <a:custGeom>
              <a:avLst/>
              <a:gdLst>
                <a:gd name="connsiteX0" fmla="*/ 1036953 w 1048512"/>
                <a:gd name="connsiteY0" fmla="*/ 309189 h 560831"/>
                <a:gd name="connsiteX1" fmla="*/ 730934 w 1048512"/>
                <a:gd name="connsiteY1" fmla="*/ 343327 h 560831"/>
                <a:gd name="connsiteX2" fmla="*/ 502700 w 1048512"/>
                <a:gd name="connsiteY2" fmla="*/ 0 h 560831"/>
                <a:gd name="connsiteX3" fmla="*/ 247399 w 1048512"/>
                <a:gd name="connsiteY3" fmla="*/ 380634 h 560831"/>
                <a:gd name="connsiteX4" fmla="*/ 42817 w 1048512"/>
                <a:gd name="connsiteY4" fmla="*/ 271882 h 560831"/>
                <a:gd name="connsiteX5" fmla="*/ 35502 w 1048512"/>
                <a:gd name="connsiteY5" fmla="*/ 573268 h 560831"/>
                <a:gd name="connsiteX6" fmla="*/ 994281 w 1048512"/>
                <a:gd name="connsiteY6" fmla="*/ 573268 h 560831"/>
                <a:gd name="connsiteX7" fmla="*/ 1036953 w 1048512"/>
                <a:gd name="connsiteY7" fmla="*/ 309189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8512" h="560831">
                  <a:moveTo>
                    <a:pt x="1036953" y="309189"/>
                  </a:moveTo>
                  <a:cubicBezTo>
                    <a:pt x="970873" y="263103"/>
                    <a:pt x="837492" y="355275"/>
                    <a:pt x="730934" y="343327"/>
                  </a:cubicBezTo>
                  <a:cubicBezTo>
                    <a:pt x="624376" y="331378"/>
                    <a:pt x="651442" y="0"/>
                    <a:pt x="502700" y="0"/>
                  </a:cubicBezTo>
                  <a:cubicBezTo>
                    <a:pt x="353957" y="0"/>
                    <a:pt x="365662" y="378927"/>
                    <a:pt x="247399" y="380634"/>
                  </a:cubicBezTo>
                  <a:cubicBezTo>
                    <a:pt x="128893" y="382341"/>
                    <a:pt x="139134" y="216530"/>
                    <a:pt x="42817" y="271882"/>
                  </a:cubicBezTo>
                  <a:cubicBezTo>
                    <a:pt x="-36674" y="317480"/>
                    <a:pt x="15020" y="507919"/>
                    <a:pt x="35502" y="573268"/>
                  </a:cubicBezTo>
                  <a:lnTo>
                    <a:pt x="994281" y="573268"/>
                  </a:lnTo>
                  <a:cubicBezTo>
                    <a:pt x="1030370" y="486461"/>
                    <a:pt x="1082308" y="341132"/>
                    <a:pt x="1036953" y="309189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2369F28-2489-4346-973C-A5F1BCE3C21A}"/>
                </a:ext>
              </a:extLst>
            </p:cNvPr>
            <p:cNvSpPr/>
            <p:nvPr/>
          </p:nvSpPr>
          <p:spPr>
            <a:xfrm>
              <a:off x="5334244" y="2164363"/>
              <a:ext cx="24384" cy="1121664"/>
            </a:xfrm>
            <a:custGeom>
              <a:avLst/>
              <a:gdLst>
                <a:gd name="connsiteX0" fmla="*/ 0 w 24384"/>
                <a:gd name="connsiteY0" fmla="*/ 0 h 1121663"/>
                <a:gd name="connsiteX1" fmla="*/ 7559 w 24384"/>
                <a:gd name="connsiteY1" fmla="*/ 1143853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0" y="0"/>
                  </a:moveTo>
                  <a:cubicBezTo>
                    <a:pt x="0" y="0"/>
                    <a:pt x="59009" y="677875"/>
                    <a:pt x="7559" y="114385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7744662-21B8-46B9-B4E6-518E324BAA69}"/>
                </a:ext>
              </a:extLst>
            </p:cNvPr>
            <p:cNvSpPr/>
            <p:nvPr/>
          </p:nvSpPr>
          <p:spPr>
            <a:xfrm>
              <a:off x="5344485" y="2209473"/>
              <a:ext cx="48768" cy="73152"/>
            </a:xfrm>
            <a:custGeom>
              <a:avLst/>
              <a:gdLst>
                <a:gd name="connsiteX0" fmla="*/ 68031 w 48768"/>
                <a:gd name="connsiteY0" fmla="*/ 0 h 73151"/>
                <a:gd name="connsiteX1" fmla="*/ 0 w 48768"/>
                <a:gd name="connsiteY1" fmla="*/ 95585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73151">
                  <a:moveTo>
                    <a:pt x="68031" y="0"/>
                  </a:moveTo>
                  <a:lnTo>
                    <a:pt x="0" y="9558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C3046117-8AD1-486C-A30D-28BA8A8BCFEB}"/>
                </a:ext>
              </a:extLst>
            </p:cNvPr>
            <p:cNvSpPr/>
            <p:nvPr/>
          </p:nvSpPr>
          <p:spPr>
            <a:xfrm>
              <a:off x="5214275" y="2268239"/>
              <a:ext cx="121920" cy="121920"/>
            </a:xfrm>
            <a:custGeom>
              <a:avLst/>
              <a:gdLst>
                <a:gd name="connsiteX0" fmla="*/ 0 w 121920"/>
                <a:gd name="connsiteY0" fmla="*/ 0 h 121919"/>
                <a:gd name="connsiteX1" fmla="*/ 135819 w 121920"/>
                <a:gd name="connsiteY1" fmla="*/ 130698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0" y="0"/>
                  </a:moveTo>
                  <a:lnTo>
                    <a:pt x="135819" y="13069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D3AC6B2-B7D4-4E91-92CB-C4FA6CAFEC99}"/>
                </a:ext>
              </a:extLst>
            </p:cNvPr>
            <p:cNvSpPr/>
            <p:nvPr/>
          </p:nvSpPr>
          <p:spPr>
            <a:xfrm>
              <a:off x="5358872" y="2441365"/>
              <a:ext cx="121920" cy="146304"/>
            </a:xfrm>
            <a:custGeom>
              <a:avLst/>
              <a:gdLst>
                <a:gd name="connsiteX0" fmla="*/ 143378 w 121920"/>
                <a:gd name="connsiteY0" fmla="*/ 0 h 146303"/>
                <a:gd name="connsiteX1" fmla="*/ 0 w 121920"/>
                <a:gd name="connsiteY1" fmla="*/ 15971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46303">
                  <a:moveTo>
                    <a:pt x="143378" y="0"/>
                  </a:moveTo>
                  <a:lnTo>
                    <a:pt x="0" y="15971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EAF0C85C-4F8F-4ED4-BF05-AA3A6D3B8A3D}"/>
                </a:ext>
              </a:extLst>
            </p:cNvPr>
            <p:cNvSpPr/>
            <p:nvPr/>
          </p:nvSpPr>
          <p:spPr>
            <a:xfrm>
              <a:off x="5143561" y="2521345"/>
              <a:ext cx="219456" cy="195072"/>
            </a:xfrm>
            <a:custGeom>
              <a:avLst/>
              <a:gdLst>
                <a:gd name="connsiteX0" fmla="*/ 0 w 219456"/>
                <a:gd name="connsiteY0" fmla="*/ 0 h 195071"/>
                <a:gd name="connsiteX1" fmla="*/ 219456 w 219456"/>
                <a:gd name="connsiteY1" fmla="*/ 21506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195071">
                  <a:moveTo>
                    <a:pt x="0" y="0"/>
                  </a:moveTo>
                  <a:lnTo>
                    <a:pt x="219456" y="21506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5A2A1A54-FD91-4D2E-A63A-CE16FC5C3B4C}"/>
                </a:ext>
              </a:extLst>
            </p:cNvPr>
            <p:cNvSpPr/>
            <p:nvPr/>
          </p:nvSpPr>
          <p:spPr>
            <a:xfrm>
              <a:off x="5363017" y="2628878"/>
              <a:ext cx="243840" cy="243840"/>
            </a:xfrm>
            <a:custGeom>
              <a:avLst/>
              <a:gdLst>
                <a:gd name="connsiteX0" fmla="*/ 259202 w 243840"/>
                <a:gd name="connsiteY0" fmla="*/ 0 h 243839"/>
                <a:gd name="connsiteX1" fmla="*/ 0 w 243840"/>
                <a:gd name="connsiteY1" fmla="*/ 250180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43839">
                  <a:moveTo>
                    <a:pt x="259202" y="0"/>
                  </a:moveTo>
                  <a:lnTo>
                    <a:pt x="0" y="25018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9067224-F95C-40F5-B055-EE400F9FB4CA}"/>
                </a:ext>
              </a:extLst>
            </p:cNvPr>
            <p:cNvSpPr/>
            <p:nvPr/>
          </p:nvSpPr>
          <p:spPr>
            <a:xfrm>
              <a:off x="5206716" y="2904417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52888 w 146304"/>
                <a:gd name="connsiteY1" fmla="*/ 15044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52888" y="15044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EC8E2B8-56BE-4D02-9676-FCA4851E9C1E}"/>
                </a:ext>
              </a:extLst>
            </p:cNvPr>
            <p:cNvSpPr/>
            <p:nvPr/>
          </p:nvSpPr>
          <p:spPr>
            <a:xfrm>
              <a:off x="5354970" y="2944407"/>
              <a:ext cx="195072" cy="195072"/>
            </a:xfrm>
            <a:custGeom>
              <a:avLst/>
              <a:gdLst>
                <a:gd name="connsiteX0" fmla="*/ 196535 w 195072"/>
                <a:gd name="connsiteY0" fmla="*/ 0 h 195071"/>
                <a:gd name="connsiteX1" fmla="*/ 0 w 195072"/>
                <a:gd name="connsiteY1" fmla="*/ 207995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95071">
                  <a:moveTo>
                    <a:pt x="196535" y="0"/>
                  </a:moveTo>
                  <a:lnTo>
                    <a:pt x="0" y="20799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61A13B3A-DBEB-41D4-BE4A-CA78BE76FF4E}"/>
                </a:ext>
              </a:extLst>
            </p:cNvPr>
            <p:cNvSpPr/>
            <p:nvPr/>
          </p:nvSpPr>
          <p:spPr>
            <a:xfrm>
              <a:off x="4965801" y="2878570"/>
              <a:ext cx="48768" cy="414528"/>
            </a:xfrm>
            <a:custGeom>
              <a:avLst/>
              <a:gdLst>
                <a:gd name="connsiteX0" fmla="*/ 0 w 48768"/>
                <a:gd name="connsiteY0" fmla="*/ 0 h 414527"/>
                <a:gd name="connsiteX1" fmla="*/ 68763 w 48768"/>
                <a:gd name="connsiteY1" fmla="*/ 429646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0" y="0"/>
                  </a:moveTo>
                  <a:cubicBezTo>
                    <a:pt x="0" y="0"/>
                    <a:pt x="59253" y="97292"/>
                    <a:pt x="68763" y="429646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7C4DF080-A1E1-41F2-B8D1-1C75028B6AFF}"/>
                </a:ext>
              </a:extLst>
            </p:cNvPr>
            <p:cNvSpPr/>
            <p:nvPr/>
          </p:nvSpPr>
          <p:spPr>
            <a:xfrm>
              <a:off x="5025786" y="3037554"/>
              <a:ext cx="73152" cy="121920"/>
            </a:xfrm>
            <a:custGeom>
              <a:avLst/>
              <a:gdLst>
                <a:gd name="connsiteX0" fmla="*/ 83637 w 73152"/>
                <a:gd name="connsiteY0" fmla="*/ 0 h 121919"/>
                <a:gd name="connsiteX1" fmla="*/ 0 w 73152"/>
                <a:gd name="connsiteY1" fmla="*/ 13776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83637" y="0"/>
                  </a:moveTo>
                  <a:lnTo>
                    <a:pt x="0" y="13776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005551B-923B-4B5E-AD19-CD11FE4D5475}"/>
                </a:ext>
              </a:extLst>
            </p:cNvPr>
            <p:cNvSpPr/>
            <p:nvPr/>
          </p:nvSpPr>
          <p:spPr>
            <a:xfrm>
              <a:off x="4848758" y="3132408"/>
              <a:ext cx="170688" cy="48768"/>
            </a:xfrm>
            <a:custGeom>
              <a:avLst/>
              <a:gdLst>
                <a:gd name="connsiteX0" fmla="*/ 0 w 170688"/>
                <a:gd name="connsiteY0" fmla="*/ 0 h 48767"/>
                <a:gd name="connsiteX1" fmla="*/ 179466 w 170688"/>
                <a:gd name="connsiteY1" fmla="*/ 6973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48767">
                  <a:moveTo>
                    <a:pt x="0" y="0"/>
                  </a:moveTo>
                  <a:lnTo>
                    <a:pt x="179466" y="697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4443C0B-E7CA-42E6-A5D5-094E6EC37ACD}"/>
                </a:ext>
              </a:extLst>
            </p:cNvPr>
            <p:cNvSpPr/>
            <p:nvPr/>
          </p:nvSpPr>
          <p:spPr>
            <a:xfrm>
              <a:off x="5773156" y="2953429"/>
              <a:ext cx="24384" cy="341376"/>
            </a:xfrm>
            <a:custGeom>
              <a:avLst/>
              <a:gdLst>
                <a:gd name="connsiteX0" fmla="*/ 39990 w 24384"/>
                <a:gd name="connsiteY0" fmla="*/ 0 h 341375"/>
                <a:gd name="connsiteX1" fmla="*/ 0 w 24384"/>
                <a:gd name="connsiteY1" fmla="*/ 35503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341375">
                  <a:moveTo>
                    <a:pt x="39990" y="0"/>
                  </a:moveTo>
                  <a:cubicBezTo>
                    <a:pt x="39990" y="0"/>
                    <a:pt x="9510" y="22433"/>
                    <a:pt x="0" y="355031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14A0746-2E42-434B-AEAB-C009BFABE55F}"/>
                </a:ext>
              </a:extLst>
            </p:cNvPr>
            <p:cNvSpPr/>
            <p:nvPr/>
          </p:nvSpPr>
          <p:spPr>
            <a:xfrm>
              <a:off x="5698541" y="3038042"/>
              <a:ext cx="73152" cy="121920"/>
            </a:xfrm>
            <a:custGeom>
              <a:avLst/>
              <a:gdLst>
                <a:gd name="connsiteX0" fmla="*/ 0 w 73152"/>
                <a:gd name="connsiteY0" fmla="*/ 0 h 121919"/>
                <a:gd name="connsiteX1" fmla="*/ 83393 w 73152"/>
                <a:gd name="connsiteY1" fmla="*/ 137282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0" y="0"/>
                  </a:moveTo>
                  <a:lnTo>
                    <a:pt x="83393" y="1372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0FFE069-3A26-43FF-9F0E-A02776B56884}"/>
                </a:ext>
              </a:extLst>
            </p:cNvPr>
            <p:cNvSpPr/>
            <p:nvPr/>
          </p:nvSpPr>
          <p:spPr>
            <a:xfrm>
              <a:off x="5779496" y="3153134"/>
              <a:ext cx="121920" cy="48768"/>
            </a:xfrm>
            <a:custGeom>
              <a:avLst/>
              <a:gdLst>
                <a:gd name="connsiteX0" fmla="*/ 126309 w 121920"/>
                <a:gd name="connsiteY0" fmla="*/ 0 h 48767"/>
                <a:gd name="connsiteX1" fmla="*/ 0 w 121920"/>
                <a:gd name="connsiteY1" fmla="*/ 49012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48767">
                  <a:moveTo>
                    <a:pt x="126309" y="0"/>
                  </a:moveTo>
                  <a:lnTo>
                    <a:pt x="0" y="4901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B45E805-F6F5-4BFE-82C6-7EE6B9534D32}"/>
                </a:ext>
              </a:extLst>
            </p:cNvPr>
            <p:cNvSpPr/>
            <p:nvPr/>
          </p:nvSpPr>
          <p:spPr>
            <a:xfrm>
              <a:off x="4211276" y="2396371"/>
              <a:ext cx="877824" cy="902208"/>
            </a:xfrm>
            <a:custGeom>
              <a:avLst/>
              <a:gdLst>
                <a:gd name="connsiteX0" fmla="*/ 882054 w 877824"/>
                <a:gd name="connsiteY0" fmla="*/ 911845 h 902207"/>
                <a:gd name="connsiteX1" fmla="*/ 736238 w 877824"/>
                <a:gd name="connsiteY1" fmla="*/ 517800 h 902207"/>
                <a:gd name="connsiteX2" fmla="*/ 537265 w 877824"/>
                <a:gd name="connsiteY2" fmla="*/ 303221 h 902207"/>
                <a:gd name="connsiteX3" fmla="*/ 375599 w 877824"/>
                <a:gd name="connsiteY3" fmla="*/ 1835 h 902207"/>
                <a:gd name="connsiteX4" fmla="*/ 213933 w 877824"/>
                <a:gd name="connsiteY4" fmla="*/ 329556 h 902207"/>
                <a:gd name="connsiteX5" fmla="*/ 38368 w 877824"/>
                <a:gd name="connsiteY5" fmla="*/ 539014 h 902207"/>
                <a:gd name="connsiteX6" fmla="*/ 43976 w 877824"/>
                <a:gd name="connsiteY6" fmla="*/ 911845 h 902207"/>
                <a:gd name="connsiteX7" fmla="*/ 882054 w 877824"/>
                <a:gd name="connsiteY7" fmla="*/ 911845 h 90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7824" h="902207">
                  <a:moveTo>
                    <a:pt x="882054" y="911845"/>
                  </a:moveTo>
                  <a:cubicBezTo>
                    <a:pt x="916680" y="675565"/>
                    <a:pt x="834262" y="535113"/>
                    <a:pt x="736238" y="517800"/>
                  </a:cubicBezTo>
                  <a:cubicBezTo>
                    <a:pt x="635532" y="500000"/>
                    <a:pt x="567745" y="462936"/>
                    <a:pt x="537265" y="303221"/>
                  </a:cubicBezTo>
                  <a:cubicBezTo>
                    <a:pt x="506785" y="143262"/>
                    <a:pt x="488009" y="-19135"/>
                    <a:pt x="375599" y="1835"/>
                  </a:cubicBezTo>
                  <a:cubicBezTo>
                    <a:pt x="263188" y="22805"/>
                    <a:pt x="223442" y="165695"/>
                    <a:pt x="213933" y="329556"/>
                  </a:cubicBezTo>
                  <a:cubicBezTo>
                    <a:pt x="204667" y="493416"/>
                    <a:pt x="134441" y="474641"/>
                    <a:pt x="38368" y="539014"/>
                  </a:cubicBezTo>
                  <a:cubicBezTo>
                    <a:pt x="-36735" y="589245"/>
                    <a:pt x="16910" y="815285"/>
                    <a:pt x="43976" y="911845"/>
                  </a:cubicBezTo>
                  <a:lnTo>
                    <a:pt x="882054" y="911845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073676D9-EF3C-4248-BE61-8F641AA494D3}"/>
                </a:ext>
              </a:extLst>
            </p:cNvPr>
            <p:cNvSpPr/>
            <p:nvPr/>
          </p:nvSpPr>
          <p:spPr>
            <a:xfrm>
              <a:off x="4272385" y="2911489"/>
              <a:ext cx="707136" cy="390144"/>
            </a:xfrm>
            <a:custGeom>
              <a:avLst/>
              <a:gdLst>
                <a:gd name="connsiteX0" fmla="*/ 718045 w 707136"/>
                <a:gd name="connsiteY0" fmla="*/ 214091 h 390143"/>
                <a:gd name="connsiteX1" fmla="*/ 506148 w 707136"/>
                <a:gd name="connsiteY1" fmla="*/ 237744 h 390143"/>
                <a:gd name="connsiteX2" fmla="*/ 348140 w 707136"/>
                <a:gd name="connsiteY2" fmla="*/ 0 h 390143"/>
                <a:gd name="connsiteX3" fmla="*/ 171356 w 707136"/>
                <a:gd name="connsiteY3" fmla="*/ 263347 h 390143"/>
                <a:gd name="connsiteX4" fmla="*/ 29684 w 707136"/>
                <a:gd name="connsiteY4" fmla="*/ 188000 h 390143"/>
                <a:gd name="connsiteX5" fmla="*/ 24564 w 707136"/>
                <a:gd name="connsiteY5" fmla="*/ 396484 h 390143"/>
                <a:gd name="connsiteX6" fmla="*/ 688052 w 707136"/>
                <a:gd name="connsiteY6" fmla="*/ 396484 h 390143"/>
                <a:gd name="connsiteX7" fmla="*/ 718045 w 707136"/>
                <a:gd name="connsiteY7" fmla="*/ 214091 h 390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136" h="390143">
                  <a:moveTo>
                    <a:pt x="718045" y="214091"/>
                  </a:moveTo>
                  <a:cubicBezTo>
                    <a:pt x="672447" y="182148"/>
                    <a:pt x="579788" y="246034"/>
                    <a:pt x="506148" y="237744"/>
                  </a:cubicBezTo>
                  <a:cubicBezTo>
                    <a:pt x="432508" y="229453"/>
                    <a:pt x="451040" y="0"/>
                    <a:pt x="348140" y="0"/>
                  </a:cubicBezTo>
                  <a:cubicBezTo>
                    <a:pt x="245239" y="0"/>
                    <a:pt x="253286" y="262128"/>
                    <a:pt x="171356" y="263347"/>
                  </a:cubicBezTo>
                  <a:cubicBezTo>
                    <a:pt x="89425" y="264566"/>
                    <a:pt x="96497" y="149718"/>
                    <a:pt x="29684" y="188000"/>
                  </a:cubicBezTo>
                  <a:cubicBezTo>
                    <a:pt x="-25423" y="219456"/>
                    <a:pt x="10421" y="351373"/>
                    <a:pt x="24564" y="396484"/>
                  </a:cubicBezTo>
                  <a:lnTo>
                    <a:pt x="688052" y="396484"/>
                  </a:lnTo>
                  <a:cubicBezTo>
                    <a:pt x="713656" y="336743"/>
                    <a:pt x="749500" y="236037"/>
                    <a:pt x="718045" y="214091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FA37BC60-4A42-4DD5-A8C8-87F15A52C4FD}"/>
                </a:ext>
              </a:extLst>
            </p:cNvPr>
            <p:cNvSpPr/>
            <p:nvPr/>
          </p:nvSpPr>
          <p:spPr>
            <a:xfrm>
              <a:off x="5664847" y="2225031"/>
              <a:ext cx="560832" cy="1170432"/>
            </a:xfrm>
            <a:custGeom>
              <a:avLst/>
              <a:gdLst>
                <a:gd name="connsiteX0" fmla="*/ 416766 w 560832"/>
                <a:gd name="connsiteY0" fmla="*/ 1142195 h 1170431"/>
                <a:gd name="connsiteX1" fmla="*/ 36132 w 560832"/>
                <a:gd name="connsiteY1" fmla="*/ 1065385 h 1170431"/>
                <a:gd name="connsiteX2" fmla="*/ 1994 w 560832"/>
                <a:gd name="connsiteY2" fmla="*/ 1009301 h 1170431"/>
                <a:gd name="connsiteX3" fmla="*/ 151225 w 560832"/>
                <a:gd name="connsiteY3" fmla="*/ 783750 h 1170431"/>
                <a:gd name="connsiteX4" fmla="*/ 99287 w 560832"/>
                <a:gd name="connsiteY4" fmla="*/ 673778 h 1170431"/>
                <a:gd name="connsiteX5" fmla="*/ 43203 w 560832"/>
                <a:gd name="connsiteY5" fmla="*/ 402140 h 1170431"/>
                <a:gd name="connsiteX6" fmla="*/ 130254 w 560832"/>
                <a:gd name="connsiteY6" fmla="*/ 133916 h 1170431"/>
                <a:gd name="connsiteX7" fmla="*/ 298992 w 560832"/>
                <a:gd name="connsiteY7" fmla="*/ 2243 h 1170431"/>
                <a:gd name="connsiteX8" fmla="*/ 392626 w 560832"/>
                <a:gd name="connsiteY8" fmla="*/ 108801 h 1170431"/>
                <a:gd name="connsiteX9" fmla="*/ 396284 w 560832"/>
                <a:gd name="connsiteY9" fmla="*/ 311432 h 1170431"/>
                <a:gd name="connsiteX10" fmla="*/ 390675 w 560832"/>
                <a:gd name="connsiteY10" fmla="*/ 401165 h 1170431"/>
                <a:gd name="connsiteX11" fmla="*/ 553804 w 560832"/>
                <a:gd name="connsiteY11" fmla="*/ 560148 h 1170431"/>
                <a:gd name="connsiteX12" fmla="*/ 503573 w 560832"/>
                <a:gd name="connsiteY12" fmla="*/ 778629 h 1170431"/>
                <a:gd name="connsiteX13" fmla="*/ 468460 w 560832"/>
                <a:gd name="connsiteY13" fmla="*/ 918837 h 1170431"/>
                <a:gd name="connsiteX14" fmla="*/ 495039 w 560832"/>
                <a:gd name="connsiteY14" fmla="*/ 951999 h 1170431"/>
                <a:gd name="connsiteX15" fmla="*/ 416766 w 560832"/>
                <a:gd name="connsiteY15" fmla="*/ 1142195 h 117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0832" h="1170431">
                  <a:moveTo>
                    <a:pt x="416766" y="1142195"/>
                  </a:moveTo>
                  <a:cubicBezTo>
                    <a:pt x="308501" y="1224368"/>
                    <a:pt x="133180" y="1149509"/>
                    <a:pt x="36132" y="1065385"/>
                  </a:cubicBezTo>
                  <a:cubicBezTo>
                    <a:pt x="19063" y="1050755"/>
                    <a:pt x="6627" y="1031247"/>
                    <a:pt x="1994" y="1009301"/>
                  </a:cubicBezTo>
                  <a:cubicBezTo>
                    <a:pt x="-19951" y="903963"/>
                    <a:pt x="146348" y="878116"/>
                    <a:pt x="151225" y="783750"/>
                  </a:cubicBezTo>
                  <a:cubicBezTo>
                    <a:pt x="153419" y="742541"/>
                    <a:pt x="122208" y="708159"/>
                    <a:pt x="99287" y="673778"/>
                  </a:cubicBezTo>
                  <a:cubicBezTo>
                    <a:pt x="46861" y="595261"/>
                    <a:pt x="31987" y="495775"/>
                    <a:pt x="43203" y="402140"/>
                  </a:cubicBezTo>
                  <a:cubicBezTo>
                    <a:pt x="54176" y="308262"/>
                    <a:pt x="89289" y="219016"/>
                    <a:pt x="130254" y="133916"/>
                  </a:cubicBezTo>
                  <a:cubicBezTo>
                    <a:pt x="163660" y="64178"/>
                    <a:pt x="223401" y="-14339"/>
                    <a:pt x="298992" y="2243"/>
                  </a:cubicBezTo>
                  <a:cubicBezTo>
                    <a:pt x="347516" y="12972"/>
                    <a:pt x="378483" y="61252"/>
                    <a:pt x="392626" y="108801"/>
                  </a:cubicBezTo>
                  <a:cubicBezTo>
                    <a:pt x="412133" y="174150"/>
                    <a:pt x="409207" y="244620"/>
                    <a:pt x="396284" y="311432"/>
                  </a:cubicBezTo>
                  <a:cubicBezTo>
                    <a:pt x="390432" y="341180"/>
                    <a:pt x="382873" y="371904"/>
                    <a:pt x="390675" y="401165"/>
                  </a:cubicBezTo>
                  <a:cubicBezTo>
                    <a:pt x="411158" y="475780"/>
                    <a:pt x="515765" y="492605"/>
                    <a:pt x="553804" y="560148"/>
                  </a:cubicBezTo>
                  <a:cubicBezTo>
                    <a:pt x="592575" y="628667"/>
                    <a:pt x="546245" y="712305"/>
                    <a:pt x="503573" y="778629"/>
                  </a:cubicBezTo>
                  <a:cubicBezTo>
                    <a:pt x="466997" y="835200"/>
                    <a:pt x="444564" y="870313"/>
                    <a:pt x="468460" y="918837"/>
                  </a:cubicBezTo>
                  <a:cubicBezTo>
                    <a:pt x="474800" y="931760"/>
                    <a:pt x="484066" y="942733"/>
                    <a:pt x="495039" y="951999"/>
                  </a:cubicBezTo>
                  <a:cubicBezTo>
                    <a:pt x="518448" y="971994"/>
                    <a:pt x="561363" y="1032467"/>
                    <a:pt x="416766" y="1142195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0D7743B7-0B89-449F-AB8A-6FE3EF370C4B}"/>
                </a:ext>
              </a:extLst>
            </p:cNvPr>
            <p:cNvSpPr/>
            <p:nvPr/>
          </p:nvSpPr>
          <p:spPr>
            <a:xfrm>
              <a:off x="5965381" y="2598302"/>
              <a:ext cx="365760" cy="780288"/>
            </a:xfrm>
            <a:custGeom>
              <a:avLst/>
              <a:gdLst>
                <a:gd name="connsiteX0" fmla="*/ 284727 w 365760"/>
                <a:gd name="connsiteY0" fmla="*/ 780140 h 780287"/>
                <a:gd name="connsiteX1" fmla="*/ 24793 w 365760"/>
                <a:gd name="connsiteY1" fmla="*/ 727715 h 780287"/>
                <a:gd name="connsiteX2" fmla="*/ 1384 w 365760"/>
                <a:gd name="connsiteY2" fmla="*/ 689432 h 780287"/>
                <a:gd name="connsiteX3" fmla="*/ 103310 w 365760"/>
                <a:gd name="connsiteY3" fmla="*/ 535325 h 780287"/>
                <a:gd name="connsiteX4" fmla="*/ 67709 w 365760"/>
                <a:gd name="connsiteY4" fmla="*/ 460223 h 780287"/>
                <a:gd name="connsiteX5" fmla="*/ 29426 w 365760"/>
                <a:gd name="connsiteY5" fmla="*/ 274660 h 780287"/>
                <a:gd name="connsiteX6" fmla="*/ 88923 w 365760"/>
                <a:gd name="connsiteY6" fmla="*/ 91537 h 780287"/>
                <a:gd name="connsiteX7" fmla="*/ 204015 w 365760"/>
                <a:gd name="connsiteY7" fmla="*/ 1560 h 780287"/>
                <a:gd name="connsiteX8" fmla="*/ 268145 w 365760"/>
                <a:gd name="connsiteY8" fmla="*/ 74224 h 780287"/>
                <a:gd name="connsiteX9" fmla="*/ 270584 w 365760"/>
                <a:gd name="connsiteY9" fmla="*/ 212725 h 780287"/>
                <a:gd name="connsiteX10" fmla="*/ 266926 w 365760"/>
                <a:gd name="connsiteY10" fmla="*/ 273929 h 780287"/>
                <a:gd name="connsiteX11" fmla="*/ 378361 w 365760"/>
                <a:gd name="connsiteY11" fmla="*/ 382438 h 780287"/>
                <a:gd name="connsiteX12" fmla="*/ 344224 w 365760"/>
                <a:gd name="connsiteY12" fmla="*/ 531668 h 780287"/>
                <a:gd name="connsiteX13" fmla="*/ 320327 w 365760"/>
                <a:gd name="connsiteY13" fmla="*/ 627497 h 780287"/>
                <a:gd name="connsiteX14" fmla="*/ 338371 w 365760"/>
                <a:gd name="connsiteY14" fmla="*/ 650174 h 780287"/>
                <a:gd name="connsiteX15" fmla="*/ 284727 w 365760"/>
                <a:gd name="connsiteY15" fmla="*/ 780140 h 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5760" h="780287">
                  <a:moveTo>
                    <a:pt x="284727" y="780140"/>
                  </a:moveTo>
                  <a:cubicBezTo>
                    <a:pt x="210843" y="836224"/>
                    <a:pt x="91118" y="785017"/>
                    <a:pt x="24793" y="727715"/>
                  </a:cubicBezTo>
                  <a:cubicBezTo>
                    <a:pt x="13088" y="717718"/>
                    <a:pt x="4554" y="704550"/>
                    <a:pt x="1384" y="689432"/>
                  </a:cubicBezTo>
                  <a:cubicBezTo>
                    <a:pt x="-13734" y="617499"/>
                    <a:pt x="99896" y="599699"/>
                    <a:pt x="103310" y="535325"/>
                  </a:cubicBezTo>
                  <a:cubicBezTo>
                    <a:pt x="104773" y="507040"/>
                    <a:pt x="83559" y="483631"/>
                    <a:pt x="67709" y="460223"/>
                  </a:cubicBezTo>
                  <a:cubicBezTo>
                    <a:pt x="31864" y="406578"/>
                    <a:pt x="21867" y="338546"/>
                    <a:pt x="29426" y="274660"/>
                  </a:cubicBezTo>
                  <a:cubicBezTo>
                    <a:pt x="36985" y="210530"/>
                    <a:pt x="60881" y="149570"/>
                    <a:pt x="88923" y="91537"/>
                  </a:cubicBezTo>
                  <a:cubicBezTo>
                    <a:pt x="111844" y="43988"/>
                    <a:pt x="152565" y="-9901"/>
                    <a:pt x="204015" y="1560"/>
                  </a:cubicBezTo>
                  <a:cubicBezTo>
                    <a:pt x="237177" y="8875"/>
                    <a:pt x="258392" y="41793"/>
                    <a:pt x="268145" y="74224"/>
                  </a:cubicBezTo>
                  <a:cubicBezTo>
                    <a:pt x="281312" y="118847"/>
                    <a:pt x="279362" y="166883"/>
                    <a:pt x="270584" y="212725"/>
                  </a:cubicBezTo>
                  <a:cubicBezTo>
                    <a:pt x="266682" y="232964"/>
                    <a:pt x="261318" y="253934"/>
                    <a:pt x="266926" y="273929"/>
                  </a:cubicBezTo>
                  <a:cubicBezTo>
                    <a:pt x="280825" y="324891"/>
                    <a:pt x="352514" y="336352"/>
                    <a:pt x="378361" y="382438"/>
                  </a:cubicBezTo>
                  <a:cubicBezTo>
                    <a:pt x="404695" y="429255"/>
                    <a:pt x="373241" y="486313"/>
                    <a:pt x="344224" y="531668"/>
                  </a:cubicBezTo>
                  <a:cubicBezTo>
                    <a:pt x="319351" y="570438"/>
                    <a:pt x="303989" y="594335"/>
                    <a:pt x="320327" y="627497"/>
                  </a:cubicBezTo>
                  <a:cubicBezTo>
                    <a:pt x="324716" y="636275"/>
                    <a:pt x="331056" y="643834"/>
                    <a:pt x="338371" y="650174"/>
                  </a:cubicBezTo>
                  <a:cubicBezTo>
                    <a:pt x="354221" y="663829"/>
                    <a:pt x="383726" y="705282"/>
                    <a:pt x="284727" y="780140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A796208-A4FD-4A10-A031-DB2F990278B3}"/>
                </a:ext>
              </a:extLst>
            </p:cNvPr>
            <p:cNvSpPr/>
            <p:nvPr/>
          </p:nvSpPr>
          <p:spPr>
            <a:xfrm>
              <a:off x="191414" y="2824823"/>
              <a:ext cx="609600" cy="195072"/>
            </a:xfrm>
            <a:custGeom>
              <a:avLst/>
              <a:gdLst>
                <a:gd name="connsiteX0" fmla="*/ 0 w 609600"/>
                <a:gd name="connsiteY0" fmla="*/ 205172 h 195071"/>
                <a:gd name="connsiteX1" fmla="*/ 618622 w 609600"/>
                <a:gd name="connsiteY1" fmla="*/ 52528 h 195071"/>
                <a:gd name="connsiteX2" fmla="*/ 0 w 609600"/>
                <a:gd name="connsiteY2" fmla="*/ 205172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95071">
                  <a:moveTo>
                    <a:pt x="0" y="205172"/>
                  </a:moveTo>
                  <a:cubicBezTo>
                    <a:pt x="0" y="205172"/>
                    <a:pt x="563514" y="-125231"/>
                    <a:pt x="618622" y="52528"/>
                  </a:cubicBezTo>
                  <a:cubicBezTo>
                    <a:pt x="681777" y="256135"/>
                    <a:pt x="0" y="205172"/>
                    <a:pt x="0" y="20517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27FBC5B-7A8C-490C-8395-03639401E643}"/>
                </a:ext>
              </a:extLst>
            </p:cNvPr>
            <p:cNvSpPr/>
            <p:nvPr/>
          </p:nvSpPr>
          <p:spPr>
            <a:xfrm>
              <a:off x="0" y="2546216"/>
              <a:ext cx="146304" cy="463296"/>
            </a:xfrm>
            <a:custGeom>
              <a:avLst/>
              <a:gdLst>
                <a:gd name="connsiteX0" fmla="*/ 147036 w 146304"/>
                <a:gd name="connsiteY0" fmla="*/ 472562 h 463295"/>
                <a:gd name="connsiteX1" fmla="*/ 0 w 146304"/>
                <a:gd name="connsiteY1" fmla="*/ 0 h 463295"/>
                <a:gd name="connsiteX2" fmla="*/ 0 w 146304"/>
                <a:gd name="connsiteY2" fmla="*/ 334305 h 463295"/>
                <a:gd name="connsiteX3" fmla="*/ 147036 w 146304"/>
                <a:gd name="connsiteY3" fmla="*/ 472562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463295">
                  <a:moveTo>
                    <a:pt x="147036" y="472562"/>
                  </a:moveTo>
                  <a:cubicBezTo>
                    <a:pt x="138501" y="368198"/>
                    <a:pt x="82418" y="135087"/>
                    <a:pt x="0" y="0"/>
                  </a:cubicBezTo>
                  <a:lnTo>
                    <a:pt x="0" y="334305"/>
                  </a:lnTo>
                  <a:cubicBezTo>
                    <a:pt x="78029" y="414284"/>
                    <a:pt x="147036" y="472562"/>
                    <a:pt x="147036" y="47256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C393DB7F-9E1E-4254-8726-CE53449BFCFC}"/>
                </a:ext>
              </a:extLst>
            </p:cNvPr>
            <p:cNvSpPr/>
            <p:nvPr/>
          </p:nvSpPr>
          <p:spPr>
            <a:xfrm>
              <a:off x="407944" y="2478785"/>
              <a:ext cx="609600" cy="146304"/>
            </a:xfrm>
            <a:custGeom>
              <a:avLst/>
              <a:gdLst>
                <a:gd name="connsiteX0" fmla="*/ 0 w 609600"/>
                <a:gd name="connsiteY0" fmla="*/ 132293 h 146303"/>
                <a:gd name="connsiteX1" fmla="*/ 611063 w 609600"/>
                <a:gd name="connsiteY1" fmla="*/ 61823 h 146303"/>
                <a:gd name="connsiteX2" fmla="*/ 0 w 609600"/>
                <a:gd name="connsiteY2" fmla="*/ 132293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46303">
                  <a:moveTo>
                    <a:pt x="0" y="132293"/>
                  </a:moveTo>
                  <a:cubicBezTo>
                    <a:pt x="0" y="132293"/>
                    <a:pt x="575462" y="-110572"/>
                    <a:pt x="611063" y="61823"/>
                  </a:cubicBezTo>
                  <a:cubicBezTo>
                    <a:pt x="649590" y="249580"/>
                    <a:pt x="0" y="132293"/>
                    <a:pt x="0" y="13229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A13CFDCF-1EEE-4326-887A-1524655799D2}"/>
                </a:ext>
              </a:extLst>
            </p:cNvPr>
            <p:cNvSpPr/>
            <p:nvPr/>
          </p:nvSpPr>
          <p:spPr>
            <a:xfrm>
              <a:off x="244" y="2097015"/>
              <a:ext cx="365760" cy="487680"/>
            </a:xfrm>
            <a:custGeom>
              <a:avLst/>
              <a:gdLst>
                <a:gd name="connsiteX0" fmla="*/ 372344 w 365760"/>
                <a:gd name="connsiteY0" fmla="*/ 510649 h 487679"/>
                <a:gd name="connsiteX1" fmla="*/ 26579 w 365760"/>
                <a:gd name="connsiteY1" fmla="*/ 12240 h 487679"/>
                <a:gd name="connsiteX2" fmla="*/ 0 w 365760"/>
                <a:gd name="connsiteY2" fmla="*/ 29796 h 487679"/>
                <a:gd name="connsiteX3" fmla="*/ 0 w 365760"/>
                <a:gd name="connsiteY3" fmla="*/ 157081 h 487679"/>
                <a:gd name="connsiteX4" fmla="*/ 372344 w 365760"/>
                <a:gd name="connsiteY4" fmla="*/ 510649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0" h="487679">
                  <a:moveTo>
                    <a:pt x="372344" y="510649"/>
                  </a:moveTo>
                  <a:cubicBezTo>
                    <a:pt x="372344" y="510649"/>
                    <a:pt x="244815" y="-92611"/>
                    <a:pt x="26579" y="12240"/>
                  </a:cubicBezTo>
                  <a:cubicBezTo>
                    <a:pt x="15850" y="17361"/>
                    <a:pt x="7071" y="23213"/>
                    <a:pt x="0" y="29796"/>
                  </a:cubicBezTo>
                  <a:lnTo>
                    <a:pt x="0" y="157081"/>
                  </a:lnTo>
                  <a:cubicBezTo>
                    <a:pt x="84856" y="310212"/>
                    <a:pt x="372344" y="510649"/>
                    <a:pt x="372344" y="510649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A8A49B75-BBFE-49D4-BB4A-235CDB7EAADB}"/>
                </a:ext>
              </a:extLst>
            </p:cNvPr>
            <p:cNvSpPr/>
            <p:nvPr/>
          </p:nvSpPr>
          <p:spPr>
            <a:xfrm>
              <a:off x="596920" y="2084476"/>
              <a:ext cx="585216" cy="170688"/>
            </a:xfrm>
            <a:custGeom>
              <a:avLst/>
              <a:gdLst>
                <a:gd name="connsiteX0" fmla="*/ 0 w 585216"/>
                <a:gd name="connsiteY0" fmla="*/ 171327 h 170687"/>
                <a:gd name="connsiteX1" fmla="*/ 591068 w 585216"/>
                <a:gd name="connsiteY1" fmla="*/ 45993 h 170687"/>
                <a:gd name="connsiteX2" fmla="*/ 0 w 585216"/>
                <a:gd name="connsiteY2" fmla="*/ 17132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5216" h="170687">
                  <a:moveTo>
                    <a:pt x="0" y="171327"/>
                  </a:moveTo>
                  <a:cubicBezTo>
                    <a:pt x="99243" y="92079"/>
                    <a:pt x="573999" y="-82998"/>
                    <a:pt x="591068" y="45993"/>
                  </a:cubicBezTo>
                  <a:cubicBezTo>
                    <a:pt x="620817" y="270326"/>
                    <a:pt x="0" y="171327"/>
                    <a:pt x="0" y="17132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48FDE24C-E24A-489C-9754-4552040B29DC}"/>
                </a:ext>
              </a:extLst>
            </p:cNvPr>
            <p:cNvSpPr/>
            <p:nvPr/>
          </p:nvSpPr>
          <p:spPr>
            <a:xfrm>
              <a:off x="167209" y="1738921"/>
              <a:ext cx="365760" cy="487680"/>
            </a:xfrm>
            <a:custGeom>
              <a:avLst/>
              <a:gdLst>
                <a:gd name="connsiteX0" fmla="*/ 376798 w 365760"/>
                <a:gd name="connsiteY0" fmla="*/ 504446 h 487679"/>
                <a:gd name="connsiteX1" fmla="*/ 40543 w 365760"/>
                <a:gd name="connsiteY1" fmla="*/ 7988 h 487679"/>
                <a:gd name="connsiteX2" fmla="*/ 376798 w 365760"/>
                <a:gd name="connsiteY2" fmla="*/ 504446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760" h="487679">
                  <a:moveTo>
                    <a:pt x="376798" y="504446"/>
                  </a:moveTo>
                  <a:cubicBezTo>
                    <a:pt x="316326" y="293524"/>
                    <a:pt x="154904" y="-57361"/>
                    <a:pt x="40543" y="7988"/>
                  </a:cubicBezTo>
                  <a:cubicBezTo>
                    <a:pt x="-146970" y="115521"/>
                    <a:pt x="376798" y="504446"/>
                    <a:pt x="376798" y="504446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B898F5EF-97B6-4904-B33F-5B209395F35A}"/>
                </a:ext>
              </a:extLst>
            </p:cNvPr>
            <p:cNvSpPr/>
            <p:nvPr/>
          </p:nvSpPr>
          <p:spPr>
            <a:xfrm>
              <a:off x="353830" y="1431609"/>
              <a:ext cx="316992" cy="438912"/>
            </a:xfrm>
            <a:custGeom>
              <a:avLst/>
              <a:gdLst>
                <a:gd name="connsiteX0" fmla="*/ 333799 w 316992"/>
                <a:gd name="connsiteY0" fmla="*/ 455020 h 438911"/>
                <a:gd name="connsiteX1" fmla="*/ 26073 w 316992"/>
                <a:gd name="connsiteY1" fmla="*/ 6354 h 438911"/>
                <a:gd name="connsiteX2" fmla="*/ 333799 w 316992"/>
                <a:gd name="connsiteY2" fmla="*/ 455020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38911">
                  <a:moveTo>
                    <a:pt x="333799" y="455020"/>
                  </a:moveTo>
                  <a:cubicBezTo>
                    <a:pt x="321119" y="267507"/>
                    <a:pt x="162623" y="-48753"/>
                    <a:pt x="26073" y="6354"/>
                  </a:cubicBezTo>
                  <a:cubicBezTo>
                    <a:pt x="-110478" y="61706"/>
                    <a:pt x="333799" y="455020"/>
                    <a:pt x="333799" y="455020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61599FB-0944-4664-8E21-034AE1B8DFC6}"/>
                </a:ext>
              </a:extLst>
            </p:cNvPr>
            <p:cNvSpPr/>
            <p:nvPr/>
          </p:nvSpPr>
          <p:spPr>
            <a:xfrm>
              <a:off x="742493" y="1294120"/>
              <a:ext cx="243840" cy="536448"/>
            </a:xfrm>
            <a:custGeom>
              <a:avLst/>
              <a:gdLst>
                <a:gd name="connsiteX0" fmla="*/ 0 w 243840"/>
                <a:gd name="connsiteY0" fmla="*/ 548618 h 536447"/>
                <a:gd name="connsiteX1" fmla="*/ 203363 w 243840"/>
                <a:gd name="connsiteY1" fmla="*/ 6075 h 536447"/>
                <a:gd name="connsiteX2" fmla="*/ 0 w 243840"/>
                <a:gd name="connsiteY2" fmla="*/ 548618 h 536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840" h="536447">
                  <a:moveTo>
                    <a:pt x="0" y="548618"/>
                  </a:moveTo>
                  <a:cubicBezTo>
                    <a:pt x="0" y="548618"/>
                    <a:pt x="385267" y="79470"/>
                    <a:pt x="203363" y="6075"/>
                  </a:cubicBezTo>
                  <a:cubicBezTo>
                    <a:pt x="21702" y="-67321"/>
                    <a:pt x="0" y="548618"/>
                    <a:pt x="0" y="548618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31FCE595-85F5-475D-9A64-3E2D664ECA6D}"/>
                </a:ext>
              </a:extLst>
            </p:cNvPr>
            <p:cNvSpPr/>
            <p:nvPr/>
          </p:nvSpPr>
          <p:spPr>
            <a:xfrm>
              <a:off x="10973" y="1484781"/>
              <a:ext cx="853440" cy="1804416"/>
            </a:xfrm>
            <a:custGeom>
              <a:avLst/>
              <a:gdLst>
                <a:gd name="connsiteX0" fmla="*/ 868314 w 853440"/>
                <a:gd name="connsiteY0" fmla="*/ 0 h 1804415"/>
                <a:gd name="connsiteX1" fmla="*/ 0 w 853440"/>
                <a:gd name="connsiteY1" fmla="*/ 1818558 h 180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3440" h="1804415">
                  <a:moveTo>
                    <a:pt x="868314" y="0"/>
                  </a:moveTo>
                  <a:cubicBezTo>
                    <a:pt x="868314" y="0"/>
                    <a:pt x="618866" y="787603"/>
                    <a:pt x="0" y="1818558"/>
                  </a:cubicBez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C69363A-7713-46FC-A840-2D83D4CCDB18}"/>
                </a:ext>
              </a:extLst>
            </p:cNvPr>
            <p:cNvSpPr/>
            <p:nvPr/>
          </p:nvSpPr>
          <p:spPr>
            <a:xfrm>
              <a:off x="710062" y="1760934"/>
              <a:ext cx="536448" cy="170688"/>
            </a:xfrm>
            <a:custGeom>
              <a:avLst/>
              <a:gdLst>
                <a:gd name="connsiteX0" fmla="*/ 0 w 536448"/>
                <a:gd name="connsiteY0" fmla="*/ 159833 h 170687"/>
                <a:gd name="connsiteX1" fmla="*/ 554004 w 536448"/>
                <a:gd name="connsiteY1" fmla="*/ 44009 h 170687"/>
                <a:gd name="connsiteX2" fmla="*/ 0 w 536448"/>
                <a:gd name="connsiteY2" fmla="*/ 159833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6448" h="170687">
                  <a:moveTo>
                    <a:pt x="0" y="159833"/>
                  </a:moveTo>
                  <a:cubicBezTo>
                    <a:pt x="0" y="159833"/>
                    <a:pt x="504505" y="-101320"/>
                    <a:pt x="554004" y="44009"/>
                  </a:cubicBezTo>
                  <a:cubicBezTo>
                    <a:pt x="614721" y="223475"/>
                    <a:pt x="0" y="159833"/>
                    <a:pt x="0" y="15983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802BFF8-E76C-446A-ABCA-EF2F1FA6564D}"/>
                </a:ext>
              </a:extLst>
            </p:cNvPr>
            <p:cNvSpPr/>
            <p:nvPr/>
          </p:nvSpPr>
          <p:spPr>
            <a:xfrm>
              <a:off x="485973" y="1573051"/>
              <a:ext cx="609600" cy="341376"/>
            </a:xfrm>
            <a:custGeom>
              <a:avLst/>
              <a:gdLst>
                <a:gd name="connsiteX0" fmla="*/ 624962 w 609600"/>
                <a:gd name="connsiteY0" fmla="*/ 265542 h 341375"/>
                <a:gd name="connsiteX1" fmla="*/ 224089 w 609600"/>
                <a:gd name="connsiteY1" fmla="*/ 347716 h 341375"/>
                <a:gd name="connsiteX2" fmla="*/ 0 w 609600"/>
                <a:gd name="connsiteY2" fmla="*/ 0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341375">
                  <a:moveTo>
                    <a:pt x="624962" y="265542"/>
                  </a:moveTo>
                  <a:lnTo>
                    <a:pt x="224089" y="347716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C0F2BE2-A079-4D86-8847-21325865BC4E}"/>
                </a:ext>
              </a:extLst>
            </p:cNvPr>
            <p:cNvSpPr/>
            <p:nvPr/>
          </p:nvSpPr>
          <p:spPr>
            <a:xfrm>
              <a:off x="295290" y="1881021"/>
              <a:ext cx="707136" cy="365760"/>
            </a:xfrm>
            <a:custGeom>
              <a:avLst/>
              <a:gdLst>
                <a:gd name="connsiteX0" fmla="*/ 728838 w 707136"/>
                <a:gd name="connsiteY0" fmla="*/ 297241 h 365759"/>
                <a:gd name="connsiteX1" fmla="*/ 262128 w 707136"/>
                <a:gd name="connsiteY1" fmla="*/ 381853 h 365759"/>
                <a:gd name="connsiteX2" fmla="*/ 0 w 707136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7136" h="365759">
                  <a:moveTo>
                    <a:pt x="728838" y="297241"/>
                  </a:moveTo>
                  <a:lnTo>
                    <a:pt x="262128" y="381853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1234FE09-4B52-4D2A-B491-9360C32B6BDC}"/>
                </a:ext>
              </a:extLst>
            </p:cNvPr>
            <p:cNvSpPr/>
            <p:nvPr/>
          </p:nvSpPr>
          <p:spPr>
            <a:xfrm>
              <a:off x="125578" y="2238003"/>
              <a:ext cx="682752" cy="365760"/>
            </a:xfrm>
            <a:custGeom>
              <a:avLst/>
              <a:gdLst>
                <a:gd name="connsiteX0" fmla="*/ 698602 w 682752"/>
                <a:gd name="connsiteY0" fmla="*/ 328209 h 365759"/>
                <a:gd name="connsiteX1" fmla="*/ 260177 w 682752"/>
                <a:gd name="connsiteY1" fmla="*/ 375514 h 365759"/>
                <a:gd name="connsiteX2" fmla="*/ 0 w 682752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365759">
                  <a:moveTo>
                    <a:pt x="698602" y="328209"/>
                  </a:moveTo>
                  <a:lnTo>
                    <a:pt x="260177" y="375514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D0BCA38-7759-4F7E-97FC-F2938E8291C7}"/>
                </a:ext>
              </a:extLst>
            </p:cNvPr>
            <p:cNvSpPr/>
            <p:nvPr/>
          </p:nvSpPr>
          <p:spPr>
            <a:xfrm>
              <a:off x="16093" y="2777620"/>
              <a:ext cx="682752" cy="268224"/>
            </a:xfrm>
            <a:custGeom>
              <a:avLst/>
              <a:gdLst>
                <a:gd name="connsiteX0" fmla="*/ 691043 w 682752"/>
                <a:gd name="connsiteY0" fmla="*/ 131674 h 268223"/>
                <a:gd name="connsiteX1" fmla="*/ 157521 w 682752"/>
                <a:gd name="connsiteY1" fmla="*/ 286268 h 268223"/>
                <a:gd name="connsiteX2" fmla="*/ 0 w 682752"/>
                <a:gd name="connsiteY2" fmla="*/ 0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268223">
                  <a:moveTo>
                    <a:pt x="691043" y="131674"/>
                  </a:moveTo>
                  <a:lnTo>
                    <a:pt x="157521" y="286268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C3B1C37-22D9-4A34-BBB9-1B6003D209BC}"/>
                </a:ext>
              </a:extLst>
            </p:cNvPr>
            <p:cNvSpPr/>
            <p:nvPr/>
          </p:nvSpPr>
          <p:spPr>
            <a:xfrm>
              <a:off x="2573243" y="781059"/>
              <a:ext cx="3438144" cy="1463040"/>
            </a:xfrm>
            <a:custGeom>
              <a:avLst/>
              <a:gdLst>
                <a:gd name="connsiteX0" fmla="*/ 0 w 3438144"/>
                <a:gd name="connsiteY0" fmla="*/ 1480352 h 1463039"/>
                <a:gd name="connsiteX1" fmla="*/ 3443265 w 3438144"/>
                <a:gd name="connsiteY1" fmla="*/ 0 h 1463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8144" h="1463039">
                  <a:moveTo>
                    <a:pt x="0" y="1480352"/>
                  </a:moveTo>
                  <a:cubicBezTo>
                    <a:pt x="925861" y="611063"/>
                    <a:pt x="3397179" y="596189"/>
                    <a:pt x="3443265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A20314E8-2C41-4E96-B569-F28204586BD5}"/>
                </a:ext>
              </a:extLst>
            </p:cNvPr>
            <p:cNvSpPr/>
            <p:nvPr/>
          </p:nvSpPr>
          <p:spPr>
            <a:xfrm>
              <a:off x="4338889" y="814953"/>
              <a:ext cx="2365248" cy="1024128"/>
            </a:xfrm>
            <a:custGeom>
              <a:avLst/>
              <a:gdLst>
                <a:gd name="connsiteX0" fmla="*/ 0 w 2365248"/>
                <a:gd name="connsiteY0" fmla="*/ 1030224 h 1024127"/>
                <a:gd name="connsiteX1" fmla="*/ 2375246 w 2365248"/>
                <a:gd name="connsiteY1" fmla="*/ 0 h 102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65248" h="1024127">
                  <a:moveTo>
                    <a:pt x="0" y="1030224"/>
                  </a:moveTo>
                  <a:cubicBezTo>
                    <a:pt x="1150681" y="1014374"/>
                    <a:pt x="1727850" y="813206"/>
                    <a:pt x="2375246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59D1BFEC-B02C-422D-9117-3B35D766CFE2}"/>
                </a:ext>
              </a:extLst>
            </p:cNvPr>
            <p:cNvSpPr/>
            <p:nvPr/>
          </p:nvSpPr>
          <p:spPr>
            <a:xfrm>
              <a:off x="8535131" y="360923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3886 h 195071"/>
                <a:gd name="connsiteX2" fmla="*/ 198242 w 195072"/>
                <a:gd name="connsiteY2" fmla="*/ 98999 h 195071"/>
                <a:gd name="connsiteX3" fmla="*/ 134112 w 195072"/>
                <a:gd name="connsiteY3" fmla="*/ 134112 h 195071"/>
                <a:gd name="connsiteX4" fmla="*/ 98999 w 195072"/>
                <a:gd name="connsiteY4" fmla="*/ 198242 h 195071"/>
                <a:gd name="connsiteX5" fmla="*/ 64130 w 195072"/>
                <a:gd name="connsiteY5" fmla="*/ 134112 h 195071"/>
                <a:gd name="connsiteX6" fmla="*/ 0 w 195072"/>
                <a:gd name="connsiteY6" fmla="*/ 98999 h 195071"/>
                <a:gd name="connsiteX7" fmla="*/ 64130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3886"/>
                  </a:lnTo>
                  <a:lnTo>
                    <a:pt x="198242" y="98999"/>
                  </a:lnTo>
                  <a:lnTo>
                    <a:pt x="134112" y="134112"/>
                  </a:lnTo>
                  <a:lnTo>
                    <a:pt x="98999" y="198242"/>
                  </a:lnTo>
                  <a:lnTo>
                    <a:pt x="64130" y="134112"/>
                  </a:lnTo>
                  <a:lnTo>
                    <a:pt x="0" y="98999"/>
                  </a:lnTo>
                  <a:lnTo>
                    <a:pt x="64130" y="63886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59755722-B20C-4910-AD39-077AEA29EC00}"/>
                </a:ext>
              </a:extLst>
            </p:cNvPr>
            <p:cNvSpPr/>
            <p:nvPr/>
          </p:nvSpPr>
          <p:spPr>
            <a:xfrm>
              <a:off x="956097" y="9306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4130 h 195071"/>
                <a:gd name="connsiteX2" fmla="*/ 198242 w 195072"/>
                <a:gd name="connsiteY2" fmla="*/ 99243 h 195071"/>
                <a:gd name="connsiteX3" fmla="*/ 134112 w 195072"/>
                <a:gd name="connsiteY3" fmla="*/ 134356 h 195071"/>
                <a:gd name="connsiteX4" fmla="*/ 98999 w 195072"/>
                <a:gd name="connsiteY4" fmla="*/ 198242 h 195071"/>
                <a:gd name="connsiteX5" fmla="*/ 64130 w 195072"/>
                <a:gd name="connsiteY5" fmla="*/ 134356 h 195071"/>
                <a:gd name="connsiteX6" fmla="*/ 0 w 195072"/>
                <a:gd name="connsiteY6" fmla="*/ 99243 h 195071"/>
                <a:gd name="connsiteX7" fmla="*/ 64130 w 195072"/>
                <a:gd name="connsiteY7" fmla="*/ 64130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4130"/>
                  </a:lnTo>
                  <a:lnTo>
                    <a:pt x="198242" y="99243"/>
                  </a:lnTo>
                  <a:lnTo>
                    <a:pt x="134112" y="134356"/>
                  </a:lnTo>
                  <a:lnTo>
                    <a:pt x="98999" y="198242"/>
                  </a:lnTo>
                  <a:lnTo>
                    <a:pt x="64130" y="134356"/>
                  </a:lnTo>
                  <a:lnTo>
                    <a:pt x="0" y="99243"/>
                  </a:lnTo>
                  <a:lnTo>
                    <a:pt x="64130" y="64130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81D18C9-ECA0-4A34-B35D-BCEAA01DFDA7}"/>
                </a:ext>
              </a:extLst>
            </p:cNvPr>
            <p:cNvSpPr/>
            <p:nvPr/>
          </p:nvSpPr>
          <p:spPr>
            <a:xfrm>
              <a:off x="2900477" y="1127312"/>
              <a:ext cx="292608" cy="292608"/>
            </a:xfrm>
            <a:custGeom>
              <a:avLst/>
              <a:gdLst>
                <a:gd name="connsiteX0" fmla="*/ 150937 w 292608"/>
                <a:gd name="connsiteY0" fmla="*/ 0 h 292607"/>
                <a:gd name="connsiteX1" fmla="*/ 204338 w 292608"/>
                <a:gd name="connsiteY1" fmla="*/ 97780 h 292607"/>
                <a:gd name="connsiteX2" fmla="*/ 301874 w 292608"/>
                <a:gd name="connsiteY2" fmla="*/ 150937 h 292607"/>
                <a:gd name="connsiteX3" fmla="*/ 204338 w 292608"/>
                <a:gd name="connsiteY3" fmla="*/ 204338 h 292607"/>
                <a:gd name="connsiteX4" fmla="*/ 150937 w 292608"/>
                <a:gd name="connsiteY4" fmla="*/ 301874 h 292607"/>
                <a:gd name="connsiteX5" fmla="*/ 97536 w 292608"/>
                <a:gd name="connsiteY5" fmla="*/ 204338 h 292607"/>
                <a:gd name="connsiteX6" fmla="*/ 0 w 292608"/>
                <a:gd name="connsiteY6" fmla="*/ 150937 h 292607"/>
                <a:gd name="connsiteX7" fmla="*/ 97536 w 292608"/>
                <a:gd name="connsiteY7" fmla="*/ 97780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608" h="292607">
                  <a:moveTo>
                    <a:pt x="150937" y="0"/>
                  </a:moveTo>
                  <a:lnTo>
                    <a:pt x="204338" y="97780"/>
                  </a:lnTo>
                  <a:lnTo>
                    <a:pt x="301874" y="150937"/>
                  </a:lnTo>
                  <a:lnTo>
                    <a:pt x="204338" y="204338"/>
                  </a:lnTo>
                  <a:lnTo>
                    <a:pt x="150937" y="301874"/>
                  </a:lnTo>
                  <a:lnTo>
                    <a:pt x="97536" y="204338"/>
                  </a:lnTo>
                  <a:lnTo>
                    <a:pt x="0" y="150937"/>
                  </a:lnTo>
                  <a:lnTo>
                    <a:pt x="97536" y="97780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ABCB4FD1-9965-46F9-8916-6E8532F6B3C1}"/>
                </a:ext>
              </a:extLst>
            </p:cNvPr>
            <p:cNvSpPr/>
            <p:nvPr/>
          </p:nvSpPr>
          <p:spPr>
            <a:xfrm>
              <a:off x="6842882" y="1924425"/>
              <a:ext cx="195072" cy="195072"/>
            </a:xfrm>
            <a:custGeom>
              <a:avLst/>
              <a:gdLst>
                <a:gd name="connsiteX0" fmla="*/ 102169 w 195072"/>
                <a:gd name="connsiteY0" fmla="*/ 0 h 195071"/>
                <a:gd name="connsiteX1" fmla="*/ 138257 w 195072"/>
                <a:gd name="connsiteY1" fmla="*/ 66081 h 195071"/>
                <a:gd name="connsiteX2" fmla="*/ 204338 w 195072"/>
                <a:gd name="connsiteY2" fmla="*/ 102169 h 195071"/>
                <a:gd name="connsiteX3" fmla="*/ 138257 w 195072"/>
                <a:gd name="connsiteY3" fmla="*/ 138257 h 195071"/>
                <a:gd name="connsiteX4" fmla="*/ 102169 w 195072"/>
                <a:gd name="connsiteY4" fmla="*/ 204338 h 195071"/>
                <a:gd name="connsiteX5" fmla="*/ 66080 w 195072"/>
                <a:gd name="connsiteY5" fmla="*/ 138257 h 195071"/>
                <a:gd name="connsiteX6" fmla="*/ 0 w 195072"/>
                <a:gd name="connsiteY6" fmla="*/ 102169 h 195071"/>
                <a:gd name="connsiteX7" fmla="*/ 66080 w 195072"/>
                <a:gd name="connsiteY7" fmla="*/ 66081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102169" y="0"/>
                  </a:moveTo>
                  <a:lnTo>
                    <a:pt x="138257" y="66081"/>
                  </a:lnTo>
                  <a:lnTo>
                    <a:pt x="204338" y="102169"/>
                  </a:lnTo>
                  <a:lnTo>
                    <a:pt x="138257" y="138257"/>
                  </a:lnTo>
                  <a:lnTo>
                    <a:pt x="102169" y="204338"/>
                  </a:lnTo>
                  <a:lnTo>
                    <a:pt x="66080" y="138257"/>
                  </a:lnTo>
                  <a:lnTo>
                    <a:pt x="0" y="102169"/>
                  </a:lnTo>
                  <a:lnTo>
                    <a:pt x="66080" y="66081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94F8D03D-7B12-433F-9497-B6E4EA7E34CD}"/>
                </a:ext>
              </a:extLst>
            </p:cNvPr>
            <p:cNvSpPr/>
            <p:nvPr/>
          </p:nvSpPr>
          <p:spPr>
            <a:xfrm>
              <a:off x="4904354" y="207999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7 w 97536"/>
                <a:gd name="connsiteY1" fmla="*/ 31699 h 97535"/>
                <a:gd name="connsiteX2" fmla="*/ 97536 w 97536"/>
                <a:gd name="connsiteY2" fmla="*/ 48768 h 97535"/>
                <a:gd name="connsiteX3" fmla="*/ 65837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699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7" y="31699"/>
                  </a:lnTo>
                  <a:lnTo>
                    <a:pt x="97536" y="48768"/>
                  </a:lnTo>
                  <a:lnTo>
                    <a:pt x="65837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699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F28B539-DBDC-4BD5-89AF-27CA0D0C36AD}"/>
                </a:ext>
              </a:extLst>
            </p:cNvPr>
            <p:cNvSpPr/>
            <p:nvPr/>
          </p:nvSpPr>
          <p:spPr>
            <a:xfrm>
              <a:off x="8252765" y="-9164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6 w 97536"/>
                <a:gd name="connsiteY1" fmla="*/ 31455 h 97535"/>
                <a:gd name="connsiteX2" fmla="*/ 97536 w 97536"/>
                <a:gd name="connsiteY2" fmla="*/ 48768 h 97535"/>
                <a:gd name="connsiteX3" fmla="*/ 65836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6" y="31455"/>
                  </a:lnTo>
                  <a:lnTo>
                    <a:pt x="97536" y="48768"/>
                  </a:lnTo>
                  <a:lnTo>
                    <a:pt x="65836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455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90E6826-7FF2-42F0-B938-D9F0FE3F8F63}"/>
                </a:ext>
              </a:extLst>
            </p:cNvPr>
            <p:cNvSpPr/>
            <p:nvPr/>
          </p:nvSpPr>
          <p:spPr>
            <a:xfrm>
              <a:off x="4430817" y="559165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6080 w 97536"/>
                <a:gd name="connsiteY1" fmla="*/ 31455 h 97535"/>
                <a:gd name="connsiteX2" fmla="*/ 97536 w 97536"/>
                <a:gd name="connsiteY2" fmla="*/ 48768 h 97535"/>
                <a:gd name="connsiteX3" fmla="*/ 66080 w 97536"/>
                <a:gd name="connsiteY3" fmla="*/ 65837 h 97535"/>
                <a:gd name="connsiteX4" fmla="*/ 48768 w 97536"/>
                <a:gd name="connsiteY4" fmla="*/ 97536 h 97535"/>
                <a:gd name="connsiteX5" fmla="*/ 31699 w 97536"/>
                <a:gd name="connsiteY5" fmla="*/ 65837 h 97535"/>
                <a:gd name="connsiteX6" fmla="*/ 0 w 97536"/>
                <a:gd name="connsiteY6" fmla="*/ 48768 h 97535"/>
                <a:gd name="connsiteX7" fmla="*/ 31699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6080" y="31455"/>
                  </a:lnTo>
                  <a:lnTo>
                    <a:pt x="97536" y="48768"/>
                  </a:lnTo>
                  <a:lnTo>
                    <a:pt x="66080" y="65837"/>
                  </a:lnTo>
                  <a:lnTo>
                    <a:pt x="48768" y="97536"/>
                  </a:lnTo>
                  <a:lnTo>
                    <a:pt x="31699" y="65837"/>
                  </a:lnTo>
                  <a:lnTo>
                    <a:pt x="0" y="48768"/>
                  </a:lnTo>
                  <a:lnTo>
                    <a:pt x="31699" y="31455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74F0CF91-E4DF-49E9-9C4C-A886D7B959EA}"/>
                </a:ext>
              </a:extLst>
            </p:cNvPr>
            <p:cNvSpPr/>
            <p:nvPr/>
          </p:nvSpPr>
          <p:spPr>
            <a:xfrm>
              <a:off x="10607771" y="402132"/>
              <a:ext cx="195072" cy="195072"/>
            </a:xfrm>
            <a:custGeom>
              <a:avLst/>
              <a:gdLst>
                <a:gd name="connsiteX0" fmla="*/ 98755 w 195072"/>
                <a:gd name="connsiteY0" fmla="*/ 0 h 195071"/>
                <a:gd name="connsiteX1" fmla="*/ 133625 w 195072"/>
                <a:gd name="connsiteY1" fmla="*/ 63886 h 195071"/>
                <a:gd name="connsiteX2" fmla="*/ 197511 w 195072"/>
                <a:gd name="connsiteY2" fmla="*/ 98755 h 195071"/>
                <a:gd name="connsiteX3" fmla="*/ 133625 w 195072"/>
                <a:gd name="connsiteY3" fmla="*/ 133868 h 195071"/>
                <a:gd name="connsiteX4" fmla="*/ 98755 w 195072"/>
                <a:gd name="connsiteY4" fmla="*/ 197754 h 195071"/>
                <a:gd name="connsiteX5" fmla="*/ 63886 w 195072"/>
                <a:gd name="connsiteY5" fmla="*/ 133868 h 195071"/>
                <a:gd name="connsiteX6" fmla="*/ 0 w 195072"/>
                <a:gd name="connsiteY6" fmla="*/ 98755 h 195071"/>
                <a:gd name="connsiteX7" fmla="*/ 63886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755" y="0"/>
                  </a:moveTo>
                  <a:lnTo>
                    <a:pt x="133625" y="63886"/>
                  </a:lnTo>
                  <a:lnTo>
                    <a:pt x="197511" y="98755"/>
                  </a:lnTo>
                  <a:lnTo>
                    <a:pt x="133625" y="133868"/>
                  </a:lnTo>
                  <a:lnTo>
                    <a:pt x="98755" y="197754"/>
                  </a:lnTo>
                  <a:lnTo>
                    <a:pt x="63886" y="133868"/>
                  </a:lnTo>
                  <a:lnTo>
                    <a:pt x="0" y="98755"/>
                  </a:lnTo>
                  <a:lnTo>
                    <a:pt x="63886" y="63886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83F48F-DFCB-4F62-817C-DC39CB442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762" y="6453188"/>
            <a:ext cx="2743200" cy="268287"/>
          </a:xfrm>
        </p:spPr>
        <p:txBody>
          <a:bodyPr/>
          <a:lstStyle/>
          <a:p>
            <a:fld id="{E0BDCBD0-93B5-4B61-86F8-939F02C82BA8}" type="slidenum">
              <a:rPr lang="en-US" b="0" smtClean="0"/>
              <a:pPr/>
              <a:t>19</a:t>
            </a:fld>
            <a:endParaRPr lang="en-US" b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6DDCA62-0250-4BBC-9642-364177A6B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1148"/>
            <a:ext cx="12192000" cy="1768851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DEOUROKI.NET</a:t>
            </a: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E49967D6-5ACE-425B-802E-9CB2DDD8C28D}"/>
              </a:ext>
            </a:extLst>
          </p:cNvPr>
          <p:cNvGrpSpPr/>
          <p:nvPr/>
        </p:nvGrpSpPr>
        <p:grpSpPr>
          <a:xfrm rot="1328355">
            <a:off x="7542189" y="457667"/>
            <a:ext cx="227287" cy="227287"/>
            <a:chOff x="13389778" y="2334193"/>
            <a:chExt cx="351340" cy="351340"/>
          </a:xfrm>
        </p:grpSpPr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3F3D4A40-7EE3-4F55-8403-DE56E6D414B4}"/>
                </a:ext>
              </a:extLst>
            </p:cNvPr>
            <p:cNvSpPr/>
            <p:nvPr/>
          </p:nvSpPr>
          <p:spPr>
            <a:xfrm>
              <a:off x="13389778" y="2334193"/>
              <a:ext cx="351340" cy="351340"/>
            </a:xfrm>
            <a:custGeom>
              <a:avLst/>
              <a:gdLst>
                <a:gd name="connsiteX0" fmla="*/ 353529 w 351339"/>
                <a:gd name="connsiteY0" fmla="*/ 141219 h 351339"/>
                <a:gd name="connsiteX1" fmla="*/ 216339 w 351339"/>
                <a:gd name="connsiteY1" fmla="*/ 353529 h 351339"/>
                <a:gd name="connsiteX2" fmla="*/ 4030 w 351339"/>
                <a:gd name="connsiteY2" fmla="*/ 216339 h 351339"/>
                <a:gd name="connsiteX3" fmla="*/ 141219 w 351339"/>
                <a:gd name="connsiteY3" fmla="*/ 4030 h 351339"/>
                <a:gd name="connsiteX4" fmla="*/ 353529 w 351339"/>
                <a:gd name="connsiteY4" fmla="*/ 141219 h 351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339" h="351339">
                  <a:moveTo>
                    <a:pt x="353529" y="141219"/>
                  </a:moveTo>
                  <a:cubicBezTo>
                    <a:pt x="374275" y="237754"/>
                    <a:pt x="312874" y="332783"/>
                    <a:pt x="216339" y="353529"/>
                  </a:cubicBezTo>
                  <a:cubicBezTo>
                    <a:pt x="119804" y="374275"/>
                    <a:pt x="24775" y="312874"/>
                    <a:pt x="4030" y="216339"/>
                  </a:cubicBezTo>
                  <a:cubicBezTo>
                    <a:pt x="-16716" y="119804"/>
                    <a:pt x="44685" y="24775"/>
                    <a:pt x="141219" y="4030"/>
                  </a:cubicBezTo>
                  <a:cubicBezTo>
                    <a:pt x="237754" y="-16716"/>
                    <a:pt x="332783" y="44685"/>
                    <a:pt x="353529" y="141219"/>
                  </a:cubicBezTo>
                  <a:close/>
                </a:path>
              </a:pathLst>
            </a:custGeom>
            <a:solidFill>
              <a:srgbClr val="DB2828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F88D5018-2CD4-4C89-9DE0-421776886AC3}"/>
                </a:ext>
              </a:extLst>
            </p:cNvPr>
            <p:cNvSpPr/>
            <p:nvPr/>
          </p:nvSpPr>
          <p:spPr>
            <a:xfrm>
              <a:off x="13463556" y="2429170"/>
              <a:ext cx="200765" cy="184035"/>
            </a:xfrm>
            <a:custGeom>
              <a:avLst/>
              <a:gdLst>
                <a:gd name="connsiteX0" fmla="*/ 127002 w 200765"/>
                <a:gd name="connsiteY0" fmla="*/ 185607 h 184035"/>
                <a:gd name="connsiteX1" fmla="*/ 11896 w 200765"/>
                <a:gd name="connsiteY1" fmla="*/ 38379 h 184035"/>
                <a:gd name="connsiteX2" fmla="*/ 100233 w 200765"/>
                <a:gd name="connsiteY2" fmla="*/ 61132 h 184035"/>
                <a:gd name="connsiteX3" fmla="*/ 171505 w 200765"/>
                <a:gd name="connsiteY3" fmla="*/ 4081 h 184035"/>
                <a:gd name="connsiteX4" fmla="*/ 127002 w 200765"/>
                <a:gd name="connsiteY4" fmla="*/ 185607 h 18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65" h="184035">
                  <a:moveTo>
                    <a:pt x="127002" y="185607"/>
                  </a:moveTo>
                  <a:cubicBezTo>
                    <a:pt x="13569" y="162686"/>
                    <a:pt x="-21063" y="71840"/>
                    <a:pt x="11896" y="38379"/>
                  </a:cubicBezTo>
                  <a:cubicBezTo>
                    <a:pt x="56232" y="-6459"/>
                    <a:pt x="100233" y="61132"/>
                    <a:pt x="100233" y="61132"/>
                  </a:cubicBezTo>
                  <a:cubicBezTo>
                    <a:pt x="100233" y="61132"/>
                    <a:pt x="112613" y="-18672"/>
                    <a:pt x="171505" y="4081"/>
                  </a:cubicBezTo>
                  <a:cubicBezTo>
                    <a:pt x="215171" y="21146"/>
                    <a:pt x="221027" y="118016"/>
                    <a:pt x="127002" y="185607"/>
                  </a:cubicBezTo>
                  <a:close/>
                </a:path>
              </a:pathLst>
            </a:custGeom>
            <a:solidFill>
              <a:srgbClr val="FFFFFF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BED7EE3-0C5E-48B8-8440-449709D474F0}"/>
              </a:ext>
            </a:extLst>
          </p:cNvPr>
          <p:cNvSpPr txBox="1"/>
          <p:nvPr/>
        </p:nvSpPr>
        <p:spPr>
          <a:xfrm>
            <a:off x="367660" y="5538155"/>
            <a:ext cx="1136372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Здесь вы найдёте уроки, конспекты, тесты, презентации, планы, мероприятия и прочие полезные материалы для работы учителя, воспитателя и администрации. На сайте содержат тесты, которые помогут проверить знания учеников, и видеоуроки, наглядно объясняющие учебный материал, а электронные тетради помогут закрепить полученные знания на практике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4774830-5CBB-4AD1-8E00-A8CAF18D81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4643" y="1496079"/>
            <a:ext cx="9967956" cy="3807804"/>
          </a:xfrm>
          <a:prstGeom prst="rect">
            <a:avLst/>
          </a:prstGeom>
          <a:ln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1544096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8DB2642-A310-4790-9487-3F698E0943B6}"/>
              </a:ext>
            </a:extLst>
          </p:cNvPr>
          <p:cNvSpPr txBox="1"/>
          <p:nvPr/>
        </p:nvSpPr>
        <p:spPr>
          <a:xfrm>
            <a:off x="324578" y="2148929"/>
            <a:ext cx="364676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Какие уроки я вынесла из опыта дистанционной четверти и что возьму с собой из </a:t>
            </a:r>
            <a:r>
              <a:rPr lang="ru-RU" sz="24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дистанта</a:t>
            </a:r>
            <a:r>
              <a:rPr lang="ru-RU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 в традиционную школьную практику?</a:t>
            </a:r>
            <a:endParaRPr lang="en-US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0CEC13-53C9-4534-ADDC-85C8DFEC4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BDCBD0-93B5-4B61-86F8-939F02C82BA8}" type="slidenum">
              <a:rPr lang="en-US" b="0" smtClean="0"/>
              <a:pPr/>
              <a:t>2</a:t>
            </a:fld>
            <a:endParaRPr lang="en-US" b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0E00422-3CED-4150-BD21-9E5F456F64F4}"/>
              </a:ext>
            </a:extLst>
          </p:cNvPr>
          <p:cNvSpPr/>
          <p:nvPr/>
        </p:nvSpPr>
        <p:spPr>
          <a:xfrm>
            <a:off x="7513640" y="0"/>
            <a:ext cx="4678360" cy="6858000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DE75892-979D-4C74-BFF0-06CADBE92B3A}"/>
              </a:ext>
            </a:extLst>
          </p:cNvPr>
          <p:cNvSpPr/>
          <p:nvPr/>
        </p:nvSpPr>
        <p:spPr>
          <a:xfrm>
            <a:off x="4057651" y="1253332"/>
            <a:ext cx="3776662" cy="1533525"/>
          </a:xfrm>
          <a:prstGeom prst="roundRect">
            <a:avLst>
              <a:gd name="adj" fmla="val 6108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6731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D0E7A0B-CC8F-4D66-8C2D-57D4DC50944B}"/>
              </a:ext>
            </a:extLst>
          </p:cNvPr>
          <p:cNvSpPr/>
          <p:nvPr/>
        </p:nvSpPr>
        <p:spPr>
          <a:xfrm>
            <a:off x="4057651" y="3032522"/>
            <a:ext cx="3776662" cy="1533525"/>
          </a:xfrm>
          <a:prstGeom prst="roundRect">
            <a:avLst>
              <a:gd name="adj" fmla="val 6108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6731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EC48577-6A76-43DB-A181-5D7467C4E0BF}"/>
              </a:ext>
            </a:extLst>
          </p:cNvPr>
          <p:cNvSpPr/>
          <p:nvPr/>
        </p:nvSpPr>
        <p:spPr>
          <a:xfrm>
            <a:off x="4057651" y="4811713"/>
            <a:ext cx="3776662" cy="1533525"/>
          </a:xfrm>
          <a:prstGeom prst="roundRect">
            <a:avLst>
              <a:gd name="adj" fmla="val 6108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6731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9" name="Group 4">
            <a:extLst>
              <a:ext uri="{FF2B5EF4-FFF2-40B4-BE49-F238E27FC236}">
                <a16:creationId xmlns:a16="http://schemas.microsoft.com/office/drawing/2014/main" id="{DB549BC5-D32F-4F44-85E7-38BAB11C6D9C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7911298" y="1460851"/>
            <a:ext cx="4168270" cy="4599865"/>
            <a:chOff x="4986" y="883"/>
            <a:chExt cx="2608" cy="2878"/>
          </a:xfrm>
        </p:grpSpPr>
        <p:sp>
          <p:nvSpPr>
            <p:cNvPr id="30" name="AutoShape 3">
              <a:extLst>
                <a:ext uri="{FF2B5EF4-FFF2-40B4-BE49-F238E27FC236}">
                  <a16:creationId xmlns:a16="http://schemas.microsoft.com/office/drawing/2014/main" id="{00113031-355A-474C-9353-1DD6D68C459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006" y="888"/>
              <a:ext cx="2583" cy="2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F71D1648-A0B5-49CE-A26E-9015675A7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7" y="3195"/>
              <a:ext cx="1942" cy="564"/>
            </a:xfrm>
            <a:custGeom>
              <a:avLst/>
              <a:gdLst>
                <a:gd name="T0" fmla="*/ 596 w 1094"/>
                <a:gd name="T1" fmla="*/ 0 h 318"/>
                <a:gd name="T2" fmla="*/ 558 w 1094"/>
                <a:gd name="T3" fmla="*/ 54 h 318"/>
                <a:gd name="T4" fmla="*/ 101 w 1094"/>
                <a:gd name="T5" fmla="*/ 219 h 318"/>
                <a:gd name="T6" fmla="*/ 81 w 1094"/>
                <a:gd name="T7" fmla="*/ 223 h 318"/>
                <a:gd name="T8" fmla="*/ 77 w 1094"/>
                <a:gd name="T9" fmla="*/ 223 h 318"/>
                <a:gd name="T10" fmla="*/ 77 w 1094"/>
                <a:gd name="T11" fmla="*/ 223 h 318"/>
                <a:gd name="T12" fmla="*/ 68 w 1094"/>
                <a:gd name="T13" fmla="*/ 224 h 318"/>
                <a:gd name="T14" fmla="*/ 1 w 1094"/>
                <a:gd name="T15" fmla="*/ 221 h 318"/>
                <a:gd name="T16" fmla="*/ 0 w 1094"/>
                <a:gd name="T17" fmla="*/ 221 h 318"/>
                <a:gd name="T18" fmla="*/ 525 w 1094"/>
                <a:gd name="T19" fmla="*/ 318 h 318"/>
                <a:gd name="T20" fmla="*/ 1094 w 1094"/>
                <a:gd name="T21" fmla="*/ 159 h 318"/>
                <a:gd name="T22" fmla="*/ 596 w 1094"/>
                <a:gd name="T2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4" h="318">
                  <a:moveTo>
                    <a:pt x="596" y="0"/>
                  </a:moveTo>
                  <a:cubicBezTo>
                    <a:pt x="596" y="24"/>
                    <a:pt x="580" y="45"/>
                    <a:pt x="558" y="54"/>
                  </a:cubicBezTo>
                  <a:cubicBezTo>
                    <a:pt x="101" y="219"/>
                    <a:pt x="101" y="219"/>
                    <a:pt x="101" y="219"/>
                  </a:cubicBezTo>
                  <a:cubicBezTo>
                    <a:pt x="94" y="222"/>
                    <a:pt x="88" y="223"/>
                    <a:pt x="81" y="223"/>
                  </a:cubicBezTo>
                  <a:cubicBezTo>
                    <a:pt x="80" y="223"/>
                    <a:pt x="79" y="223"/>
                    <a:pt x="77" y="223"/>
                  </a:cubicBezTo>
                  <a:cubicBezTo>
                    <a:pt x="77" y="223"/>
                    <a:pt x="77" y="223"/>
                    <a:pt x="77" y="223"/>
                  </a:cubicBezTo>
                  <a:cubicBezTo>
                    <a:pt x="76" y="223"/>
                    <a:pt x="73" y="224"/>
                    <a:pt x="68" y="224"/>
                  </a:cubicBezTo>
                  <a:cubicBezTo>
                    <a:pt x="49" y="224"/>
                    <a:pt x="6" y="221"/>
                    <a:pt x="1" y="221"/>
                  </a:cubicBezTo>
                  <a:cubicBezTo>
                    <a:pt x="1" y="221"/>
                    <a:pt x="1" y="221"/>
                    <a:pt x="0" y="221"/>
                  </a:cubicBezTo>
                  <a:cubicBezTo>
                    <a:pt x="86" y="278"/>
                    <a:pt x="289" y="318"/>
                    <a:pt x="525" y="318"/>
                  </a:cubicBezTo>
                  <a:cubicBezTo>
                    <a:pt x="839" y="318"/>
                    <a:pt x="1094" y="247"/>
                    <a:pt x="1094" y="159"/>
                  </a:cubicBezTo>
                  <a:cubicBezTo>
                    <a:pt x="1094" y="77"/>
                    <a:pt x="877" y="10"/>
                    <a:pt x="596" y="0"/>
                  </a:cubicBezTo>
                </a:path>
              </a:pathLst>
            </a:custGeom>
            <a:gradFill>
              <a:gsLst>
                <a:gs pos="32000">
                  <a:srgbClr val="14223C">
                    <a:alpha val="0"/>
                  </a:srgbClr>
                </a:gs>
                <a:gs pos="100000">
                  <a:srgbClr val="14223C"/>
                </a:gs>
              </a:gsLst>
              <a:lin ang="1440000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3206D7BB-8BCD-43EE-802C-BF22B1BB4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9" y="883"/>
              <a:ext cx="1082" cy="2711"/>
            </a:xfrm>
            <a:custGeom>
              <a:avLst/>
              <a:gdLst>
                <a:gd name="T0" fmla="*/ 574 w 610"/>
                <a:gd name="T1" fmla="*/ 62 h 1529"/>
                <a:gd name="T2" fmla="*/ 574 w 610"/>
                <a:gd name="T3" fmla="*/ 1295 h 1529"/>
                <a:gd name="T4" fmla="*/ 535 w 610"/>
                <a:gd name="T5" fmla="*/ 1350 h 1529"/>
                <a:gd name="T6" fmla="*/ 121 w 610"/>
                <a:gd name="T7" fmla="*/ 1527 h 1529"/>
                <a:gd name="T8" fmla="*/ 45 w 610"/>
                <a:gd name="T9" fmla="*/ 1525 h 1529"/>
                <a:gd name="T10" fmla="*/ 0 w 610"/>
                <a:gd name="T11" fmla="*/ 1478 h 1529"/>
                <a:gd name="T12" fmla="*/ 0 w 610"/>
                <a:gd name="T13" fmla="*/ 225 h 1529"/>
                <a:gd name="T14" fmla="*/ 39 w 610"/>
                <a:gd name="T15" fmla="*/ 170 h 1529"/>
                <a:gd name="T16" fmla="*/ 495 w 610"/>
                <a:gd name="T17" fmla="*/ 7 h 1529"/>
                <a:gd name="T18" fmla="*/ 596 w 610"/>
                <a:gd name="T19" fmla="*/ 14 h 1529"/>
                <a:gd name="T20" fmla="*/ 574 w 610"/>
                <a:gd name="T21" fmla="*/ 62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0" h="1529">
                  <a:moveTo>
                    <a:pt x="574" y="62"/>
                  </a:moveTo>
                  <a:cubicBezTo>
                    <a:pt x="574" y="1295"/>
                    <a:pt x="574" y="1295"/>
                    <a:pt x="574" y="1295"/>
                  </a:cubicBezTo>
                  <a:cubicBezTo>
                    <a:pt x="574" y="1320"/>
                    <a:pt x="558" y="1342"/>
                    <a:pt x="535" y="1350"/>
                  </a:cubicBezTo>
                  <a:cubicBezTo>
                    <a:pt x="121" y="1527"/>
                    <a:pt x="121" y="1527"/>
                    <a:pt x="121" y="1527"/>
                  </a:cubicBezTo>
                  <a:cubicBezTo>
                    <a:pt x="115" y="1529"/>
                    <a:pt x="51" y="1525"/>
                    <a:pt x="45" y="1525"/>
                  </a:cubicBezTo>
                  <a:cubicBezTo>
                    <a:pt x="21" y="1524"/>
                    <a:pt x="0" y="1504"/>
                    <a:pt x="0" y="1478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00"/>
                    <a:pt x="15" y="178"/>
                    <a:pt x="39" y="170"/>
                  </a:cubicBezTo>
                  <a:cubicBezTo>
                    <a:pt x="495" y="7"/>
                    <a:pt x="495" y="7"/>
                    <a:pt x="495" y="7"/>
                  </a:cubicBezTo>
                  <a:cubicBezTo>
                    <a:pt x="514" y="0"/>
                    <a:pt x="581" y="4"/>
                    <a:pt x="596" y="14"/>
                  </a:cubicBezTo>
                  <a:cubicBezTo>
                    <a:pt x="610" y="25"/>
                    <a:pt x="574" y="42"/>
                    <a:pt x="574" y="62"/>
                  </a:cubicBezTo>
                </a:path>
              </a:pathLst>
            </a:custGeom>
            <a:solidFill>
              <a:srgbClr val="353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DC4499F1-E8C0-4D54-BC63-B2CF5952C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6" y="884"/>
              <a:ext cx="1019" cy="2724"/>
            </a:xfrm>
            <a:custGeom>
              <a:avLst/>
              <a:gdLst>
                <a:gd name="T0" fmla="*/ 574 w 574"/>
                <a:gd name="T1" fmla="*/ 69 h 1536"/>
                <a:gd name="T2" fmla="*/ 574 w 574"/>
                <a:gd name="T3" fmla="*/ 1302 h 1536"/>
                <a:gd name="T4" fmla="*/ 536 w 574"/>
                <a:gd name="T5" fmla="*/ 1357 h 1536"/>
                <a:gd name="T6" fmla="*/ 79 w 574"/>
                <a:gd name="T7" fmla="*/ 1522 h 1536"/>
                <a:gd name="T8" fmla="*/ 0 w 574"/>
                <a:gd name="T9" fmla="*/ 1467 h 1536"/>
                <a:gd name="T10" fmla="*/ 0 w 574"/>
                <a:gd name="T11" fmla="*/ 232 h 1536"/>
                <a:gd name="T12" fmla="*/ 39 w 574"/>
                <a:gd name="T13" fmla="*/ 176 h 1536"/>
                <a:gd name="T14" fmla="*/ 496 w 574"/>
                <a:gd name="T15" fmla="*/ 13 h 1536"/>
                <a:gd name="T16" fmla="*/ 574 w 574"/>
                <a:gd name="T17" fmla="*/ 69 h 1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4" h="1536">
                  <a:moveTo>
                    <a:pt x="574" y="69"/>
                  </a:moveTo>
                  <a:cubicBezTo>
                    <a:pt x="574" y="1302"/>
                    <a:pt x="574" y="1302"/>
                    <a:pt x="574" y="1302"/>
                  </a:cubicBezTo>
                  <a:cubicBezTo>
                    <a:pt x="574" y="1326"/>
                    <a:pt x="559" y="1348"/>
                    <a:pt x="536" y="1357"/>
                  </a:cubicBezTo>
                  <a:cubicBezTo>
                    <a:pt x="79" y="1522"/>
                    <a:pt x="79" y="1522"/>
                    <a:pt x="79" y="1522"/>
                  </a:cubicBezTo>
                  <a:cubicBezTo>
                    <a:pt x="41" y="1536"/>
                    <a:pt x="0" y="1508"/>
                    <a:pt x="0" y="1467"/>
                  </a:cubicBezTo>
                  <a:cubicBezTo>
                    <a:pt x="0" y="232"/>
                    <a:pt x="0" y="232"/>
                    <a:pt x="0" y="232"/>
                  </a:cubicBezTo>
                  <a:cubicBezTo>
                    <a:pt x="0" y="207"/>
                    <a:pt x="16" y="185"/>
                    <a:pt x="39" y="176"/>
                  </a:cubicBezTo>
                  <a:cubicBezTo>
                    <a:pt x="496" y="13"/>
                    <a:pt x="496" y="13"/>
                    <a:pt x="496" y="13"/>
                  </a:cubicBezTo>
                  <a:cubicBezTo>
                    <a:pt x="534" y="0"/>
                    <a:pt x="574" y="28"/>
                    <a:pt x="574" y="69"/>
                  </a:cubicBezTo>
                </a:path>
              </a:pathLst>
            </a:custGeom>
            <a:solidFill>
              <a:srgbClr val="4747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5E065451-E912-4B1D-B3BB-5A500E48F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" y="1074"/>
              <a:ext cx="916" cy="2254"/>
            </a:xfrm>
            <a:custGeom>
              <a:avLst/>
              <a:gdLst>
                <a:gd name="T0" fmla="*/ 516 w 516"/>
                <a:gd name="T1" fmla="*/ 38 h 1271"/>
                <a:gd name="T2" fmla="*/ 516 w 516"/>
                <a:gd name="T3" fmla="*/ 1085 h 1271"/>
                <a:gd name="T4" fmla="*/ 493 w 516"/>
                <a:gd name="T5" fmla="*/ 1116 h 1271"/>
                <a:gd name="T6" fmla="*/ 47 w 516"/>
                <a:gd name="T7" fmla="*/ 1264 h 1271"/>
                <a:gd name="T8" fmla="*/ 0 w 516"/>
                <a:gd name="T9" fmla="*/ 1233 h 1271"/>
                <a:gd name="T10" fmla="*/ 0 w 516"/>
                <a:gd name="T11" fmla="*/ 183 h 1271"/>
                <a:gd name="T12" fmla="*/ 3 w 516"/>
                <a:gd name="T13" fmla="*/ 170 h 1271"/>
                <a:gd name="T14" fmla="*/ 24 w 516"/>
                <a:gd name="T15" fmla="*/ 153 h 1271"/>
                <a:gd name="T16" fmla="*/ 126 w 516"/>
                <a:gd name="T17" fmla="*/ 120 h 1271"/>
                <a:gd name="T18" fmla="*/ 469 w 516"/>
                <a:gd name="T19" fmla="*/ 8 h 1271"/>
                <a:gd name="T20" fmla="*/ 516 w 516"/>
                <a:gd name="T21" fmla="*/ 38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6" h="1271">
                  <a:moveTo>
                    <a:pt x="516" y="38"/>
                  </a:moveTo>
                  <a:cubicBezTo>
                    <a:pt x="516" y="1085"/>
                    <a:pt x="516" y="1085"/>
                    <a:pt x="516" y="1085"/>
                  </a:cubicBezTo>
                  <a:cubicBezTo>
                    <a:pt x="516" y="1099"/>
                    <a:pt x="507" y="1111"/>
                    <a:pt x="493" y="1116"/>
                  </a:cubicBezTo>
                  <a:cubicBezTo>
                    <a:pt x="47" y="1264"/>
                    <a:pt x="47" y="1264"/>
                    <a:pt x="47" y="1264"/>
                  </a:cubicBezTo>
                  <a:cubicBezTo>
                    <a:pt x="24" y="1271"/>
                    <a:pt x="0" y="1256"/>
                    <a:pt x="0" y="1233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79"/>
                    <a:pt x="1" y="174"/>
                    <a:pt x="3" y="170"/>
                  </a:cubicBezTo>
                  <a:cubicBezTo>
                    <a:pt x="7" y="162"/>
                    <a:pt x="14" y="156"/>
                    <a:pt x="24" y="153"/>
                  </a:cubicBezTo>
                  <a:cubicBezTo>
                    <a:pt x="126" y="120"/>
                    <a:pt x="126" y="120"/>
                    <a:pt x="126" y="120"/>
                  </a:cubicBezTo>
                  <a:cubicBezTo>
                    <a:pt x="469" y="8"/>
                    <a:pt x="469" y="8"/>
                    <a:pt x="469" y="8"/>
                  </a:cubicBezTo>
                  <a:cubicBezTo>
                    <a:pt x="492" y="0"/>
                    <a:pt x="516" y="16"/>
                    <a:pt x="516" y="38"/>
                  </a:cubicBezTo>
                </a:path>
              </a:pathLst>
            </a:custGeom>
            <a:solidFill>
              <a:srgbClr val="8BA0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A76719CC-25AB-44D0-8B80-462D7DDD89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8" y="1085"/>
              <a:ext cx="911" cy="1640"/>
            </a:xfrm>
            <a:custGeom>
              <a:avLst/>
              <a:gdLst>
                <a:gd name="T0" fmla="*/ 513 w 513"/>
                <a:gd name="T1" fmla="*/ 789 h 925"/>
                <a:gd name="T2" fmla="*/ 428 w 513"/>
                <a:gd name="T3" fmla="*/ 874 h 925"/>
                <a:gd name="T4" fmla="*/ 392 w 513"/>
                <a:gd name="T5" fmla="*/ 881 h 925"/>
                <a:gd name="T6" fmla="*/ 513 w 513"/>
                <a:gd name="T7" fmla="*/ 925 h 925"/>
                <a:gd name="T8" fmla="*/ 513 w 513"/>
                <a:gd name="T9" fmla="*/ 789 h 925"/>
                <a:gd name="T10" fmla="*/ 351 w 513"/>
                <a:gd name="T11" fmla="*/ 608 h 925"/>
                <a:gd name="T12" fmla="*/ 335 w 513"/>
                <a:gd name="T13" fmla="*/ 609 h 925"/>
                <a:gd name="T14" fmla="*/ 254 w 513"/>
                <a:gd name="T15" fmla="*/ 667 h 925"/>
                <a:gd name="T16" fmla="*/ 200 w 513"/>
                <a:gd name="T17" fmla="*/ 695 h 925"/>
                <a:gd name="T18" fmla="*/ 257 w 513"/>
                <a:gd name="T19" fmla="*/ 769 h 925"/>
                <a:gd name="T20" fmla="*/ 263 w 513"/>
                <a:gd name="T21" fmla="*/ 739 h 925"/>
                <a:gd name="T22" fmla="*/ 263 w 513"/>
                <a:gd name="T23" fmla="*/ 738 h 925"/>
                <a:gd name="T24" fmla="*/ 263 w 513"/>
                <a:gd name="T25" fmla="*/ 738 h 925"/>
                <a:gd name="T26" fmla="*/ 391 w 513"/>
                <a:gd name="T27" fmla="*/ 643 h 925"/>
                <a:gd name="T28" fmla="*/ 390 w 513"/>
                <a:gd name="T29" fmla="*/ 609 h 925"/>
                <a:gd name="T30" fmla="*/ 371 w 513"/>
                <a:gd name="T31" fmla="*/ 608 h 925"/>
                <a:gd name="T32" fmla="*/ 351 w 513"/>
                <a:gd name="T33" fmla="*/ 608 h 925"/>
                <a:gd name="T34" fmla="*/ 86 w 513"/>
                <a:gd name="T35" fmla="*/ 480 h 925"/>
                <a:gd name="T36" fmla="*/ 136 w 513"/>
                <a:gd name="T37" fmla="*/ 589 h 925"/>
                <a:gd name="T38" fmla="*/ 154 w 513"/>
                <a:gd name="T39" fmla="*/ 513 h 925"/>
                <a:gd name="T40" fmla="*/ 86 w 513"/>
                <a:gd name="T41" fmla="*/ 480 h 925"/>
                <a:gd name="T42" fmla="*/ 478 w 513"/>
                <a:gd name="T43" fmla="*/ 0 h 925"/>
                <a:gd name="T44" fmla="*/ 466 w 513"/>
                <a:gd name="T45" fmla="*/ 2 h 925"/>
                <a:gd name="T46" fmla="*/ 123 w 513"/>
                <a:gd name="T47" fmla="*/ 114 h 925"/>
                <a:gd name="T48" fmla="*/ 21 w 513"/>
                <a:gd name="T49" fmla="*/ 147 h 925"/>
                <a:gd name="T50" fmla="*/ 0 w 513"/>
                <a:gd name="T51" fmla="*/ 164 h 925"/>
                <a:gd name="T52" fmla="*/ 16 w 513"/>
                <a:gd name="T53" fmla="*/ 256 h 925"/>
                <a:gd name="T54" fmla="*/ 32 w 513"/>
                <a:gd name="T55" fmla="*/ 236 h 925"/>
                <a:gd name="T56" fmla="*/ 223 w 513"/>
                <a:gd name="T57" fmla="*/ 167 h 925"/>
                <a:gd name="T58" fmla="*/ 233 w 513"/>
                <a:gd name="T59" fmla="*/ 167 h 925"/>
                <a:gd name="T60" fmla="*/ 243 w 513"/>
                <a:gd name="T61" fmla="*/ 167 h 925"/>
                <a:gd name="T62" fmla="*/ 288 w 513"/>
                <a:gd name="T63" fmla="*/ 164 h 925"/>
                <a:gd name="T64" fmla="*/ 437 w 513"/>
                <a:gd name="T65" fmla="*/ 83 h 925"/>
                <a:gd name="T66" fmla="*/ 437 w 513"/>
                <a:gd name="T67" fmla="*/ 83 h 925"/>
                <a:gd name="T68" fmla="*/ 437 w 513"/>
                <a:gd name="T69" fmla="*/ 83 h 925"/>
                <a:gd name="T70" fmla="*/ 440 w 513"/>
                <a:gd name="T71" fmla="*/ 83 h 925"/>
                <a:gd name="T72" fmla="*/ 446 w 513"/>
                <a:gd name="T73" fmla="*/ 81 h 925"/>
                <a:gd name="T74" fmla="*/ 482 w 513"/>
                <a:gd name="T75" fmla="*/ 77 h 925"/>
                <a:gd name="T76" fmla="*/ 513 w 513"/>
                <a:gd name="T77" fmla="*/ 81 h 925"/>
                <a:gd name="T78" fmla="*/ 513 w 513"/>
                <a:gd name="T79" fmla="*/ 32 h 925"/>
                <a:gd name="T80" fmla="*/ 478 w 513"/>
                <a:gd name="T81" fmla="*/ 0 h 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3" h="925">
                  <a:moveTo>
                    <a:pt x="513" y="789"/>
                  </a:moveTo>
                  <a:cubicBezTo>
                    <a:pt x="471" y="835"/>
                    <a:pt x="428" y="874"/>
                    <a:pt x="428" y="874"/>
                  </a:cubicBezTo>
                  <a:cubicBezTo>
                    <a:pt x="428" y="874"/>
                    <a:pt x="414" y="878"/>
                    <a:pt x="392" y="881"/>
                  </a:cubicBezTo>
                  <a:cubicBezTo>
                    <a:pt x="430" y="902"/>
                    <a:pt x="470" y="917"/>
                    <a:pt x="513" y="925"/>
                  </a:cubicBezTo>
                  <a:cubicBezTo>
                    <a:pt x="513" y="789"/>
                    <a:pt x="513" y="789"/>
                    <a:pt x="513" y="789"/>
                  </a:cubicBezTo>
                  <a:moveTo>
                    <a:pt x="351" y="608"/>
                  </a:moveTo>
                  <a:cubicBezTo>
                    <a:pt x="345" y="608"/>
                    <a:pt x="339" y="608"/>
                    <a:pt x="335" y="609"/>
                  </a:cubicBezTo>
                  <a:cubicBezTo>
                    <a:pt x="316" y="613"/>
                    <a:pt x="287" y="643"/>
                    <a:pt x="254" y="667"/>
                  </a:cubicBezTo>
                  <a:cubicBezTo>
                    <a:pt x="237" y="680"/>
                    <a:pt x="219" y="690"/>
                    <a:pt x="200" y="695"/>
                  </a:cubicBezTo>
                  <a:cubicBezTo>
                    <a:pt x="218" y="721"/>
                    <a:pt x="237" y="746"/>
                    <a:pt x="257" y="769"/>
                  </a:cubicBezTo>
                  <a:cubicBezTo>
                    <a:pt x="259" y="752"/>
                    <a:pt x="263" y="740"/>
                    <a:pt x="263" y="739"/>
                  </a:cubicBezTo>
                  <a:cubicBezTo>
                    <a:pt x="263" y="738"/>
                    <a:pt x="263" y="738"/>
                    <a:pt x="263" y="738"/>
                  </a:cubicBezTo>
                  <a:cubicBezTo>
                    <a:pt x="263" y="738"/>
                    <a:pt x="263" y="738"/>
                    <a:pt x="263" y="738"/>
                  </a:cubicBezTo>
                  <a:cubicBezTo>
                    <a:pt x="323" y="736"/>
                    <a:pt x="391" y="643"/>
                    <a:pt x="391" y="643"/>
                  </a:cubicBezTo>
                  <a:cubicBezTo>
                    <a:pt x="391" y="643"/>
                    <a:pt x="390" y="627"/>
                    <a:pt x="390" y="609"/>
                  </a:cubicBezTo>
                  <a:cubicBezTo>
                    <a:pt x="383" y="609"/>
                    <a:pt x="377" y="608"/>
                    <a:pt x="371" y="608"/>
                  </a:cubicBezTo>
                  <a:cubicBezTo>
                    <a:pt x="364" y="608"/>
                    <a:pt x="357" y="608"/>
                    <a:pt x="351" y="608"/>
                  </a:cubicBezTo>
                  <a:moveTo>
                    <a:pt x="86" y="480"/>
                  </a:moveTo>
                  <a:cubicBezTo>
                    <a:pt x="101" y="516"/>
                    <a:pt x="118" y="553"/>
                    <a:pt x="136" y="589"/>
                  </a:cubicBezTo>
                  <a:cubicBezTo>
                    <a:pt x="148" y="559"/>
                    <a:pt x="162" y="530"/>
                    <a:pt x="154" y="513"/>
                  </a:cubicBezTo>
                  <a:cubicBezTo>
                    <a:pt x="145" y="493"/>
                    <a:pt x="116" y="488"/>
                    <a:pt x="86" y="480"/>
                  </a:cubicBezTo>
                  <a:moveTo>
                    <a:pt x="478" y="0"/>
                  </a:moveTo>
                  <a:cubicBezTo>
                    <a:pt x="474" y="0"/>
                    <a:pt x="470" y="0"/>
                    <a:pt x="466" y="2"/>
                  </a:cubicBezTo>
                  <a:cubicBezTo>
                    <a:pt x="123" y="114"/>
                    <a:pt x="123" y="114"/>
                    <a:pt x="123" y="114"/>
                  </a:cubicBezTo>
                  <a:cubicBezTo>
                    <a:pt x="21" y="147"/>
                    <a:pt x="21" y="147"/>
                    <a:pt x="21" y="147"/>
                  </a:cubicBezTo>
                  <a:cubicBezTo>
                    <a:pt x="11" y="150"/>
                    <a:pt x="4" y="156"/>
                    <a:pt x="0" y="164"/>
                  </a:cubicBezTo>
                  <a:cubicBezTo>
                    <a:pt x="3" y="190"/>
                    <a:pt x="9" y="221"/>
                    <a:pt x="16" y="256"/>
                  </a:cubicBezTo>
                  <a:cubicBezTo>
                    <a:pt x="21" y="249"/>
                    <a:pt x="26" y="242"/>
                    <a:pt x="32" y="236"/>
                  </a:cubicBezTo>
                  <a:cubicBezTo>
                    <a:pt x="90" y="171"/>
                    <a:pt x="164" y="167"/>
                    <a:pt x="223" y="167"/>
                  </a:cubicBezTo>
                  <a:cubicBezTo>
                    <a:pt x="226" y="167"/>
                    <a:pt x="230" y="167"/>
                    <a:pt x="233" y="167"/>
                  </a:cubicBezTo>
                  <a:cubicBezTo>
                    <a:pt x="236" y="167"/>
                    <a:pt x="240" y="167"/>
                    <a:pt x="243" y="167"/>
                  </a:cubicBezTo>
                  <a:cubicBezTo>
                    <a:pt x="260" y="167"/>
                    <a:pt x="276" y="167"/>
                    <a:pt x="288" y="164"/>
                  </a:cubicBezTo>
                  <a:cubicBezTo>
                    <a:pt x="344" y="153"/>
                    <a:pt x="344" y="106"/>
                    <a:pt x="437" y="83"/>
                  </a:cubicBezTo>
                  <a:cubicBezTo>
                    <a:pt x="437" y="83"/>
                    <a:pt x="437" y="83"/>
                    <a:pt x="437" y="83"/>
                  </a:cubicBezTo>
                  <a:cubicBezTo>
                    <a:pt x="437" y="83"/>
                    <a:pt x="437" y="83"/>
                    <a:pt x="437" y="83"/>
                  </a:cubicBezTo>
                  <a:cubicBezTo>
                    <a:pt x="438" y="83"/>
                    <a:pt x="439" y="83"/>
                    <a:pt x="440" y="83"/>
                  </a:cubicBezTo>
                  <a:cubicBezTo>
                    <a:pt x="442" y="82"/>
                    <a:pt x="444" y="82"/>
                    <a:pt x="446" y="81"/>
                  </a:cubicBezTo>
                  <a:cubicBezTo>
                    <a:pt x="458" y="79"/>
                    <a:pt x="470" y="77"/>
                    <a:pt x="482" y="77"/>
                  </a:cubicBezTo>
                  <a:cubicBezTo>
                    <a:pt x="493" y="77"/>
                    <a:pt x="503" y="79"/>
                    <a:pt x="513" y="81"/>
                  </a:cubicBezTo>
                  <a:cubicBezTo>
                    <a:pt x="513" y="32"/>
                    <a:pt x="513" y="32"/>
                    <a:pt x="513" y="32"/>
                  </a:cubicBezTo>
                  <a:cubicBezTo>
                    <a:pt x="513" y="14"/>
                    <a:pt x="496" y="0"/>
                    <a:pt x="478" y="0"/>
                  </a:cubicBezTo>
                </a:path>
              </a:pathLst>
            </a:custGeom>
            <a:solidFill>
              <a:srgbClr val="779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5A16949D-0C04-4F91-BB59-2A2238130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9" y="3188"/>
              <a:ext cx="295" cy="220"/>
            </a:xfrm>
            <a:custGeom>
              <a:avLst/>
              <a:gdLst>
                <a:gd name="T0" fmla="*/ 0 w 166"/>
                <a:gd name="T1" fmla="*/ 64 h 124"/>
                <a:gd name="T2" fmla="*/ 0 w 166"/>
                <a:gd name="T3" fmla="*/ 103 h 124"/>
                <a:gd name="T4" fmla="*/ 23 w 166"/>
                <a:gd name="T5" fmla="*/ 120 h 124"/>
                <a:gd name="T6" fmla="*/ 155 w 166"/>
                <a:gd name="T7" fmla="*/ 71 h 124"/>
                <a:gd name="T8" fmla="*/ 166 w 166"/>
                <a:gd name="T9" fmla="*/ 55 h 124"/>
                <a:gd name="T10" fmla="*/ 166 w 166"/>
                <a:gd name="T11" fmla="*/ 20 h 124"/>
                <a:gd name="T12" fmla="*/ 144 w 166"/>
                <a:gd name="T13" fmla="*/ 4 h 124"/>
                <a:gd name="T14" fmla="*/ 12 w 166"/>
                <a:gd name="T15" fmla="*/ 48 h 124"/>
                <a:gd name="T16" fmla="*/ 0 w 166"/>
                <a:gd name="T17" fmla="*/ 6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6" h="124">
                  <a:moveTo>
                    <a:pt x="0" y="64"/>
                  </a:moveTo>
                  <a:cubicBezTo>
                    <a:pt x="0" y="103"/>
                    <a:pt x="0" y="103"/>
                    <a:pt x="0" y="103"/>
                  </a:cubicBezTo>
                  <a:cubicBezTo>
                    <a:pt x="0" y="115"/>
                    <a:pt x="12" y="124"/>
                    <a:pt x="23" y="120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2" y="69"/>
                    <a:pt x="166" y="62"/>
                    <a:pt x="166" y="55"/>
                  </a:cubicBezTo>
                  <a:cubicBezTo>
                    <a:pt x="166" y="20"/>
                    <a:pt x="166" y="20"/>
                    <a:pt x="166" y="20"/>
                  </a:cubicBezTo>
                  <a:cubicBezTo>
                    <a:pt x="166" y="8"/>
                    <a:pt x="155" y="0"/>
                    <a:pt x="144" y="4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5" y="50"/>
                    <a:pt x="0" y="57"/>
                    <a:pt x="0" y="64"/>
                  </a:cubicBezTo>
                  <a:close/>
                </a:path>
              </a:pathLst>
            </a:custGeom>
            <a:solidFill>
              <a:srgbClr val="353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DBC0A02F-2B3E-40AA-AAD9-188EC7836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7" y="1055"/>
              <a:ext cx="349" cy="154"/>
            </a:xfrm>
            <a:custGeom>
              <a:avLst/>
              <a:gdLst>
                <a:gd name="T0" fmla="*/ 15 w 197"/>
                <a:gd name="T1" fmla="*/ 85 h 87"/>
                <a:gd name="T2" fmla="*/ 189 w 197"/>
                <a:gd name="T3" fmla="*/ 25 h 87"/>
                <a:gd name="T4" fmla="*/ 196 w 197"/>
                <a:gd name="T5" fmla="*/ 14 h 87"/>
                <a:gd name="T6" fmla="*/ 181 w 197"/>
                <a:gd name="T7" fmla="*/ 3 h 87"/>
                <a:gd name="T8" fmla="*/ 8 w 197"/>
                <a:gd name="T9" fmla="*/ 60 h 87"/>
                <a:gd name="T10" fmla="*/ 0 w 197"/>
                <a:gd name="T11" fmla="*/ 72 h 87"/>
                <a:gd name="T12" fmla="*/ 0 w 197"/>
                <a:gd name="T13" fmla="*/ 74 h 87"/>
                <a:gd name="T14" fmla="*/ 15 w 197"/>
                <a:gd name="T15" fmla="*/ 8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" h="87">
                  <a:moveTo>
                    <a:pt x="15" y="85"/>
                  </a:moveTo>
                  <a:cubicBezTo>
                    <a:pt x="189" y="25"/>
                    <a:pt x="189" y="25"/>
                    <a:pt x="189" y="25"/>
                  </a:cubicBezTo>
                  <a:cubicBezTo>
                    <a:pt x="193" y="23"/>
                    <a:pt x="197" y="19"/>
                    <a:pt x="196" y="14"/>
                  </a:cubicBezTo>
                  <a:cubicBezTo>
                    <a:pt x="196" y="6"/>
                    <a:pt x="188" y="0"/>
                    <a:pt x="181" y="3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3" y="62"/>
                    <a:pt x="0" y="67"/>
                    <a:pt x="0" y="72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82"/>
                    <a:pt x="8" y="87"/>
                    <a:pt x="15" y="85"/>
                  </a:cubicBezTo>
                  <a:close/>
                </a:path>
              </a:pathLst>
            </a:custGeom>
            <a:solidFill>
              <a:srgbClr val="353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DE6B9A74-B0CA-4C94-9D07-7C1F9003B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6" y="1615"/>
              <a:ext cx="416" cy="183"/>
            </a:xfrm>
            <a:custGeom>
              <a:avLst/>
              <a:gdLst>
                <a:gd name="T0" fmla="*/ 223 w 234"/>
                <a:gd name="T1" fmla="*/ 10 h 103"/>
                <a:gd name="T2" fmla="*/ 188 w 234"/>
                <a:gd name="T3" fmla="*/ 9 h 103"/>
                <a:gd name="T4" fmla="*/ 160 w 234"/>
                <a:gd name="T5" fmla="*/ 2 h 103"/>
                <a:gd name="T6" fmla="*/ 124 w 234"/>
                <a:gd name="T7" fmla="*/ 43 h 103"/>
                <a:gd name="T8" fmla="*/ 110 w 234"/>
                <a:gd name="T9" fmla="*/ 57 h 103"/>
                <a:gd name="T10" fmla="*/ 84 w 234"/>
                <a:gd name="T11" fmla="*/ 50 h 103"/>
                <a:gd name="T12" fmla="*/ 50 w 234"/>
                <a:gd name="T13" fmla="*/ 45 h 103"/>
                <a:gd name="T14" fmla="*/ 26 w 234"/>
                <a:gd name="T15" fmla="*/ 63 h 103"/>
                <a:gd name="T16" fmla="*/ 7 w 234"/>
                <a:gd name="T17" fmla="*/ 91 h 103"/>
                <a:gd name="T18" fmla="*/ 10 w 234"/>
                <a:gd name="T19" fmla="*/ 101 h 103"/>
                <a:gd name="T20" fmla="*/ 29 w 234"/>
                <a:gd name="T21" fmla="*/ 84 h 103"/>
                <a:gd name="T22" fmla="*/ 53 w 234"/>
                <a:gd name="T23" fmla="*/ 55 h 103"/>
                <a:gd name="T24" fmla="*/ 94 w 234"/>
                <a:gd name="T25" fmla="*/ 66 h 103"/>
                <a:gd name="T26" fmla="*/ 123 w 234"/>
                <a:gd name="T27" fmla="*/ 60 h 103"/>
                <a:gd name="T28" fmla="*/ 164 w 234"/>
                <a:gd name="T29" fmla="*/ 12 h 103"/>
                <a:gd name="T30" fmla="*/ 196 w 234"/>
                <a:gd name="T31" fmla="*/ 24 h 103"/>
                <a:gd name="T32" fmla="*/ 228 w 234"/>
                <a:gd name="T33" fmla="*/ 19 h 103"/>
                <a:gd name="T34" fmla="*/ 223 w 234"/>
                <a:gd name="T35" fmla="*/ 1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4" h="103">
                  <a:moveTo>
                    <a:pt x="223" y="10"/>
                  </a:moveTo>
                  <a:cubicBezTo>
                    <a:pt x="210" y="19"/>
                    <a:pt x="201" y="16"/>
                    <a:pt x="188" y="9"/>
                  </a:cubicBezTo>
                  <a:cubicBezTo>
                    <a:pt x="180" y="4"/>
                    <a:pt x="170" y="0"/>
                    <a:pt x="160" y="2"/>
                  </a:cubicBezTo>
                  <a:cubicBezTo>
                    <a:pt x="137" y="5"/>
                    <a:pt x="134" y="25"/>
                    <a:pt x="124" y="43"/>
                  </a:cubicBezTo>
                  <a:cubicBezTo>
                    <a:pt x="121" y="49"/>
                    <a:pt x="115" y="53"/>
                    <a:pt x="110" y="57"/>
                  </a:cubicBezTo>
                  <a:cubicBezTo>
                    <a:pt x="101" y="62"/>
                    <a:pt x="91" y="54"/>
                    <a:pt x="84" y="50"/>
                  </a:cubicBezTo>
                  <a:cubicBezTo>
                    <a:pt x="73" y="45"/>
                    <a:pt x="62" y="43"/>
                    <a:pt x="50" y="45"/>
                  </a:cubicBezTo>
                  <a:cubicBezTo>
                    <a:pt x="39" y="47"/>
                    <a:pt x="31" y="55"/>
                    <a:pt x="26" y="63"/>
                  </a:cubicBezTo>
                  <a:cubicBezTo>
                    <a:pt x="19" y="74"/>
                    <a:pt x="22" y="88"/>
                    <a:pt x="7" y="91"/>
                  </a:cubicBezTo>
                  <a:cubicBezTo>
                    <a:pt x="0" y="93"/>
                    <a:pt x="3" y="103"/>
                    <a:pt x="10" y="101"/>
                  </a:cubicBezTo>
                  <a:cubicBezTo>
                    <a:pt x="19" y="99"/>
                    <a:pt x="26" y="94"/>
                    <a:pt x="29" y="84"/>
                  </a:cubicBezTo>
                  <a:cubicBezTo>
                    <a:pt x="34" y="71"/>
                    <a:pt x="37" y="59"/>
                    <a:pt x="53" y="55"/>
                  </a:cubicBezTo>
                  <a:cubicBezTo>
                    <a:pt x="68" y="50"/>
                    <a:pt x="80" y="62"/>
                    <a:pt x="94" y="66"/>
                  </a:cubicBezTo>
                  <a:cubicBezTo>
                    <a:pt x="105" y="71"/>
                    <a:pt x="114" y="67"/>
                    <a:pt x="123" y="60"/>
                  </a:cubicBezTo>
                  <a:cubicBezTo>
                    <a:pt x="139" y="46"/>
                    <a:pt x="139" y="13"/>
                    <a:pt x="164" y="12"/>
                  </a:cubicBezTo>
                  <a:cubicBezTo>
                    <a:pt x="176" y="11"/>
                    <a:pt x="186" y="20"/>
                    <a:pt x="196" y="24"/>
                  </a:cubicBezTo>
                  <a:cubicBezTo>
                    <a:pt x="208" y="28"/>
                    <a:pt x="218" y="26"/>
                    <a:pt x="228" y="19"/>
                  </a:cubicBezTo>
                  <a:cubicBezTo>
                    <a:pt x="234" y="15"/>
                    <a:pt x="229" y="6"/>
                    <a:pt x="223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4F9E1C55-AD82-4E03-A536-90C98B989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" y="2019"/>
              <a:ext cx="437" cy="112"/>
            </a:xfrm>
            <a:custGeom>
              <a:avLst/>
              <a:gdLst>
                <a:gd name="T0" fmla="*/ 8 w 246"/>
                <a:gd name="T1" fmla="*/ 11 h 63"/>
                <a:gd name="T2" fmla="*/ 38 w 246"/>
                <a:gd name="T3" fmla="*/ 28 h 63"/>
                <a:gd name="T4" fmla="*/ 60 w 246"/>
                <a:gd name="T5" fmla="*/ 48 h 63"/>
                <a:gd name="T6" fmla="*/ 111 w 246"/>
                <a:gd name="T7" fmla="*/ 28 h 63"/>
                <a:gd name="T8" fmla="*/ 130 w 246"/>
                <a:gd name="T9" fmla="*/ 22 h 63"/>
                <a:gd name="T10" fmla="*/ 150 w 246"/>
                <a:gd name="T11" fmla="*/ 40 h 63"/>
                <a:gd name="T12" fmla="*/ 178 w 246"/>
                <a:gd name="T13" fmla="*/ 60 h 63"/>
                <a:gd name="T14" fmla="*/ 208 w 246"/>
                <a:gd name="T15" fmla="*/ 55 h 63"/>
                <a:gd name="T16" fmla="*/ 237 w 246"/>
                <a:gd name="T17" fmla="*/ 39 h 63"/>
                <a:gd name="T18" fmla="*/ 239 w 246"/>
                <a:gd name="T19" fmla="*/ 29 h 63"/>
                <a:gd name="T20" fmla="*/ 214 w 246"/>
                <a:gd name="T21" fmla="*/ 35 h 63"/>
                <a:gd name="T22" fmla="*/ 180 w 246"/>
                <a:gd name="T23" fmla="*/ 50 h 63"/>
                <a:gd name="T24" fmla="*/ 148 w 246"/>
                <a:gd name="T25" fmla="*/ 21 h 63"/>
                <a:gd name="T26" fmla="*/ 119 w 246"/>
                <a:gd name="T27" fmla="*/ 13 h 63"/>
                <a:gd name="T28" fmla="*/ 61 w 246"/>
                <a:gd name="T29" fmla="*/ 37 h 63"/>
                <a:gd name="T30" fmla="*/ 39 w 246"/>
                <a:gd name="T31" fmla="*/ 12 h 63"/>
                <a:gd name="T32" fmla="*/ 7 w 246"/>
                <a:gd name="T33" fmla="*/ 1 h 63"/>
                <a:gd name="T34" fmla="*/ 8 w 246"/>
                <a:gd name="T35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6" h="63">
                  <a:moveTo>
                    <a:pt x="8" y="11"/>
                  </a:moveTo>
                  <a:cubicBezTo>
                    <a:pt x="23" y="10"/>
                    <a:pt x="30" y="16"/>
                    <a:pt x="38" y="28"/>
                  </a:cubicBezTo>
                  <a:cubicBezTo>
                    <a:pt x="44" y="36"/>
                    <a:pt x="50" y="45"/>
                    <a:pt x="60" y="48"/>
                  </a:cubicBezTo>
                  <a:cubicBezTo>
                    <a:pt x="82" y="55"/>
                    <a:pt x="94" y="39"/>
                    <a:pt x="111" y="28"/>
                  </a:cubicBezTo>
                  <a:cubicBezTo>
                    <a:pt x="116" y="24"/>
                    <a:pt x="123" y="23"/>
                    <a:pt x="130" y="22"/>
                  </a:cubicBezTo>
                  <a:cubicBezTo>
                    <a:pt x="139" y="22"/>
                    <a:pt x="145" y="33"/>
                    <a:pt x="150" y="40"/>
                  </a:cubicBezTo>
                  <a:cubicBezTo>
                    <a:pt x="157" y="50"/>
                    <a:pt x="166" y="57"/>
                    <a:pt x="178" y="60"/>
                  </a:cubicBezTo>
                  <a:cubicBezTo>
                    <a:pt x="188" y="63"/>
                    <a:pt x="199" y="60"/>
                    <a:pt x="208" y="55"/>
                  </a:cubicBezTo>
                  <a:cubicBezTo>
                    <a:pt x="218" y="48"/>
                    <a:pt x="222" y="35"/>
                    <a:pt x="237" y="39"/>
                  </a:cubicBezTo>
                  <a:cubicBezTo>
                    <a:pt x="243" y="41"/>
                    <a:pt x="246" y="31"/>
                    <a:pt x="239" y="29"/>
                  </a:cubicBezTo>
                  <a:cubicBezTo>
                    <a:pt x="230" y="26"/>
                    <a:pt x="221" y="28"/>
                    <a:pt x="214" y="35"/>
                  </a:cubicBezTo>
                  <a:cubicBezTo>
                    <a:pt x="203" y="44"/>
                    <a:pt x="196" y="53"/>
                    <a:pt x="180" y="50"/>
                  </a:cubicBezTo>
                  <a:cubicBezTo>
                    <a:pt x="164" y="47"/>
                    <a:pt x="158" y="31"/>
                    <a:pt x="148" y="21"/>
                  </a:cubicBezTo>
                  <a:cubicBezTo>
                    <a:pt x="140" y="12"/>
                    <a:pt x="130" y="11"/>
                    <a:pt x="119" y="13"/>
                  </a:cubicBezTo>
                  <a:cubicBezTo>
                    <a:pt x="98" y="18"/>
                    <a:pt x="84" y="47"/>
                    <a:pt x="61" y="37"/>
                  </a:cubicBezTo>
                  <a:cubicBezTo>
                    <a:pt x="50" y="32"/>
                    <a:pt x="46" y="20"/>
                    <a:pt x="39" y="12"/>
                  </a:cubicBezTo>
                  <a:cubicBezTo>
                    <a:pt x="30" y="2"/>
                    <a:pt x="20" y="0"/>
                    <a:pt x="7" y="1"/>
                  </a:cubicBezTo>
                  <a:cubicBezTo>
                    <a:pt x="0" y="2"/>
                    <a:pt x="1" y="12"/>
                    <a:pt x="8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8FE60F00-D03D-479B-8E3F-5282C1423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1842"/>
              <a:ext cx="438" cy="87"/>
            </a:xfrm>
            <a:custGeom>
              <a:avLst/>
              <a:gdLst>
                <a:gd name="T0" fmla="*/ 239 w 247"/>
                <a:gd name="T1" fmla="*/ 35 h 49"/>
                <a:gd name="T2" fmla="*/ 206 w 247"/>
                <a:gd name="T3" fmla="*/ 21 h 49"/>
                <a:gd name="T4" fmla="*/ 183 w 247"/>
                <a:gd name="T5" fmla="*/ 4 h 49"/>
                <a:gd name="T6" fmla="*/ 134 w 247"/>
                <a:gd name="T7" fmla="*/ 29 h 49"/>
                <a:gd name="T8" fmla="*/ 116 w 247"/>
                <a:gd name="T9" fmla="*/ 37 h 49"/>
                <a:gd name="T10" fmla="*/ 94 w 247"/>
                <a:gd name="T11" fmla="*/ 22 h 49"/>
                <a:gd name="T12" fmla="*/ 64 w 247"/>
                <a:gd name="T13" fmla="*/ 5 h 49"/>
                <a:gd name="T14" fmla="*/ 35 w 247"/>
                <a:gd name="T15" fmla="*/ 13 h 49"/>
                <a:gd name="T16" fmla="*/ 7 w 247"/>
                <a:gd name="T17" fmla="*/ 32 h 49"/>
                <a:gd name="T18" fmla="*/ 6 w 247"/>
                <a:gd name="T19" fmla="*/ 43 h 49"/>
                <a:gd name="T20" fmla="*/ 31 w 247"/>
                <a:gd name="T21" fmla="*/ 34 h 49"/>
                <a:gd name="T22" fmla="*/ 63 w 247"/>
                <a:gd name="T23" fmla="*/ 15 h 49"/>
                <a:gd name="T24" fmla="*/ 97 w 247"/>
                <a:gd name="T25" fmla="*/ 41 h 49"/>
                <a:gd name="T26" fmla="*/ 127 w 247"/>
                <a:gd name="T27" fmla="*/ 45 h 49"/>
                <a:gd name="T28" fmla="*/ 183 w 247"/>
                <a:gd name="T29" fmla="*/ 15 h 49"/>
                <a:gd name="T30" fmla="*/ 208 w 247"/>
                <a:gd name="T31" fmla="*/ 38 h 49"/>
                <a:gd name="T32" fmla="*/ 240 w 247"/>
                <a:gd name="T33" fmla="*/ 45 h 49"/>
                <a:gd name="T34" fmla="*/ 239 w 247"/>
                <a:gd name="T35" fmla="*/ 3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7" h="49">
                  <a:moveTo>
                    <a:pt x="239" y="35"/>
                  </a:moveTo>
                  <a:cubicBezTo>
                    <a:pt x="223" y="38"/>
                    <a:pt x="216" y="32"/>
                    <a:pt x="206" y="21"/>
                  </a:cubicBezTo>
                  <a:cubicBezTo>
                    <a:pt x="200" y="14"/>
                    <a:pt x="193" y="6"/>
                    <a:pt x="183" y="4"/>
                  </a:cubicBezTo>
                  <a:cubicBezTo>
                    <a:pt x="160" y="0"/>
                    <a:pt x="150" y="17"/>
                    <a:pt x="134" y="29"/>
                  </a:cubicBezTo>
                  <a:cubicBezTo>
                    <a:pt x="129" y="34"/>
                    <a:pt x="122" y="36"/>
                    <a:pt x="116" y="37"/>
                  </a:cubicBezTo>
                  <a:cubicBezTo>
                    <a:pt x="106" y="39"/>
                    <a:pt x="100" y="28"/>
                    <a:pt x="94" y="22"/>
                  </a:cubicBezTo>
                  <a:cubicBezTo>
                    <a:pt x="86" y="13"/>
                    <a:pt x="76" y="7"/>
                    <a:pt x="64" y="5"/>
                  </a:cubicBezTo>
                  <a:cubicBezTo>
                    <a:pt x="54" y="3"/>
                    <a:pt x="43" y="7"/>
                    <a:pt x="35" y="13"/>
                  </a:cubicBezTo>
                  <a:cubicBezTo>
                    <a:pt x="25" y="21"/>
                    <a:pt x="22" y="35"/>
                    <a:pt x="7" y="32"/>
                  </a:cubicBezTo>
                  <a:cubicBezTo>
                    <a:pt x="1" y="31"/>
                    <a:pt x="0" y="41"/>
                    <a:pt x="6" y="43"/>
                  </a:cubicBezTo>
                  <a:cubicBezTo>
                    <a:pt x="16" y="44"/>
                    <a:pt x="24" y="41"/>
                    <a:pt x="31" y="34"/>
                  </a:cubicBezTo>
                  <a:cubicBezTo>
                    <a:pt x="40" y="23"/>
                    <a:pt x="47" y="13"/>
                    <a:pt x="63" y="15"/>
                  </a:cubicBezTo>
                  <a:cubicBezTo>
                    <a:pt x="79" y="17"/>
                    <a:pt x="86" y="31"/>
                    <a:pt x="97" y="41"/>
                  </a:cubicBezTo>
                  <a:cubicBezTo>
                    <a:pt x="107" y="49"/>
                    <a:pt x="116" y="49"/>
                    <a:pt x="127" y="45"/>
                  </a:cubicBezTo>
                  <a:cubicBezTo>
                    <a:pt x="147" y="38"/>
                    <a:pt x="159" y="7"/>
                    <a:pt x="183" y="15"/>
                  </a:cubicBezTo>
                  <a:cubicBezTo>
                    <a:pt x="194" y="18"/>
                    <a:pt x="200" y="31"/>
                    <a:pt x="208" y="38"/>
                  </a:cubicBezTo>
                  <a:cubicBezTo>
                    <a:pt x="217" y="46"/>
                    <a:pt x="228" y="48"/>
                    <a:pt x="240" y="45"/>
                  </a:cubicBezTo>
                  <a:cubicBezTo>
                    <a:pt x="247" y="43"/>
                    <a:pt x="245" y="33"/>
                    <a:pt x="239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6ED7CDE7-4597-425C-B268-02F886DA2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" y="2601"/>
              <a:ext cx="249" cy="149"/>
            </a:xfrm>
            <a:custGeom>
              <a:avLst/>
              <a:gdLst>
                <a:gd name="T0" fmla="*/ 0 w 140"/>
                <a:gd name="T1" fmla="*/ 74 h 84"/>
                <a:gd name="T2" fmla="*/ 43 w 140"/>
                <a:gd name="T3" fmla="*/ 69 h 84"/>
                <a:gd name="T4" fmla="*/ 81 w 140"/>
                <a:gd name="T5" fmla="*/ 56 h 84"/>
                <a:gd name="T6" fmla="*/ 98 w 140"/>
                <a:gd name="T7" fmla="*/ 46 h 84"/>
                <a:gd name="T8" fmla="*/ 114 w 140"/>
                <a:gd name="T9" fmla="*/ 33 h 84"/>
                <a:gd name="T10" fmla="*/ 140 w 140"/>
                <a:gd name="T11" fmla="*/ 0 h 84"/>
                <a:gd name="T12" fmla="*/ 126 w 140"/>
                <a:gd name="T13" fmla="*/ 43 h 84"/>
                <a:gd name="T14" fmla="*/ 110 w 140"/>
                <a:gd name="T15" fmla="*/ 61 h 84"/>
                <a:gd name="T16" fmla="*/ 90 w 140"/>
                <a:gd name="T17" fmla="*/ 74 h 84"/>
                <a:gd name="T18" fmla="*/ 45 w 140"/>
                <a:gd name="T19" fmla="*/ 84 h 84"/>
                <a:gd name="T20" fmla="*/ 0 w 140"/>
                <a:gd name="T21" fmla="*/ 7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84">
                  <a:moveTo>
                    <a:pt x="0" y="74"/>
                  </a:moveTo>
                  <a:cubicBezTo>
                    <a:pt x="15" y="73"/>
                    <a:pt x="29" y="71"/>
                    <a:pt x="43" y="69"/>
                  </a:cubicBezTo>
                  <a:cubicBezTo>
                    <a:pt x="57" y="66"/>
                    <a:pt x="69" y="62"/>
                    <a:pt x="81" y="56"/>
                  </a:cubicBezTo>
                  <a:cubicBezTo>
                    <a:pt x="87" y="53"/>
                    <a:pt x="93" y="50"/>
                    <a:pt x="98" y="46"/>
                  </a:cubicBezTo>
                  <a:cubicBezTo>
                    <a:pt x="104" y="42"/>
                    <a:pt x="109" y="38"/>
                    <a:pt x="114" y="33"/>
                  </a:cubicBezTo>
                  <a:cubicBezTo>
                    <a:pt x="123" y="24"/>
                    <a:pt x="132" y="13"/>
                    <a:pt x="140" y="0"/>
                  </a:cubicBezTo>
                  <a:cubicBezTo>
                    <a:pt x="140" y="15"/>
                    <a:pt x="134" y="30"/>
                    <a:pt x="126" y="43"/>
                  </a:cubicBezTo>
                  <a:cubicBezTo>
                    <a:pt x="121" y="50"/>
                    <a:pt x="116" y="56"/>
                    <a:pt x="110" y="61"/>
                  </a:cubicBezTo>
                  <a:cubicBezTo>
                    <a:pt x="104" y="66"/>
                    <a:pt x="97" y="71"/>
                    <a:pt x="90" y="74"/>
                  </a:cubicBezTo>
                  <a:cubicBezTo>
                    <a:pt x="76" y="81"/>
                    <a:pt x="60" y="84"/>
                    <a:pt x="45" y="84"/>
                  </a:cubicBezTo>
                  <a:cubicBezTo>
                    <a:pt x="29" y="84"/>
                    <a:pt x="14" y="81"/>
                    <a:pt x="0" y="74"/>
                  </a:cubicBezTo>
                  <a:close/>
                </a:path>
              </a:pathLst>
            </a:custGeom>
            <a:solidFill>
              <a:srgbClr val="6481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6BC8F1C7-E143-496D-B61F-4E8F1493F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5" y="2268"/>
              <a:ext cx="249" cy="165"/>
            </a:xfrm>
            <a:custGeom>
              <a:avLst/>
              <a:gdLst>
                <a:gd name="T0" fmla="*/ 0 w 140"/>
                <a:gd name="T1" fmla="*/ 9 h 93"/>
                <a:gd name="T2" fmla="*/ 46 w 140"/>
                <a:gd name="T3" fmla="*/ 0 h 93"/>
                <a:gd name="T4" fmla="*/ 93 w 140"/>
                <a:gd name="T5" fmla="*/ 13 h 93"/>
                <a:gd name="T6" fmla="*/ 127 w 140"/>
                <a:gd name="T7" fmla="*/ 47 h 93"/>
                <a:gd name="T8" fmla="*/ 140 w 140"/>
                <a:gd name="T9" fmla="*/ 93 h 93"/>
                <a:gd name="T10" fmla="*/ 117 w 140"/>
                <a:gd name="T11" fmla="*/ 54 h 93"/>
                <a:gd name="T12" fmla="*/ 85 w 140"/>
                <a:gd name="T13" fmla="*/ 27 h 93"/>
                <a:gd name="T14" fmla="*/ 45 w 140"/>
                <a:gd name="T15" fmla="*/ 12 h 93"/>
                <a:gd name="T16" fmla="*/ 0 w 140"/>
                <a:gd name="T17" fmla="*/ 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93">
                  <a:moveTo>
                    <a:pt x="0" y="9"/>
                  </a:moveTo>
                  <a:cubicBezTo>
                    <a:pt x="14" y="2"/>
                    <a:pt x="30" y="0"/>
                    <a:pt x="46" y="0"/>
                  </a:cubicBezTo>
                  <a:cubicBezTo>
                    <a:pt x="62" y="1"/>
                    <a:pt x="78" y="5"/>
                    <a:pt x="93" y="13"/>
                  </a:cubicBezTo>
                  <a:cubicBezTo>
                    <a:pt x="107" y="21"/>
                    <a:pt x="119" y="33"/>
                    <a:pt x="127" y="47"/>
                  </a:cubicBezTo>
                  <a:cubicBezTo>
                    <a:pt x="135" y="62"/>
                    <a:pt x="139" y="77"/>
                    <a:pt x="140" y="93"/>
                  </a:cubicBezTo>
                  <a:cubicBezTo>
                    <a:pt x="133" y="79"/>
                    <a:pt x="126" y="66"/>
                    <a:pt x="117" y="54"/>
                  </a:cubicBezTo>
                  <a:cubicBezTo>
                    <a:pt x="108" y="43"/>
                    <a:pt x="97" y="34"/>
                    <a:pt x="85" y="27"/>
                  </a:cubicBezTo>
                  <a:cubicBezTo>
                    <a:pt x="73" y="20"/>
                    <a:pt x="59" y="15"/>
                    <a:pt x="45" y="12"/>
                  </a:cubicBezTo>
                  <a:cubicBezTo>
                    <a:pt x="30" y="10"/>
                    <a:pt x="16" y="9"/>
                    <a:pt x="0" y="9"/>
                  </a:cubicBezTo>
                  <a:close/>
                </a:path>
              </a:pathLst>
            </a:custGeom>
            <a:solidFill>
              <a:srgbClr val="6481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E2996D27-0342-449B-8735-BD9A720CE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1" y="2482"/>
              <a:ext cx="160" cy="245"/>
            </a:xfrm>
            <a:custGeom>
              <a:avLst/>
              <a:gdLst>
                <a:gd name="T0" fmla="*/ 7 w 90"/>
                <a:gd name="T1" fmla="*/ 0 h 138"/>
                <a:gd name="T2" fmla="*/ 13 w 90"/>
                <a:gd name="T3" fmla="*/ 43 h 138"/>
                <a:gd name="T4" fmla="*/ 28 w 90"/>
                <a:gd name="T5" fmla="*/ 81 h 138"/>
                <a:gd name="T6" fmla="*/ 40 w 90"/>
                <a:gd name="T7" fmla="*/ 97 h 138"/>
                <a:gd name="T8" fmla="*/ 47 w 90"/>
                <a:gd name="T9" fmla="*/ 105 h 138"/>
                <a:gd name="T10" fmla="*/ 55 w 90"/>
                <a:gd name="T11" fmla="*/ 112 h 138"/>
                <a:gd name="T12" fmla="*/ 90 w 90"/>
                <a:gd name="T13" fmla="*/ 138 h 138"/>
                <a:gd name="T14" fmla="*/ 47 w 90"/>
                <a:gd name="T15" fmla="*/ 122 h 138"/>
                <a:gd name="T16" fmla="*/ 38 w 90"/>
                <a:gd name="T17" fmla="*/ 115 h 138"/>
                <a:gd name="T18" fmla="*/ 29 w 90"/>
                <a:gd name="T19" fmla="*/ 108 h 138"/>
                <a:gd name="T20" fmla="*/ 21 w 90"/>
                <a:gd name="T21" fmla="*/ 99 h 138"/>
                <a:gd name="T22" fmla="*/ 15 w 90"/>
                <a:gd name="T23" fmla="*/ 89 h 138"/>
                <a:gd name="T24" fmla="*/ 0 w 90"/>
                <a:gd name="T25" fmla="*/ 45 h 138"/>
                <a:gd name="T26" fmla="*/ 1 w 90"/>
                <a:gd name="T27" fmla="*/ 22 h 138"/>
                <a:gd name="T28" fmla="*/ 7 w 90"/>
                <a:gd name="T2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" h="138">
                  <a:moveTo>
                    <a:pt x="7" y="0"/>
                  </a:moveTo>
                  <a:cubicBezTo>
                    <a:pt x="7" y="15"/>
                    <a:pt x="9" y="29"/>
                    <a:pt x="13" y="43"/>
                  </a:cubicBezTo>
                  <a:cubicBezTo>
                    <a:pt x="16" y="56"/>
                    <a:pt x="21" y="69"/>
                    <a:pt x="28" y="81"/>
                  </a:cubicBezTo>
                  <a:cubicBezTo>
                    <a:pt x="32" y="87"/>
                    <a:pt x="36" y="92"/>
                    <a:pt x="40" y="97"/>
                  </a:cubicBezTo>
                  <a:cubicBezTo>
                    <a:pt x="43" y="100"/>
                    <a:pt x="45" y="102"/>
                    <a:pt x="47" y="105"/>
                  </a:cubicBezTo>
                  <a:cubicBezTo>
                    <a:pt x="50" y="107"/>
                    <a:pt x="52" y="110"/>
                    <a:pt x="55" y="112"/>
                  </a:cubicBezTo>
                  <a:cubicBezTo>
                    <a:pt x="65" y="122"/>
                    <a:pt x="77" y="130"/>
                    <a:pt x="90" y="138"/>
                  </a:cubicBezTo>
                  <a:cubicBezTo>
                    <a:pt x="75" y="136"/>
                    <a:pt x="60" y="130"/>
                    <a:pt x="47" y="122"/>
                  </a:cubicBezTo>
                  <a:cubicBezTo>
                    <a:pt x="44" y="120"/>
                    <a:pt x="41" y="118"/>
                    <a:pt x="38" y="115"/>
                  </a:cubicBezTo>
                  <a:cubicBezTo>
                    <a:pt x="35" y="113"/>
                    <a:pt x="32" y="110"/>
                    <a:pt x="29" y="108"/>
                  </a:cubicBezTo>
                  <a:cubicBezTo>
                    <a:pt x="26" y="105"/>
                    <a:pt x="24" y="102"/>
                    <a:pt x="21" y="99"/>
                  </a:cubicBezTo>
                  <a:cubicBezTo>
                    <a:pt x="19" y="96"/>
                    <a:pt x="17" y="92"/>
                    <a:pt x="15" y="89"/>
                  </a:cubicBezTo>
                  <a:cubicBezTo>
                    <a:pt x="6" y="76"/>
                    <a:pt x="2" y="60"/>
                    <a:pt x="0" y="45"/>
                  </a:cubicBezTo>
                  <a:cubicBezTo>
                    <a:pt x="0" y="37"/>
                    <a:pt x="0" y="29"/>
                    <a:pt x="1" y="22"/>
                  </a:cubicBezTo>
                  <a:cubicBezTo>
                    <a:pt x="2" y="14"/>
                    <a:pt x="4" y="7"/>
                    <a:pt x="7" y="0"/>
                  </a:cubicBezTo>
                  <a:close/>
                </a:path>
              </a:pathLst>
            </a:custGeom>
            <a:solidFill>
              <a:srgbClr val="6481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17480D3F-36D8-4135-93F2-2E586127A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1" y="1980"/>
              <a:ext cx="62" cy="141"/>
            </a:xfrm>
            <a:custGeom>
              <a:avLst/>
              <a:gdLst>
                <a:gd name="T0" fmla="*/ 0 w 62"/>
                <a:gd name="T1" fmla="*/ 50 h 141"/>
                <a:gd name="T2" fmla="*/ 0 w 62"/>
                <a:gd name="T3" fmla="*/ 141 h 141"/>
                <a:gd name="T4" fmla="*/ 62 w 62"/>
                <a:gd name="T5" fmla="*/ 141 h 141"/>
                <a:gd name="T6" fmla="*/ 62 w 62"/>
                <a:gd name="T7" fmla="*/ 0 h 141"/>
                <a:gd name="T8" fmla="*/ 0 w 62"/>
                <a:gd name="T9" fmla="*/ 0 h 141"/>
                <a:gd name="T10" fmla="*/ 0 w 62"/>
                <a:gd name="T11" fmla="*/ 5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141">
                  <a:moveTo>
                    <a:pt x="0" y="50"/>
                  </a:moveTo>
                  <a:lnTo>
                    <a:pt x="0" y="141"/>
                  </a:lnTo>
                  <a:lnTo>
                    <a:pt x="62" y="141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FF75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D9078780-9579-44FB-B042-A113262E8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1" y="1980"/>
              <a:ext cx="62" cy="141"/>
            </a:xfrm>
            <a:custGeom>
              <a:avLst/>
              <a:gdLst>
                <a:gd name="T0" fmla="*/ 0 w 62"/>
                <a:gd name="T1" fmla="*/ 50 h 141"/>
                <a:gd name="T2" fmla="*/ 0 w 62"/>
                <a:gd name="T3" fmla="*/ 141 h 141"/>
                <a:gd name="T4" fmla="*/ 62 w 62"/>
                <a:gd name="T5" fmla="*/ 141 h 141"/>
                <a:gd name="T6" fmla="*/ 62 w 62"/>
                <a:gd name="T7" fmla="*/ 0 h 141"/>
                <a:gd name="T8" fmla="*/ 0 w 62"/>
                <a:gd name="T9" fmla="*/ 0 h 141"/>
                <a:gd name="T10" fmla="*/ 0 w 62"/>
                <a:gd name="T11" fmla="*/ 5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141">
                  <a:moveTo>
                    <a:pt x="0" y="50"/>
                  </a:moveTo>
                  <a:lnTo>
                    <a:pt x="0" y="141"/>
                  </a:lnTo>
                  <a:lnTo>
                    <a:pt x="62" y="141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0">
              <a:extLst>
                <a:ext uri="{FF2B5EF4-FFF2-40B4-BE49-F238E27FC236}">
                  <a16:creationId xmlns:a16="http://schemas.microsoft.com/office/drawing/2014/main" id="{74D7D27A-051C-4A28-A989-B520B37B5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" y="1989"/>
              <a:ext cx="0" cy="78"/>
            </a:xfrm>
            <a:custGeom>
              <a:avLst/>
              <a:gdLst>
                <a:gd name="T0" fmla="*/ 0 h 44"/>
                <a:gd name="T1" fmla="*/ 0 h 44"/>
                <a:gd name="T2" fmla="*/ 44 h 44"/>
                <a:gd name="T3" fmla="*/ 44 h 44"/>
                <a:gd name="T4" fmla="*/ 0 h 4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FA8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1E477752-8B21-47E8-B25E-B7EC5F84A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1" y="1989"/>
              <a:ext cx="32" cy="117"/>
            </a:xfrm>
            <a:custGeom>
              <a:avLst/>
              <a:gdLst>
                <a:gd name="T0" fmla="*/ 18 w 18"/>
                <a:gd name="T1" fmla="*/ 0 h 66"/>
                <a:gd name="T2" fmla="*/ 0 w 18"/>
                <a:gd name="T3" fmla="*/ 0 h 66"/>
                <a:gd name="T4" fmla="*/ 0 w 18"/>
                <a:gd name="T5" fmla="*/ 66 h 66"/>
                <a:gd name="T6" fmla="*/ 18 w 18"/>
                <a:gd name="T7" fmla="*/ 60 h 66"/>
                <a:gd name="T8" fmla="*/ 18 w 18"/>
                <a:gd name="T9" fmla="*/ 48 h 66"/>
                <a:gd name="T10" fmla="*/ 18 w 18"/>
                <a:gd name="T11" fmla="*/ 48 h 66"/>
                <a:gd name="T12" fmla="*/ 18 w 18"/>
                <a:gd name="T13" fmla="*/ 44 h 66"/>
                <a:gd name="T14" fmla="*/ 18 w 18"/>
                <a:gd name="T15" fmla="*/ 44 h 66"/>
                <a:gd name="T16" fmla="*/ 18 w 18"/>
                <a:gd name="T1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66">
                  <a:moveTo>
                    <a:pt x="1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10" y="66"/>
                    <a:pt x="18" y="60"/>
                    <a:pt x="18" y="60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EF63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2">
              <a:extLst>
                <a:ext uri="{FF2B5EF4-FFF2-40B4-BE49-F238E27FC236}">
                  <a16:creationId xmlns:a16="http://schemas.microsoft.com/office/drawing/2014/main" id="{947471FE-2630-41D7-AE77-D6A69F475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4" y="1189"/>
              <a:ext cx="1369" cy="1201"/>
            </a:xfrm>
            <a:custGeom>
              <a:avLst/>
              <a:gdLst>
                <a:gd name="T0" fmla="*/ 727 w 771"/>
                <a:gd name="T1" fmla="*/ 200 h 677"/>
                <a:gd name="T2" fmla="*/ 655 w 771"/>
                <a:gd name="T3" fmla="*/ 77 h 677"/>
                <a:gd name="T4" fmla="*/ 499 w 771"/>
                <a:gd name="T5" fmla="*/ 22 h 677"/>
                <a:gd name="T6" fmla="*/ 341 w 771"/>
                <a:gd name="T7" fmla="*/ 105 h 677"/>
                <a:gd name="T8" fmla="*/ 286 w 771"/>
                <a:gd name="T9" fmla="*/ 108 h 677"/>
                <a:gd name="T10" fmla="*/ 85 w 771"/>
                <a:gd name="T11" fmla="*/ 177 h 677"/>
                <a:gd name="T12" fmla="*/ 83 w 771"/>
                <a:gd name="T13" fmla="*/ 398 h 677"/>
                <a:gd name="T14" fmla="*/ 207 w 771"/>
                <a:gd name="T15" fmla="*/ 454 h 677"/>
                <a:gd name="T16" fmla="*/ 193 w 771"/>
                <a:gd name="T17" fmla="*/ 626 h 677"/>
                <a:gd name="T18" fmla="*/ 388 w 771"/>
                <a:gd name="T19" fmla="*/ 550 h 677"/>
                <a:gd name="T20" fmla="*/ 424 w 771"/>
                <a:gd name="T21" fmla="*/ 549 h 677"/>
                <a:gd name="T22" fmla="*/ 727 w 771"/>
                <a:gd name="T23" fmla="*/ 20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71" h="677">
                  <a:moveTo>
                    <a:pt x="727" y="200"/>
                  </a:moveTo>
                  <a:cubicBezTo>
                    <a:pt x="727" y="200"/>
                    <a:pt x="771" y="83"/>
                    <a:pt x="655" y="77"/>
                  </a:cubicBezTo>
                  <a:cubicBezTo>
                    <a:pt x="655" y="77"/>
                    <a:pt x="600" y="0"/>
                    <a:pt x="499" y="22"/>
                  </a:cubicBezTo>
                  <a:cubicBezTo>
                    <a:pt x="397" y="44"/>
                    <a:pt x="399" y="94"/>
                    <a:pt x="341" y="105"/>
                  </a:cubicBezTo>
                  <a:cubicBezTo>
                    <a:pt x="326" y="108"/>
                    <a:pt x="307" y="108"/>
                    <a:pt x="286" y="108"/>
                  </a:cubicBezTo>
                  <a:cubicBezTo>
                    <a:pt x="225" y="108"/>
                    <a:pt x="146" y="108"/>
                    <a:pt x="85" y="177"/>
                  </a:cubicBezTo>
                  <a:cubicBezTo>
                    <a:pt x="0" y="273"/>
                    <a:pt x="41" y="369"/>
                    <a:pt x="83" y="398"/>
                  </a:cubicBezTo>
                  <a:cubicBezTo>
                    <a:pt x="125" y="428"/>
                    <a:pt x="192" y="422"/>
                    <a:pt x="207" y="454"/>
                  </a:cubicBezTo>
                  <a:cubicBezTo>
                    <a:pt x="225" y="492"/>
                    <a:pt x="136" y="588"/>
                    <a:pt x="193" y="626"/>
                  </a:cubicBezTo>
                  <a:cubicBezTo>
                    <a:pt x="268" y="677"/>
                    <a:pt x="348" y="559"/>
                    <a:pt x="388" y="550"/>
                  </a:cubicBezTo>
                  <a:cubicBezTo>
                    <a:pt x="395" y="548"/>
                    <a:pt x="408" y="549"/>
                    <a:pt x="424" y="549"/>
                  </a:cubicBezTo>
                  <a:cubicBezTo>
                    <a:pt x="513" y="552"/>
                    <a:pt x="710" y="554"/>
                    <a:pt x="727" y="200"/>
                  </a:cubicBezTo>
                </a:path>
              </a:pathLst>
            </a:custGeom>
            <a:solidFill>
              <a:srgbClr val="2112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3">
              <a:extLst>
                <a:ext uri="{FF2B5EF4-FFF2-40B4-BE49-F238E27FC236}">
                  <a16:creationId xmlns:a16="http://schemas.microsoft.com/office/drawing/2014/main" id="{83204079-96A7-4B3B-8525-92DE3C245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5" y="1243"/>
              <a:ext cx="261" cy="264"/>
            </a:xfrm>
            <a:custGeom>
              <a:avLst/>
              <a:gdLst>
                <a:gd name="T0" fmla="*/ 0 w 147"/>
                <a:gd name="T1" fmla="*/ 0 h 149"/>
                <a:gd name="T2" fmla="*/ 0 w 147"/>
                <a:gd name="T3" fmla="*/ 0 h 149"/>
                <a:gd name="T4" fmla="*/ 63 w 147"/>
                <a:gd name="T5" fmla="*/ 47 h 149"/>
                <a:gd name="T6" fmla="*/ 141 w 147"/>
                <a:gd name="T7" fmla="*/ 149 h 149"/>
                <a:gd name="T8" fmla="*/ 63 w 147"/>
                <a:gd name="T9" fmla="*/ 47 h 149"/>
                <a:gd name="T10" fmla="*/ 0 w 147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14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1" y="17"/>
                    <a:pt x="63" y="47"/>
                    <a:pt x="63" y="47"/>
                  </a:cubicBezTo>
                  <a:cubicBezTo>
                    <a:pt x="147" y="52"/>
                    <a:pt x="147" y="115"/>
                    <a:pt x="141" y="149"/>
                  </a:cubicBezTo>
                  <a:cubicBezTo>
                    <a:pt x="147" y="115"/>
                    <a:pt x="147" y="52"/>
                    <a:pt x="63" y="47"/>
                  </a:cubicBezTo>
                  <a:cubicBezTo>
                    <a:pt x="63" y="47"/>
                    <a:pt x="41" y="17"/>
                    <a:pt x="0" y="0"/>
                  </a:cubicBezTo>
                </a:path>
              </a:pathLst>
            </a:custGeom>
            <a:solidFill>
              <a:srgbClr val="8C86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4">
              <a:extLst>
                <a:ext uri="{FF2B5EF4-FFF2-40B4-BE49-F238E27FC236}">
                  <a16:creationId xmlns:a16="http://schemas.microsoft.com/office/drawing/2014/main" id="{72603EC1-56CC-476C-913A-17C81D1A3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9" y="1228"/>
              <a:ext cx="46" cy="15"/>
            </a:xfrm>
            <a:custGeom>
              <a:avLst/>
              <a:gdLst>
                <a:gd name="T0" fmla="*/ 0 w 26"/>
                <a:gd name="T1" fmla="*/ 0 h 8"/>
                <a:gd name="T2" fmla="*/ 0 w 26"/>
                <a:gd name="T3" fmla="*/ 0 h 8"/>
                <a:gd name="T4" fmla="*/ 26 w 26"/>
                <a:gd name="T5" fmla="*/ 8 h 8"/>
                <a:gd name="T6" fmla="*/ 26 w 26"/>
                <a:gd name="T7" fmla="*/ 8 h 8"/>
                <a:gd name="T8" fmla="*/ 0 w 2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2"/>
                    <a:pt x="18" y="4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18" y="4"/>
                    <a:pt x="9" y="2"/>
                    <a:pt x="0" y="0"/>
                  </a:cubicBezTo>
                </a:path>
              </a:pathLst>
            </a:custGeom>
            <a:solidFill>
              <a:srgbClr val="302A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5">
              <a:extLst>
                <a:ext uri="{FF2B5EF4-FFF2-40B4-BE49-F238E27FC236}">
                  <a16:creationId xmlns:a16="http://schemas.microsoft.com/office/drawing/2014/main" id="{CB114772-EF6B-43F9-A89C-FEF55B5B0C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4" y="1221"/>
              <a:ext cx="135" cy="11"/>
            </a:xfrm>
            <a:custGeom>
              <a:avLst/>
              <a:gdLst>
                <a:gd name="T0" fmla="*/ 0 w 76"/>
                <a:gd name="T1" fmla="*/ 6 h 6"/>
                <a:gd name="T2" fmla="*/ 0 w 76"/>
                <a:gd name="T3" fmla="*/ 6 h 6"/>
                <a:gd name="T4" fmla="*/ 0 w 76"/>
                <a:gd name="T5" fmla="*/ 6 h 6"/>
                <a:gd name="T6" fmla="*/ 0 w 76"/>
                <a:gd name="T7" fmla="*/ 6 h 6"/>
                <a:gd name="T8" fmla="*/ 45 w 76"/>
                <a:gd name="T9" fmla="*/ 0 h 6"/>
                <a:gd name="T10" fmla="*/ 9 w 76"/>
                <a:gd name="T11" fmla="*/ 4 h 6"/>
                <a:gd name="T12" fmla="*/ 3 w 76"/>
                <a:gd name="T13" fmla="*/ 6 h 6"/>
                <a:gd name="T14" fmla="*/ 9 w 76"/>
                <a:gd name="T15" fmla="*/ 4 h 6"/>
                <a:gd name="T16" fmla="*/ 45 w 76"/>
                <a:gd name="T17" fmla="*/ 0 h 6"/>
                <a:gd name="T18" fmla="*/ 76 w 76"/>
                <a:gd name="T19" fmla="*/ 4 h 6"/>
                <a:gd name="T20" fmla="*/ 76 w 76"/>
                <a:gd name="T21" fmla="*/ 4 h 6"/>
                <a:gd name="T22" fmla="*/ 45 w 76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6"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moveTo>
                    <a:pt x="45" y="0"/>
                  </a:moveTo>
                  <a:cubicBezTo>
                    <a:pt x="33" y="0"/>
                    <a:pt x="21" y="2"/>
                    <a:pt x="9" y="4"/>
                  </a:cubicBezTo>
                  <a:cubicBezTo>
                    <a:pt x="7" y="5"/>
                    <a:pt x="5" y="5"/>
                    <a:pt x="3" y="6"/>
                  </a:cubicBezTo>
                  <a:cubicBezTo>
                    <a:pt x="5" y="5"/>
                    <a:pt x="7" y="5"/>
                    <a:pt x="9" y="4"/>
                  </a:cubicBezTo>
                  <a:cubicBezTo>
                    <a:pt x="21" y="2"/>
                    <a:pt x="33" y="0"/>
                    <a:pt x="45" y="0"/>
                  </a:cubicBezTo>
                  <a:cubicBezTo>
                    <a:pt x="56" y="0"/>
                    <a:pt x="66" y="2"/>
                    <a:pt x="76" y="4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66" y="2"/>
                    <a:pt x="56" y="0"/>
                    <a:pt x="45" y="0"/>
                  </a:cubicBezTo>
                </a:path>
              </a:pathLst>
            </a:custGeom>
            <a:solidFill>
              <a:srgbClr val="484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6">
              <a:extLst>
                <a:ext uri="{FF2B5EF4-FFF2-40B4-BE49-F238E27FC236}">
                  <a16:creationId xmlns:a16="http://schemas.microsoft.com/office/drawing/2014/main" id="{2BD9C475-F8F8-4A89-831E-338DE137DF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0" y="1945"/>
              <a:ext cx="12" cy="21"/>
            </a:xfrm>
            <a:custGeom>
              <a:avLst/>
              <a:gdLst>
                <a:gd name="T0" fmla="*/ 0 w 7"/>
                <a:gd name="T1" fmla="*/ 12 h 12"/>
                <a:gd name="T2" fmla="*/ 0 w 7"/>
                <a:gd name="T3" fmla="*/ 12 h 12"/>
                <a:gd name="T4" fmla="*/ 0 w 7"/>
                <a:gd name="T5" fmla="*/ 12 h 12"/>
                <a:gd name="T6" fmla="*/ 7 w 7"/>
                <a:gd name="T7" fmla="*/ 0 h 12"/>
                <a:gd name="T8" fmla="*/ 7 w 7"/>
                <a:gd name="T9" fmla="*/ 0 h 12"/>
                <a:gd name="T10" fmla="*/ 0 w 7"/>
                <a:gd name="T11" fmla="*/ 12 h 12"/>
                <a:gd name="T12" fmla="*/ 7 w 7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2">
                  <a:moveTo>
                    <a:pt x="0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4"/>
                    <a:pt x="2" y="8"/>
                    <a:pt x="0" y="12"/>
                  </a:cubicBezTo>
                  <a:cubicBezTo>
                    <a:pt x="2" y="8"/>
                    <a:pt x="4" y="4"/>
                    <a:pt x="7" y="0"/>
                  </a:cubicBezTo>
                </a:path>
              </a:pathLst>
            </a:custGeom>
            <a:solidFill>
              <a:srgbClr val="8C86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7">
              <a:extLst>
                <a:ext uri="{FF2B5EF4-FFF2-40B4-BE49-F238E27FC236}">
                  <a16:creationId xmlns:a16="http://schemas.microsoft.com/office/drawing/2014/main" id="{7AF011CF-05DB-49E6-8AFD-B5331D1467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3" y="2277"/>
              <a:ext cx="130" cy="46"/>
            </a:xfrm>
            <a:custGeom>
              <a:avLst/>
              <a:gdLst>
                <a:gd name="T0" fmla="*/ 0 w 73"/>
                <a:gd name="T1" fmla="*/ 0 h 26"/>
                <a:gd name="T2" fmla="*/ 13 w 73"/>
                <a:gd name="T3" fmla="*/ 14 h 26"/>
                <a:gd name="T4" fmla="*/ 53 w 73"/>
                <a:gd name="T5" fmla="*/ 26 h 26"/>
                <a:gd name="T6" fmla="*/ 73 w 73"/>
                <a:gd name="T7" fmla="*/ 23 h 26"/>
                <a:gd name="T8" fmla="*/ 73 w 73"/>
                <a:gd name="T9" fmla="*/ 23 h 26"/>
                <a:gd name="T10" fmla="*/ 53 w 73"/>
                <a:gd name="T11" fmla="*/ 26 h 26"/>
                <a:gd name="T12" fmla="*/ 13 w 73"/>
                <a:gd name="T13" fmla="*/ 13 h 26"/>
                <a:gd name="T14" fmla="*/ 0 w 73"/>
                <a:gd name="T1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26">
                  <a:moveTo>
                    <a:pt x="0" y="0"/>
                  </a:moveTo>
                  <a:cubicBezTo>
                    <a:pt x="3" y="5"/>
                    <a:pt x="7" y="10"/>
                    <a:pt x="13" y="14"/>
                  </a:cubicBezTo>
                  <a:cubicBezTo>
                    <a:pt x="26" y="22"/>
                    <a:pt x="40" y="26"/>
                    <a:pt x="53" y="26"/>
                  </a:cubicBezTo>
                  <a:cubicBezTo>
                    <a:pt x="60" y="26"/>
                    <a:pt x="66" y="25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66" y="25"/>
                    <a:pt x="60" y="26"/>
                    <a:pt x="53" y="26"/>
                  </a:cubicBezTo>
                  <a:cubicBezTo>
                    <a:pt x="40" y="26"/>
                    <a:pt x="26" y="22"/>
                    <a:pt x="13" y="13"/>
                  </a:cubicBezTo>
                  <a:cubicBezTo>
                    <a:pt x="7" y="10"/>
                    <a:pt x="3" y="5"/>
                    <a:pt x="0" y="0"/>
                  </a:cubicBezTo>
                </a:path>
              </a:pathLst>
            </a:custGeom>
            <a:solidFill>
              <a:srgbClr val="5257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8">
              <a:extLst>
                <a:ext uri="{FF2B5EF4-FFF2-40B4-BE49-F238E27FC236}">
                  <a16:creationId xmlns:a16="http://schemas.microsoft.com/office/drawing/2014/main" id="{68B3FD3F-D0F4-44AB-8AF1-DD83A80B0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" y="2268"/>
              <a:ext cx="96" cy="49"/>
            </a:xfrm>
            <a:custGeom>
              <a:avLst/>
              <a:gdLst>
                <a:gd name="T0" fmla="*/ 54 w 54"/>
                <a:gd name="T1" fmla="*/ 0 h 28"/>
                <a:gd name="T2" fmla="*/ 0 w 54"/>
                <a:gd name="T3" fmla="*/ 28 h 28"/>
                <a:gd name="T4" fmla="*/ 0 w 54"/>
                <a:gd name="T5" fmla="*/ 28 h 28"/>
                <a:gd name="T6" fmla="*/ 54 w 54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28">
                  <a:moveTo>
                    <a:pt x="54" y="0"/>
                  </a:moveTo>
                  <a:cubicBezTo>
                    <a:pt x="37" y="13"/>
                    <a:pt x="19" y="23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9" y="23"/>
                    <a:pt x="37" y="13"/>
                    <a:pt x="54" y="0"/>
                  </a:cubicBezTo>
                </a:path>
              </a:pathLst>
            </a:custGeom>
            <a:solidFill>
              <a:srgbClr val="484F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9">
              <a:extLst>
                <a:ext uri="{FF2B5EF4-FFF2-40B4-BE49-F238E27FC236}">
                  <a16:creationId xmlns:a16="http://schemas.microsoft.com/office/drawing/2014/main" id="{7FC9A304-F360-4B93-89A8-A75B978D5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3" y="227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257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0">
              <a:extLst>
                <a:ext uri="{FF2B5EF4-FFF2-40B4-BE49-F238E27FC236}">
                  <a16:creationId xmlns:a16="http://schemas.microsoft.com/office/drawing/2014/main" id="{BDBD56EA-983B-4E26-BBEC-70CEA8FF06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3" y="1221"/>
              <a:ext cx="1003" cy="1102"/>
            </a:xfrm>
            <a:custGeom>
              <a:avLst/>
              <a:gdLst>
                <a:gd name="T0" fmla="*/ 274 w 565"/>
                <a:gd name="T1" fmla="*/ 480 h 621"/>
                <a:gd name="T2" fmla="*/ 183 w 565"/>
                <a:gd name="T3" fmla="*/ 503 h 621"/>
                <a:gd name="T4" fmla="*/ 38 w 565"/>
                <a:gd name="T5" fmla="*/ 586 h 621"/>
                <a:gd name="T6" fmla="*/ 1 w 565"/>
                <a:gd name="T7" fmla="*/ 574 h 621"/>
                <a:gd name="T8" fmla="*/ 0 w 565"/>
                <a:gd name="T9" fmla="*/ 574 h 621"/>
                <a:gd name="T10" fmla="*/ 6 w 565"/>
                <a:gd name="T11" fmla="*/ 595 h 621"/>
                <a:gd name="T12" fmla="*/ 6 w 565"/>
                <a:gd name="T13" fmla="*/ 595 h 621"/>
                <a:gd name="T14" fmla="*/ 6 w 565"/>
                <a:gd name="T15" fmla="*/ 595 h 621"/>
                <a:gd name="T16" fmla="*/ 19 w 565"/>
                <a:gd name="T17" fmla="*/ 608 h 621"/>
                <a:gd name="T18" fmla="*/ 59 w 565"/>
                <a:gd name="T19" fmla="*/ 621 h 621"/>
                <a:gd name="T20" fmla="*/ 79 w 565"/>
                <a:gd name="T21" fmla="*/ 618 h 621"/>
                <a:gd name="T22" fmla="*/ 133 w 565"/>
                <a:gd name="T23" fmla="*/ 590 h 621"/>
                <a:gd name="T24" fmla="*/ 214 w 565"/>
                <a:gd name="T25" fmla="*/ 532 h 621"/>
                <a:gd name="T26" fmla="*/ 230 w 565"/>
                <a:gd name="T27" fmla="*/ 531 h 621"/>
                <a:gd name="T28" fmla="*/ 250 w 565"/>
                <a:gd name="T29" fmla="*/ 531 h 621"/>
                <a:gd name="T30" fmla="*/ 269 w 565"/>
                <a:gd name="T31" fmla="*/ 532 h 621"/>
                <a:gd name="T32" fmla="*/ 274 w 565"/>
                <a:gd name="T33" fmla="*/ 480 h 621"/>
                <a:gd name="T34" fmla="*/ 373 w 565"/>
                <a:gd name="T35" fmla="*/ 431 h 621"/>
                <a:gd name="T36" fmla="*/ 338 w 565"/>
                <a:gd name="T37" fmla="*/ 453 h 621"/>
                <a:gd name="T38" fmla="*/ 370 w 565"/>
                <a:gd name="T39" fmla="*/ 450 h 621"/>
                <a:gd name="T40" fmla="*/ 370 w 565"/>
                <a:gd name="T41" fmla="*/ 450 h 621"/>
                <a:gd name="T42" fmla="*/ 373 w 565"/>
                <a:gd name="T43" fmla="*/ 431 h 621"/>
                <a:gd name="T44" fmla="*/ 501 w 565"/>
                <a:gd name="T45" fmla="*/ 408 h 621"/>
                <a:gd name="T46" fmla="*/ 482 w 565"/>
                <a:gd name="T47" fmla="*/ 418 h 621"/>
                <a:gd name="T48" fmla="*/ 443 w 565"/>
                <a:gd name="T49" fmla="*/ 428 h 621"/>
                <a:gd name="T50" fmla="*/ 423 w 565"/>
                <a:gd name="T51" fmla="*/ 429 h 621"/>
                <a:gd name="T52" fmla="*/ 417 w 565"/>
                <a:gd name="T53" fmla="*/ 429 h 621"/>
                <a:gd name="T54" fmla="*/ 417 w 565"/>
                <a:gd name="T55" fmla="*/ 429 h 621"/>
                <a:gd name="T56" fmla="*/ 414 w 565"/>
                <a:gd name="T57" fmla="*/ 450 h 621"/>
                <a:gd name="T58" fmla="*/ 414 w 565"/>
                <a:gd name="T59" fmla="*/ 450 h 621"/>
                <a:gd name="T60" fmla="*/ 449 w 565"/>
                <a:gd name="T61" fmla="*/ 474 h 621"/>
                <a:gd name="T62" fmla="*/ 449 w 565"/>
                <a:gd name="T63" fmla="*/ 474 h 621"/>
                <a:gd name="T64" fmla="*/ 414 w 565"/>
                <a:gd name="T65" fmla="*/ 450 h 621"/>
                <a:gd name="T66" fmla="*/ 420 w 565"/>
                <a:gd name="T67" fmla="*/ 451 h 621"/>
                <a:gd name="T68" fmla="*/ 488 w 565"/>
                <a:gd name="T69" fmla="*/ 430 h 621"/>
                <a:gd name="T70" fmla="*/ 494 w 565"/>
                <a:gd name="T71" fmla="*/ 420 h 621"/>
                <a:gd name="T72" fmla="*/ 494 w 565"/>
                <a:gd name="T73" fmla="*/ 420 h 621"/>
                <a:gd name="T74" fmla="*/ 494 w 565"/>
                <a:gd name="T75" fmla="*/ 420 h 621"/>
                <a:gd name="T76" fmla="*/ 501 w 565"/>
                <a:gd name="T77" fmla="*/ 408 h 621"/>
                <a:gd name="T78" fmla="*/ 361 w 565"/>
                <a:gd name="T79" fmla="*/ 0 h 621"/>
                <a:gd name="T80" fmla="*/ 325 w 565"/>
                <a:gd name="T81" fmla="*/ 4 h 621"/>
                <a:gd name="T82" fmla="*/ 319 w 565"/>
                <a:gd name="T83" fmla="*/ 6 h 621"/>
                <a:gd name="T84" fmla="*/ 316 w 565"/>
                <a:gd name="T85" fmla="*/ 6 h 621"/>
                <a:gd name="T86" fmla="*/ 316 w 565"/>
                <a:gd name="T87" fmla="*/ 6 h 621"/>
                <a:gd name="T88" fmla="*/ 320 w 565"/>
                <a:gd name="T89" fmla="*/ 6 h 621"/>
                <a:gd name="T90" fmla="*/ 432 w 565"/>
                <a:gd name="T91" fmla="*/ 61 h 621"/>
                <a:gd name="T92" fmla="*/ 501 w 565"/>
                <a:gd name="T93" fmla="*/ 130 h 621"/>
                <a:gd name="T94" fmla="*/ 544 w 565"/>
                <a:gd name="T95" fmla="*/ 156 h 621"/>
                <a:gd name="T96" fmla="*/ 544 w 565"/>
                <a:gd name="T97" fmla="*/ 156 h 621"/>
                <a:gd name="T98" fmla="*/ 546 w 565"/>
                <a:gd name="T99" fmla="*/ 156 h 621"/>
                <a:gd name="T100" fmla="*/ 548 w 565"/>
                <a:gd name="T101" fmla="*/ 156 h 621"/>
                <a:gd name="T102" fmla="*/ 548 w 565"/>
                <a:gd name="T103" fmla="*/ 156 h 621"/>
                <a:gd name="T104" fmla="*/ 548 w 565"/>
                <a:gd name="T105" fmla="*/ 156 h 621"/>
                <a:gd name="T106" fmla="*/ 553 w 565"/>
                <a:gd name="T107" fmla="*/ 182 h 621"/>
                <a:gd name="T108" fmla="*/ 553 w 565"/>
                <a:gd name="T109" fmla="*/ 182 h 621"/>
                <a:gd name="T110" fmla="*/ 559 w 565"/>
                <a:gd name="T111" fmla="*/ 161 h 621"/>
                <a:gd name="T112" fmla="*/ 481 w 565"/>
                <a:gd name="T113" fmla="*/ 59 h 621"/>
                <a:gd name="T114" fmla="*/ 418 w 565"/>
                <a:gd name="T115" fmla="*/ 12 h 621"/>
                <a:gd name="T116" fmla="*/ 392 w 565"/>
                <a:gd name="T117" fmla="*/ 4 h 621"/>
                <a:gd name="T118" fmla="*/ 392 w 565"/>
                <a:gd name="T119" fmla="*/ 4 h 621"/>
                <a:gd name="T120" fmla="*/ 361 w 565"/>
                <a:gd name="T121" fmla="*/ 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65" h="621">
                  <a:moveTo>
                    <a:pt x="274" y="480"/>
                  </a:moveTo>
                  <a:cubicBezTo>
                    <a:pt x="232" y="494"/>
                    <a:pt x="197" y="500"/>
                    <a:pt x="183" y="503"/>
                  </a:cubicBezTo>
                  <a:cubicBezTo>
                    <a:pt x="152" y="510"/>
                    <a:pt x="96" y="586"/>
                    <a:pt x="38" y="586"/>
                  </a:cubicBezTo>
                  <a:cubicBezTo>
                    <a:pt x="25" y="586"/>
                    <a:pt x="13" y="583"/>
                    <a:pt x="1" y="574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81"/>
                    <a:pt x="2" y="589"/>
                    <a:pt x="6" y="595"/>
                  </a:cubicBezTo>
                  <a:cubicBezTo>
                    <a:pt x="6" y="595"/>
                    <a:pt x="6" y="595"/>
                    <a:pt x="6" y="595"/>
                  </a:cubicBezTo>
                  <a:cubicBezTo>
                    <a:pt x="6" y="595"/>
                    <a:pt x="6" y="595"/>
                    <a:pt x="6" y="595"/>
                  </a:cubicBezTo>
                  <a:cubicBezTo>
                    <a:pt x="9" y="600"/>
                    <a:pt x="13" y="605"/>
                    <a:pt x="19" y="608"/>
                  </a:cubicBezTo>
                  <a:cubicBezTo>
                    <a:pt x="32" y="617"/>
                    <a:pt x="46" y="621"/>
                    <a:pt x="59" y="621"/>
                  </a:cubicBezTo>
                  <a:cubicBezTo>
                    <a:pt x="66" y="621"/>
                    <a:pt x="72" y="620"/>
                    <a:pt x="79" y="618"/>
                  </a:cubicBezTo>
                  <a:cubicBezTo>
                    <a:pt x="98" y="613"/>
                    <a:pt x="116" y="603"/>
                    <a:pt x="133" y="590"/>
                  </a:cubicBezTo>
                  <a:cubicBezTo>
                    <a:pt x="166" y="566"/>
                    <a:pt x="195" y="536"/>
                    <a:pt x="214" y="532"/>
                  </a:cubicBezTo>
                  <a:cubicBezTo>
                    <a:pt x="218" y="531"/>
                    <a:pt x="223" y="531"/>
                    <a:pt x="230" y="531"/>
                  </a:cubicBezTo>
                  <a:cubicBezTo>
                    <a:pt x="236" y="531"/>
                    <a:pt x="243" y="531"/>
                    <a:pt x="250" y="531"/>
                  </a:cubicBezTo>
                  <a:cubicBezTo>
                    <a:pt x="256" y="531"/>
                    <a:pt x="262" y="532"/>
                    <a:pt x="269" y="532"/>
                  </a:cubicBezTo>
                  <a:cubicBezTo>
                    <a:pt x="269" y="514"/>
                    <a:pt x="270" y="493"/>
                    <a:pt x="274" y="480"/>
                  </a:cubicBezTo>
                  <a:moveTo>
                    <a:pt x="373" y="431"/>
                  </a:moveTo>
                  <a:cubicBezTo>
                    <a:pt x="362" y="439"/>
                    <a:pt x="350" y="447"/>
                    <a:pt x="338" y="453"/>
                  </a:cubicBezTo>
                  <a:cubicBezTo>
                    <a:pt x="355" y="451"/>
                    <a:pt x="370" y="450"/>
                    <a:pt x="370" y="450"/>
                  </a:cubicBezTo>
                  <a:cubicBezTo>
                    <a:pt x="370" y="450"/>
                    <a:pt x="370" y="450"/>
                    <a:pt x="370" y="450"/>
                  </a:cubicBezTo>
                  <a:cubicBezTo>
                    <a:pt x="373" y="431"/>
                    <a:pt x="373" y="431"/>
                    <a:pt x="373" y="431"/>
                  </a:cubicBezTo>
                  <a:moveTo>
                    <a:pt x="501" y="408"/>
                  </a:moveTo>
                  <a:cubicBezTo>
                    <a:pt x="495" y="412"/>
                    <a:pt x="489" y="415"/>
                    <a:pt x="482" y="418"/>
                  </a:cubicBezTo>
                  <a:cubicBezTo>
                    <a:pt x="468" y="423"/>
                    <a:pt x="455" y="426"/>
                    <a:pt x="443" y="428"/>
                  </a:cubicBezTo>
                  <a:cubicBezTo>
                    <a:pt x="436" y="429"/>
                    <a:pt x="429" y="429"/>
                    <a:pt x="423" y="429"/>
                  </a:cubicBezTo>
                  <a:cubicBezTo>
                    <a:pt x="421" y="429"/>
                    <a:pt x="419" y="429"/>
                    <a:pt x="417" y="429"/>
                  </a:cubicBezTo>
                  <a:cubicBezTo>
                    <a:pt x="417" y="429"/>
                    <a:pt x="417" y="429"/>
                    <a:pt x="417" y="429"/>
                  </a:cubicBezTo>
                  <a:cubicBezTo>
                    <a:pt x="414" y="450"/>
                    <a:pt x="414" y="450"/>
                    <a:pt x="414" y="450"/>
                  </a:cubicBezTo>
                  <a:cubicBezTo>
                    <a:pt x="414" y="450"/>
                    <a:pt x="414" y="450"/>
                    <a:pt x="414" y="450"/>
                  </a:cubicBezTo>
                  <a:cubicBezTo>
                    <a:pt x="437" y="454"/>
                    <a:pt x="444" y="465"/>
                    <a:pt x="449" y="474"/>
                  </a:cubicBezTo>
                  <a:cubicBezTo>
                    <a:pt x="449" y="474"/>
                    <a:pt x="449" y="474"/>
                    <a:pt x="449" y="474"/>
                  </a:cubicBezTo>
                  <a:cubicBezTo>
                    <a:pt x="444" y="465"/>
                    <a:pt x="437" y="454"/>
                    <a:pt x="414" y="450"/>
                  </a:cubicBezTo>
                  <a:cubicBezTo>
                    <a:pt x="415" y="450"/>
                    <a:pt x="417" y="451"/>
                    <a:pt x="420" y="451"/>
                  </a:cubicBezTo>
                  <a:cubicBezTo>
                    <a:pt x="431" y="451"/>
                    <a:pt x="456" y="448"/>
                    <a:pt x="488" y="430"/>
                  </a:cubicBezTo>
                  <a:cubicBezTo>
                    <a:pt x="490" y="427"/>
                    <a:pt x="492" y="424"/>
                    <a:pt x="494" y="420"/>
                  </a:cubicBezTo>
                  <a:cubicBezTo>
                    <a:pt x="494" y="420"/>
                    <a:pt x="494" y="420"/>
                    <a:pt x="494" y="420"/>
                  </a:cubicBezTo>
                  <a:cubicBezTo>
                    <a:pt x="494" y="420"/>
                    <a:pt x="494" y="420"/>
                    <a:pt x="494" y="420"/>
                  </a:cubicBezTo>
                  <a:cubicBezTo>
                    <a:pt x="496" y="416"/>
                    <a:pt x="498" y="412"/>
                    <a:pt x="501" y="408"/>
                  </a:cubicBezTo>
                  <a:moveTo>
                    <a:pt x="361" y="0"/>
                  </a:moveTo>
                  <a:cubicBezTo>
                    <a:pt x="349" y="0"/>
                    <a:pt x="337" y="2"/>
                    <a:pt x="325" y="4"/>
                  </a:cubicBezTo>
                  <a:cubicBezTo>
                    <a:pt x="323" y="5"/>
                    <a:pt x="321" y="5"/>
                    <a:pt x="319" y="6"/>
                  </a:cubicBezTo>
                  <a:cubicBezTo>
                    <a:pt x="318" y="6"/>
                    <a:pt x="317" y="6"/>
                    <a:pt x="316" y="6"/>
                  </a:cubicBezTo>
                  <a:cubicBezTo>
                    <a:pt x="316" y="6"/>
                    <a:pt x="316" y="6"/>
                    <a:pt x="316" y="6"/>
                  </a:cubicBezTo>
                  <a:cubicBezTo>
                    <a:pt x="317" y="6"/>
                    <a:pt x="318" y="6"/>
                    <a:pt x="320" y="6"/>
                  </a:cubicBezTo>
                  <a:cubicBezTo>
                    <a:pt x="393" y="6"/>
                    <a:pt x="432" y="61"/>
                    <a:pt x="432" y="61"/>
                  </a:cubicBezTo>
                  <a:cubicBezTo>
                    <a:pt x="487" y="64"/>
                    <a:pt x="501" y="98"/>
                    <a:pt x="501" y="130"/>
                  </a:cubicBezTo>
                  <a:cubicBezTo>
                    <a:pt x="511" y="141"/>
                    <a:pt x="528" y="155"/>
                    <a:pt x="544" y="156"/>
                  </a:cubicBezTo>
                  <a:cubicBezTo>
                    <a:pt x="544" y="156"/>
                    <a:pt x="544" y="156"/>
                    <a:pt x="544" y="156"/>
                  </a:cubicBezTo>
                  <a:cubicBezTo>
                    <a:pt x="545" y="156"/>
                    <a:pt x="545" y="156"/>
                    <a:pt x="546" y="156"/>
                  </a:cubicBezTo>
                  <a:cubicBezTo>
                    <a:pt x="546" y="156"/>
                    <a:pt x="547" y="156"/>
                    <a:pt x="548" y="156"/>
                  </a:cubicBezTo>
                  <a:cubicBezTo>
                    <a:pt x="548" y="156"/>
                    <a:pt x="548" y="156"/>
                    <a:pt x="548" y="156"/>
                  </a:cubicBezTo>
                  <a:cubicBezTo>
                    <a:pt x="548" y="156"/>
                    <a:pt x="548" y="156"/>
                    <a:pt x="548" y="156"/>
                  </a:cubicBezTo>
                  <a:cubicBezTo>
                    <a:pt x="548" y="156"/>
                    <a:pt x="550" y="166"/>
                    <a:pt x="553" y="182"/>
                  </a:cubicBezTo>
                  <a:cubicBezTo>
                    <a:pt x="553" y="182"/>
                    <a:pt x="553" y="182"/>
                    <a:pt x="553" y="182"/>
                  </a:cubicBezTo>
                  <a:cubicBezTo>
                    <a:pt x="553" y="182"/>
                    <a:pt x="557" y="174"/>
                    <a:pt x="559" y="161"/>
                  </a:cubicBezTo>
                  <a:cubicBezTo>
                    <a:pt x="565" y="127"/>
                    <a:pt x="565" y="64"/>
                    <a:pt x="481" y="59"/>
                  </a:cubicBezTo>
                  <a:cubicBezTo>
                    <a:pt x="481" y="59"/>
                    <a:pt x="459" y="29"/>
                    <a:pt x="418" y="12"/>
                  </a:cubicBezTo>
                  <a:cubicBezTo>
                    <a:pt x="410" y="8"/>
                    <a:pt x="401" y="6"/>
                    <a:pt x="392" y="4"/>
                  </a:cubicBezTo>
                  <a:cubicBezTo>
                    <a:pt x="392" y="4"/>
                    <a:pt x="392" y="4"/>
                    <a:pt x="392" y="4"/>
                  </a:cubicBezTo>
                  <a:cubicBezTo>
                    <a:pt x="382" y="2"/>
                    <a:pt x="372" y="0"/>
                    <a:pt x="361" y="0"/>
                  </a:cubicBezTo>
                </a:path>
              </a:pathLst>
            </a:custGeom>
            <a:solidFill>
              <a:srgbClr val="1D10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1">
              <a:extLst>
                <a:ext uri="{FF2B5EF4-FFF2-40B4-BE49-F238E27FC236}">
                  <a16:creationId xmlns:a16="http://schemas.microsoft.com/office/drawing/2014/main" id="{BB679570-FE42-43ED-9C28-8BF3AE8AC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9" y="1429"/>
              <a:ext cx="577" cy="555"/>
            </a:xfrm>
            <a:custGeom>
              <a:avLst/>
              <a:gdLst>
                <a:gd name="T0" fmla="*/ 320 w 325"/>
                <a:gd name="T1" fmla="*/ 172 h 313"/>
                <a:gd name="T2" fmla="*/ 316 w 325"/>
                <a:gd name="T3" fmla="*/ 201 h 313"/>
                <a:gd name="T4" fmla="*/ 242 w 325"/>
                <a:gd name="T5" fmla="*/ 301 h 313"/>
                <a:gd name="T6" fmla="*/ 177 w 325"/>
                <a:gd name="T7" fmla="*/ 312 h 313"/>
                <a:gd name="T8" fmla="*/ 135 w 325"/>
                <a:gd name="T9" fmla="*/ 304 h 313"/>
                <a:gd name="T10" fmla="*/ 55 w 325"/>
                <a:gd name="T11" fmla="*/ 247 h 313"/>
                <a:gd name="T12" fmla="*/ 0 w 325"/>
                <a:gd name="T13" fmla="*/ 199 h 313"/>
                <a:gd name="T14" fmla="*/ 33 w 325"/>
                <a:gd name="T15" fmla="*/ 159 h 313"/>
                <a:gd name="T16" fmla="*/ 68 w 325"/>
                <a:gd name="T17" fmla="*/ 170 h 313"/>
                <a:gd name="T18" fmla="*/ 107 w 325"/>
                <a:gd name="T19" fmla="*/ 137 h 313"/>
                <a:gd name="T20" fmla="*/ 154 w 325"/>
                <a:gd name="T21" fmla="*/ 35 h 313"/>
                <a:gd name="T22" fmla="*/ 252 w 325"/>
                <a:gd name="T23" fmla="*/ 0 h 313"/>
                <a:gd name="T24" fmla="*/ 308 w 325"/>
                <a:gd name="T25" fmla="*/ 39 h 313"/>
                <a:gd name="T26" fmla="*/ 320 w 325"/>
                <a:gd name="T27" fmla="*/ 172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5" h="313">
                  <a:moveTo>
                    <a:pt x="320" y="172"/>
                  </a:moveTo>
                  <a:cubicBezTo>
                    <a:pt x="319" y="181"/>
                    <a:pt x="318" y="191"/>
                    <a:pt x="316" y="201"/>
                  </a:cubicBezTo>
                  <a:cubicBezTo>
                    <a:pt x="307" y="244"/>
                    <a:pt x="286" y="283"/>
                    <a:pt x="242" y="301"/>
                  </a:cubicBezTo>
                  <a:cubicBezTo>
                    <a:pt x="218" y="310"/>
                    <a:pt x="196" y="313"/>
                    <a:pt x="177" y="312"/>
                  </a:cubicBezTo>
                  <a:cubicBezTo>
                    <a:pt x="162" y="311"/>
                    <a:pt x="148" y="308"/>
                    <a:pt x="135" y="304"/>
                  </a:cubicBezTo>
                  <a:cubicBezTo>
                    <a:pt x="84" y="287"/>
                    <a:pt x="55" y="247"/>
                    <a:pt x="55" y="247"/>
                  </a:cubicBezTo>
                  <a:cubicBezTo>
                    <a:pt x="55" y="247"/>
                    <a:pt x="0" y="261"/>
                    <a:pt x="0" y="199"/>
                  </a:cubicBezTo>
                  <a:cubicBezTo>
                    <a:pt x="0" y="175"/>
                    <a:pt x="19" y="160"/>
                    <a:pt x="33" y="159"/>
                  </a:cubicBezTo>
                  <a:cubicBezTo>
                    <a:pt x="57" y="157"/>
                    <a:pt x="68" y="170"/>
                    <a:pt x="68" y="170"/>
                  </a:cubicBezTo>
                  <a:cubicBezTo>
                    <a:pt x="68" y="170"/>
                    <a:pt x="99" y="168"/>
                    <a:pt x="107" y="137"/>
                  </a:cubicBezTo>
                  <a:cubicBezTo>
                    <a:pt x="114" y="106"/>
                    <a:pt x="121" y="53"/>
                    <a:pt x="154" y="35"/>
                  </a:cubicBezTo>
                  <a:cubicBezTo>
                    <a:pt x="186" y="17"/>
                    <a:pt x="242" y="28"/>
                    <a:pt x="252" y="0"/>
                  </a:cubicBezTo>
                  <a:cubicBezTo>
                    <a:pt x="252" y="0"/>
                    <a:pt x="280" y="41"/>
                    <a:pt x="308" y="39"/>
                  </a:cubicBezTo>
                  <a:cubicBezTo>
                    <a:pt x="308" y="39"/>
                    <a:pt x="325" y="105"/>
                    <a:pt x="320" y="172"/>
                  </a:cubicBezTo>
                </a:path>
              </a:pathLst>
            </a:custGeom>
            <a:solidFill>
              <a:srgbClr val="FFC2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2">
              <a:extLst>
                <a:ext uri="{FF2B5EF4-FFF2-40B4-BE49-F238E27FC236}">
                  <a16:creationId xmlns:a16="http://schemas.microsoft.com/office/drawing/2014/main" id="{C4D0832D-B69C-4051-A741-1FE989321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8" y="1498"/>
              <a:ext cx="8" cy="0"/>
            </a:xfrm>
            <a:custGeom>
              <a:avLst/>
              <a:gdLst>
                <a:gd name="T0" fmla="*/ 4 w 4"/>
                <a:gd name="T1" fmla="*/ 2 w 4"/>
                <a:gd name="T2" fmla="*/ 0 w 4"/>
                <a:gd name="T3" fmla="*/ 0 w 4"/>
                <a:gd name="T4" fmla="*/ 1 w 4"/>
                <a:gd name="T5" fmla="*/ 4 w 4"/>
                <a:gd name="T6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835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3">
              <a:extLst>
                <a:ext uri="{FF2B5EF4-FFF2-40B4-BE49-F238E27FC236}">
                  <a16:creationId xmlns:a16="http://schemas.microsoft.com/office/drawing/2014/main" id="{755C48CB-4918-4E44-9D94-1D3AD1B4F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2" y="1759"/>
              <a:ext cx="101" cy="186"/>
            </a:xfrm>
            <a:custGeom>
              <a:avLst/>
              <a:gdLst>
                <a:gd name="T0" fmla="*/ 57 w 57"/>
                <a:gd name="T1" fmla="*/ 0 h 105"/>
                <a:gd name="T2" fmla="*/ 55 w 57"/>
                <a:gd name="T3" fmla="*/ 15 h 105"/>
                <a:gd name="T4" fmla="*/ 0 w 57"/>
                <a:gd name="T5" fmla="*/ 105 h 105"/>
                <a:gd name="T6" fmla="*/ 0 w 57"/>
                <a:gd name="T7" fmla="*/ 105 h 105"/>
                <a:gd name="T8" fmla="*/ 55 w 57"/>
                <a:gd name="T9" fmla="*/ 15 h 105"/>
                <a:gd name="T10" fmla="*/ 57 w 57"/>
                <a:gd name="T1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105">
                  <a:moveTo>
                    <a:pt x="57" y="0"/>
                  </a:moveTo>
                  <a:cubicBezTo>
                    <a:pt x="57" y="5"/>
                    <a:pt x="56" y="10"/>
                    <a:pt x="55" y="15"/>
                  </a:cubicBezTo>
                  <a:cubicBezTo>
                    <a:pt x="48" y="51"/>
                    <a:pt x="32" y="8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32" y="85"/>
                    <a:pt x="48" y="51"/>
                    <a:pt x="55" y="15"/>
                  </a:cubicBezTo>
                  <a:cubicBezTo>
                    <a:pt x="56" y="10"/>
                    <a:pt x="57" y="5"/>
                    <a:pt x="57" y="0"/>
                  </a:cubicBezTo>
                </a:path>
              </a:pathLst>
            </a:custGeom>
            <a:solidFill>
              <a:srgbClr val="F3D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34">
              <a:extLst>
                <a:ext uri="{FF2B5EF4-FFF2-40B4-BE49-F238E27FC236}">
                  <a16:creationId xmlns:a16="http://schemas.microsoft.com/office/drawing/2014/main" id="{DA557643-B921-4B42-8E5F-6D23F322E7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2" y="1945"/>
              <a:ext cx="1" cy="1"/>
            </a:xfrm>
            <a:prstGeom prst="ellipse">
              <a:avLst/>
            </a:prstGeom>
            <a:solidFill>
              <a:srgbClr val="BA93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5">
              <a:extLst>
                <a:ext uri="{FF2B5EF4-FFF2-40B4-BE49-F238E27FC236}">
                  <a16:creationId xmlns:a16="http://schemas.microsoft.com/office/drawing/2014/main" id="{5BD4C9B3-C369-4735-B68D-6E61A5660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9" y="1945"/>
              <a:ext cx="103" cy="35"/>
            </a:xfrm>
            <a:custGeom>
              <a:avLst/>
              <a:gdLst>
                <a:gd name="T0" fmla="*/ 58 w 58"/>
                <a:gd name="T1" fmla="*/ 0 h 20"/>
                <a:gd name="T2" fmla="*/ 39 w 58"/>
                <a:gd name="T3" fmla="*/ 10 h 20"/>
                <a:gd name="T4" fmla="*/ 0 w 58"/>
                <a:gd name="T5" fmla="*/ 20 h 20"/>
                <a:gd name="T6" fmla="*/ 39 w 58"/>
                <a:gd name="T7" fmla="*/ 10 h 20"/>
                <a:gd name="T8" fmla="*/ 58 w 58"/>
                <a:gd name="T9" fmla="*/ 0 h 20"/>
                <a:gd name="T10" fmla="*/ 58 w 58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20">
                  <a:moveTo>
                    <a:pt x="58" y="0"/>
                  </a:moveTo>
                  <a:cubicBezTo>
                    <a:pt x="52" y="4"/>
                    <a:pt x="46" y="7"/>
                    <a:pt x="39" y="10"/>
                  </a:cubicBezTo>
                  <a:cubicBezTo>
                    <a:pt x="25" y="15"/>
                    <a:pt x="12" y="18"/>
                    <a:pt x="0" y="20"/>
                  </a:cubicBezTo>
                  <a:cubicBezTo>
                    <a:pt x="12" y="18"/>
                    <a:pt x="25" y="15"/>
                    <a:pt x="39" y="10"/>
                  </a:cubicBezTo>
                  <a:cubicBezTo>
                    <a:pt x="46" y="7"/>
                    <a:pt x="52" y="4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</a:path>
              </a:pathLst>
            </a:custGeom>
            <a:solidFill>
              <a:srgbClr val="835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6">
              <a:extLst>
                <a:ext uri="{FF2B5EF4-FFF2-40B4-BE49-F238E27FC236}">
                  <a16:creationId xmlns:a16="http://schemas.microsoft.com/office/drawing/2014/main" id="{3998103C-91D7-4993-B534-14D5C895E4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5" y="1853"/>
              <a:ext cx="229" cy="120"/>
            </a:xfrm>
            <a:custGeom>
              <a:avLst/>
              <a:gdLst>
                <a:gd name="T0" fmla="*/ 72 w 129"/>
                <a:gd name="T1" fmla="*/ 39 h 68"/>
                <a:gd name="T2" fmla="*/ 120 w 129"/>
                <a:gd name="T3" fmla="*/ 65 h 68"/>
                <a:gd name="T4" fmla="*/ 120 w 129"/>
                <a:gd name="T5" fmla="*/ 65 h 68"/>
                <a:gd name="T6" fmla="*/ 129 w 129"/>
                <a:gd name="T7" fmla="*/ 68 h 68"/>
                <a:gd name="T8" fmla="*/ 129 w 129"/>
                <a:gd name="T9" fmla="*/ 68 h 68"/>
                <a:gd name="T10" fmla="*/ 120 w 129"/>
                <a:gd name="T11" fmla="*/ 65 h 68"/>
                <a:gd name="T12" fmla="*/ 72 w 129"/>
                <a:gd name="T13" fmla="*/ 39 h 68"/>
                <a:gd name="T14" fmla="*/ 2 w 129"/>
                <a:gd name="T15" fmla="*/ 2 h 68"/>
                <a:gd name="T16" fmla="*/ 2 w 129"/>
                <a:gd name="T17" fmla="*/ 2 h 68"/>
                <a:gd name="T18" fmla="*/ 2 w 129"/>
                <a:gd name="T19" fmla="*/ 2 h 68"/>
                <a:gd name="T20" fmla="*/ 2 w 129"/>
                <a:gd name="T21" fmla="*/ 2 h 68"/>
                <a:gd name="T22" fmla="*/ 2 w 129"/>
                <a:gd name="T23" fmla="*/ 2 h 68"/>
                <a:gd name="T24" fmla="*/ 2 w 129"/>
                <a:gd name="T25" fmla="*/ 2 h 68"/>
                <a:gd name="T26" fmla="*/ 2 w 129"/>
                <a:gd name="T27" fmla="*/ 2 h 68"/>
                <a:gd name="T28" fmla="*/ 2 w 129"/>
                <a:gd name="T29" fmla="*/ 2 h 68"/>
                <a:gd name="T30" fmla="*/ 2 w 129"/>
                <a:gd name="T31" fmla="*/ 2 h 68"/>
                <a:gd name="T32" fmla="*/ 2 w 129"/>
                <a:gd name="T33" fmla="*/ 2 h 68"/>
                <a:gd name="T34" fmla="*/ 2 w 129"/>
                <a:gd name="T35" fmla="*/ 2 h 68"/>
                <a:gd name="T36" fmla="*/ 2 w 129"/>
                <a:gd name="T37" fmla="*/ 2 h 68"/>
                <a:gd name="T38" fmla="*/ 2 w 129"/>
                <a:gd name="T39" fmla="*/ 2 h 68"/>
                <a:gd name="T40" fmla="*/ 2 w 129"/>
                <a:gd name="T41" fmla="*/ 2 h 68"/>
                <a:gd name="T42" fmla="*/ 2 w 129"/>
                <a:gd name="T43" fmla="*/ 2 h 68"/>
                <a:gd name="T44" fmla="*/ 2 w 129"/>
                <a:gd name="T45" fmla="*/ 2 h 68"/>
                <a:gd name="T46" fmla="*/ 2 w 129"/>
                <a:gd name="T47" fmla="*/ 2 h 68"/>
                <a:gd name="T48" fmla="*/ 2 w 129"/>
                <a:gd name="T49" fmla="*/ 2 h 68"/>
                <a:gd name="T50" fmla="*/ 0 w 129"/>
                <a:gd name="T51" fmla="*/ 1 h 68"/>
                <a:gd name="T52" fmla="*/ 2 w 129"/>
                <a:gd name="T53" fmla="*/ 2 h 68"/>
                <a:gd name="T54" fmla="*/ 0 w 129"/>
                <a:gd name="T55" fmla="*/ 1 h 68"/>
                <a:gd name="T56" fmla="*/ 0 w 129"/>
                <a:gd name="T57" fmla="*/ 1 h 68"/>
                <a:gd name="T58" fmla="*/ 0 w 129"/>
                <a:gd name="T59" fmla="*/ 1 h 68"/>
                <a:gd name="T60" fmla="*/ 0 w 129"/>
                <a:gd name="T61" fmla="*/ 1 h 68"/>
                <a:gd name="T62" fmla="*/ 0 w 129"/>
                <a:gd name="T63" fmla="*/ 1 h 68"/>
                <a:gd name="T64" fmla="*/ 0 w 129"/>
                <a:gd name="T65" fmla="*/ 1 h 68"/>
                <a:gd name="T66" fmla="*/ 0 w 129"/>
                <a:gd name="T67" fmla="*/ 1 h 68"/>
                <a:gd name="T68" fmla="*/ 0 w 129"/>
                <a:gd name="T69" fmla="*/ 0 h 68"/>
                <a:gd name="T70" fmla="*/ 0 w 129"/>
                <a:gd name="T71" fmla="*/ 1 h 68"/>
                <a:gd name="T72" fmla="*/ 0 w 129"/>
                <a:gd name="T73" fmla="*/ 0 h 68"/>
                <a:gd name="T74" fmla="*/ 0 w 129"/>
                <a:gd name="T75" fmla="*/ 0 h 68"/>
                <a:gd name="T76" fmla="*/ 0 w 129"/>
                <a:gd name="T77" fmla="*/ 0 h 68"/>
                <a:gd name="T78" fmla="*/ 0 w 129"/>
                <a:gd name="T79" fmla="*/ 0 h 68"/>
                <a:gd name="T80" fmla="*/ 0 w 129"/>
                <a:gd name="T81" fmla="*/ 0 h 68"/>
                <a:gd name="T82" fmla="*/ 0 w 129"/>
                <a:gd name="T83" fmla="*/ 0 h 68"/>
                <a:gd name="T84" fmla="*/ 0 w 129"/>
                <a:gd name="T85" fmla="*/ 0 h 68"/>
                <a:gd name="T86" fmla="*/ 0 w 129"/>
                <a:gd name="T87" fmla="*/ 0 h 68"/>
                <a:gd name="T88" fmla="*/ 0 w 129"/>
                <a:gd name="T89" fmla="*/ 0 h 68"/>
                <a:gd name="T90" fmla="*/ 0 w 129"/>
                <a:gd name="T91" fmla="*/ 0 h 68"/>
                <a:gd name="T92" fmla="*/ 0 w 129"/>
                <a:gd name="T93" fmla="*/ 0 h 68"/>
                <a:gd name="T94" fmla="*/ 0 w 129"/>
                <a:gd name="T95" fmla="*/ 0 h 68"/>
                <a:gd name="T96" fmla="*/ 0 w 129"/>
                <a:gd name="T9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9" h="68">
                  <a:moveTo>
                    <a:pt x="72" y="39"/>
                  </a:moveTo>
                  <a:cubicBezTo>
                    <a:pt x="85" y="49"/>
                    <a:pt x="101" y="59"/>
                    <a:pt x="120" y="6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3" y="66"/>
                    <a:pt x="126" y="67"/>
                    <a:pt x="129" y="68"/>
                  </a:cubicBezTo>
                  <a:cubicBezTo>
                    <a:pt x="129" y="68"/>
                    <a:pt x="129" y="68"/>
                    <a:pt x="129" y="68"/>
                  </a:cubicBezTo>
                  <a:cubicBezTo>
                    <a:pt x="126" y="67"/>
                    <a:pt x="123" y="66"/>
                    <a:pt x="120" y="65"/>
                  </a:cubicBezTo>
                  <a:cubicBezTo>
                    <a:pt x="101" y="59"/>
                    <a:pt x="85" y="49"/>
                    <a:pt x="72" y="39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moveTo>
                    <a:pt x="0" y="1"/>
                  </a:moveTo>
                  <a:cubicBezTo>
                    <a:pt x="1" y="1"/>
                    <a:pt x="1" y="2"/>
                    <a:pt x="2" y="2"/>
                  </a:cubicBezTo>
                  <a:cubicBezTo>
                    <a:pt x="1" y="2"/>
                    <a:pt x="1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55A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7">
              <a:extLst>
                <a:ext uri="{FF2B5EF4-FFF2-40B4-BE49-F238E27FC236}">
                  <a16:creationId xmlns:a16="http://schemas.microsoft.com/office/drawing/2014/main" id="{B7BED0E5-9D61-48A4-BD11-E133BD0EB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4" y="1973"/>
              <a:ext cx="52" cy="9"/>
            </a:xfrm>
            <a:custGeom>
              <a:avLst/>
              <a:gdLst>
                <a:gd name="T0" fmla="*/ 0 w 29"/>
                <a:gd name="T1" fmla="*/ 0 h 5"/>
                <a:gd name="T2" fmla="*/ 0 w 29"/>
                <a:gd name="T3" fmla="*/ 0 h 5"/>
                <a:gd name="T4" fmla="*/ 29 w 29"/>
                <a:gd name="T5" fmla="*/ 5 h 5"/>
                <a:gd name="T6" fmla="*/ 0 w 29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" y="2"/>
                    <a:pt x="18" y="4"/>
                    <a:pt x="29" y="5"/>
                  </a:cubicBezTo>
                  <a:cubicBezTo>
                    <a:pt x="18" y="4"/>
                    <a:pt x="9" y="2"/>
                    <a:pt x="0" y="0"/>
                  </a:cubicBezTo>
                </a:path>
              </a:pathLst>
            </a:custGeom>
            <a:solidFill>
              <a:srgbClr val="8359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8">
              <a:extLst>
                <a:ext uri="{FF2B5EF4-FFF2-40B4-BE49-F238E27FC236}">
                  <a16:creationId xmlns:a16="http://schemas.microsoft.com/office/drawing/2014/main" id="{C82E258F-FA50-465C-9BAC-489849847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" y="1498"/>
              <a:ext cx="572" cy="484"/>
            </a:xfrm>
            <a:custGeom>
              <a:avLst/>
              <a:gdLst>
                <a:gd name="T0" fmla="*/ 305 w 322"/>
                <a:gd name="T1" fmla="*/ 0 h 273"/>
                <a:gd name="T2" fmla="*/ 302 w 322"/>
                <a:gd name="T3" fmla="*/ 0 h 273"/>
                <a:gd name="T4" fmla="*/ 301 w 322"/>
                <a:gd name="T5" fmla="*/ 0 h 273"/>
                <a:gd name="T6" fmla="*/ 310 w 322"/>
                <a:gd name="T7" fmla="*/ 118 h 273"/>
                <a:gd name="T8" fmla="*/ 306 w 322"/>
                <a:gd name="T9" fmla="*/ 147 h 273"/>
                <a:gd name="T10" fmla="*/ 232 w 322"/>
                <a:gd name="T11" fmla="*/ 247 h 273"/>
                <a:gd name="T12" fmla="*/ 173 w 322"/>
                <a:gd name="T13" fmla="*/ 258 h 273"/>
                <a:gd name="T14" fmla="*/ 167 w 322"/>
                <a:gd name="T15" fmla="*/ 258 h 273"/>
                <a:gd name="T16" fmla="*/ 125 w 322"/>
                <a:gd name="T17" fmla="*/ 250 h 273"/>
                <a:gd name="T18" fmla="*/ 45 w 322"/>
                <a:gd name="T19" fmla="*/ 193 h 273"/>
                <a:gd name="T20" fmla="*/ 33 w 322"/>
                <a:gd name="T21" fmla="*/ 195 h 273"/>
                <a:gd name="T22" fmla="*/ 0 w 322"/>
                <a:gd name="T23" fmla="*/ 180 h 273"/>
                <a:gd name="T24" fmla="*/ 12 w 322"/>
                <a:gd name="T25" fmla="*/ 200 h 273"/>
                <a:gd name="T26" fmla="*/ 12 w 322"/>
                <a:gd name="T27" fmla="*/ 200 h 273"/>
                <a:gd name="T28" fmla="*/ 12 w 322"/>
                <a:gd name="T29" fmla="*/ 200 h 273"/>
                <a:gd name="T30" fmla="*/ 12 w 322"/>
                <a:gd name="T31" fmla="*/ 200 h 273"/>
                <a:gd name="T32" fmla="*/ 12 w 322"/>
                <a:gd name="T33" fmla="*/ 200 h 273"/>
                <a:gd name="T34" fmla="*/ 12 w 322"/>
                <a:gd name="T35" fmla="*/ 200 h 273"/>
                <a:gd name="T36" fmla="*/ 12 w 322"/>
                <a:gd name="T37" fmla="*/ 200 h 273"/>
                <a:gd name="T38" fmla="*/ 12 w 322"/>
                <a:gd name="T39" fmla="*/ 200 h 273"/>
                <a:gd name="T40" fmla="*/ 12 w 322"/>
                <a:gd name="T41" fmla="*/ 200 h 273"/>
                <a:gd name="T42" fmla="*/ 12 w 322"/>
                <a:gd name="T43" fmla="*/ 201 h 273"/>
                <a:gd name="T44" fmla="*/ 12 w 322"/>
                <a:gd name="T45" fmla="*/ 201 h 273"/>
                <a:gd name="T46" fmla="*/ 12 w 322"/>
                <a:gd name="T47" fmla="*/ 201 h 273"/>
                <a:gd name="T48" fmla="*/ 12 w 322"/>
                <a:gd name="T49" fmla="*/ 201 h 273"/>
                <a:gd name="T50" fmla="*/ 12 w 322"/>
                <a:gd name="T51" fmla="*/ 201 h 273"/>
                <a:gd name="T52" fmla="*/ 12 w 322"/>
                <a:gd name="T53" fmla="*/ 201 h 273"/>
                <a:gd name="T54" fmla="*/ 14 w 322"/>
                <a:gd name="T55" fmla="*/ 202 h 273"/>
                <a:gd name="T56" fmla="*/ 14 w 322"/>
                <a:gd name="T57" fmla="*/ 202 h 273"/>
                <a:gd name="T58" fmla="*/ 14 w 322"/>
                <a:gd name="T59" fmla="*/ 202 h 273"/>
                <a:gd name="T60" fmla="*/ 14 w 322"/>
                <a:gd name="T61" fmla="*/ 202 h 273"/>
                <a:gd name="T62" fmla="*/ 14 w 322"/>
                <a:gd name="T63" fmla="*/ 202 h 273"/>
                <a:gd name="T64" fmla="*/ 14 w 322"/>
                <a:gd name="T65" fmla="*/ 202 h 273"/>
                <a:gd name="T66" fmla="*/ 14 w 322"/>
                <a:gd name="T67" fmla="*/ 202 h 273"/>
                <a:gd name="T68" fmla="*/ 14 w 322"/>
                <a:gd name="T69" fmla="*/ 202 h 273"/>
                <a:gd name="T70" fmla="*/ 14 w 322"/>
                <a:gd name="T71" fmla="*/ 202 h 273"/>
                <a:gd name="T72" fmla="*/ 14 w 322"/>
                <a:gd name="T73" fmla="*/ 202 h 273"/>
                <a:gd name="T74" fmla="*/ 14 w 322"/>
                <a:gd name="T75" fmla="*/ 202 h 273"/>
                <a:gd name="T76" fmla="*/ 14 w 322"/>
                <a:gd name="T77" fmla="*/ 202 h 273"/>
                <a:gd name="T78" fmla="*/ 14 w 322"/>
                <a:gd name="T79" fmla="*/ 202 h 273"/>
                <a:gd name="T80" fmla="*/ 39 w 322"/>
                <a:gd name="T81" fmla="*/ 210 h 273"/>
                <a:gd name="T82" fmla="*/ 52 w 322"/>
                <a:gd name="T83" fmla="*/ 208 h 273"/>
                <a:gd name="T84" fmla="*/ 84 w 322"/>
                <a:gd name="T85" fmla="*/ 239 h 273"/>
                <a:gd name="T86" fmla="*/ 132 w 322"/>
                <a:gd name="T87" fmla="*/ 265 h 273"/>
                <a:gd name="T88" fmla="*/ 141 w 322"/>
                <a:gd name="T89" fmla="*/ 268 h 273"/>
                <a:gd name="T90" fmla="*/ 170 w 322"/>
                <a:gd name="T91" fmla="*/ 273 h 273"/>
                <a:gd name="T92" fmla="*/ 174 w 322"/>
                <a:gd name="T93" fmla="*/ 273 h 273"/>
                <a:gd name="T94" fmla="*/ 174 w 322"/>
                <a:gd name="T95" fmla="*/ 273 h 273"/>
                <a:gd name="T96" fmla="*/ 174 w 322"/>
                <a:gd name="T97" fmla="*/ 273 h 273"/>
                <a:gd name="T98" fmla="*/ 174 w 322"/>
                <a:gd name="T99" fmla="*/ 273 h 273"/>
                <a:gd name="T100" fmla="*/ 180 w 322"/>
                <a:gd name="T101" fmla="*/ 273 h 273"/>
                <a:gd name="T102" fmla="*/ 200 w 322"/>
                <a:gd name="T103" fmla="*/ 272 h 273"/>
                <a:gd name="T104" fmla="*/ 239 w 322"/>
                <a:gd name="T105" fmla="*/ 262 h 273"/>
                <a:gd name="T106" fmla="*/ 258 w 322"/>
                <a:gd name="T107" fmla="*/ 252 h 273"/>
                <a:gd name="T108" fmla="*/ 258 w 322"/>
                <a:gd name="T109" fmla="*/ 252 h 273"/>
                <a:gd name="T110" fmla="*/ 313 w 322"/>
                <a:gd name="T111" fmla="*/ 162 h 273"/>
                <a:gd name="T112" fmla="*/ 315 w 322"/>
                <a:gd name="T113" fmla="*/ 147 h 273"/>
                <a:gd name="T114" fmla="*/ 317 w 322"/>
                <a:gd name="T115" fmla="*/ 133 h 273"/>
                <a:gd name="T116" fmla="*/ 305 w 322"/>
                <a:gd name="T117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2" h="273">
                  <a:moveTo>
                    <a:pt x="305" y="0"/>
                  </a:moveTo>
                  <a:cubicBezTo>
                    <a:pt x="304" y="0"/>
                    <a:pt x="303" y="0"/>
                    <a:pt x="302" y="0"/>
                  </a:cubicBezTo>
                  <a:cubicBezTo>
                    <a:pt x="302" y="0"/>
                    <a:pt x="302" y="0"/>
                    <a:pt x="301" y="0"/>
                  </a:cubicBezTo>
                  <a:cubicBezTo>
                    <a:pt x="306" y="23"/>
                    <a:pt x="314" y="70"/>
                    <a:pt x="310" y="118"/>
                  </a:cubicBezTo>
                  <a:cubicBezTo>
                    <a:pt x="309" y="127"/>
                    <a:pt x="308" y="137"/>
                    <a:pt x="306" y="147"/>
                  </a:cubicBezTo>
                  <a:cubicBezTo>
                    <a:pt x="298" y="190"/>
                    <a:pt x="277" y="229"/>
                    <a:pt x="232" y="247"/>
                  </a:cubicBezTo>
                  <a:cubicBezTo>
                    <a:pt x="211" y="255"/>
                    <a:pt x="191" y="258"/>
                    <a:pt x="173" y="258"/>
                  </a:cubicBezTo>
                  <a:cubicBezTo>
                    <a:pt x="171" y="258"/>
                    <a:pt x="169" y="258"/>
                    <a:pt x="167" y="258"/>
                  </a:cubicBezTo>
                  <a:cubicBezTo>
                    <a:pt x="152" y="257"/>
                    <a:pt x="138" y="254"/>
                    <a:pt x="125" y="250"/>
                  </a:cubicBezTo>
                  <a:cubicBezTo>
                    <a:pt x="75" y="233"/>
                    <a:pt x="45" y="193"/>
                    <a:pt x="45" y="193"/>
                  </a:cubicBezTo>
                  <a:cubicBezTo>
                    <a:pt x="45" y="193"/>
                    <a:pt x="40" y="195"/>
                    <a:pt x="33" y="195"/>
                  </a:cubicBezTo>
                  <a:cubicBezTo>
                    <a:pt x="22" y="195"/>
                    <a:pt x="9" y="192"/>
                    <a:pt x="0" y="180"/>
                  </a:cubicBezTo>
                  <a:cubicBezTo>
                    <a:pt x="2" y="189"/>
                    <a:pt x="6" y="196"/>
                    <a:pt x="12" y="200"/>
                  </a:cubicBezTo>
                  <a:cubicBezTo>
                    <a:pt x="12" y="200"/>
                    <a:pt x="12" y="200"/>
                    <a:pt x="12" y="200"/>
                  </a:cubicBezTo>
                  <a:cubicBezTo>
                    <a:pt x="12" y="200"/>
                    <a:pt x="12" y="200"/>
                    <a:pt x="12" y="200"/>
                  </a:cubicBezTo>
                  <a:cubicBezTo>
                    <a:pt x="12" y="200"/>
                    <a:pt x="12" y="200"/>
                    <a:pt x="12" y="200"/>
                  </a:cubicBezTo>
                  <a:cubicBezTo>
                    <a:pt x="12" y="200"/>
                    <a:pt x="12" y="200"/>
                    <a:pt x="12" y="200"/>
                  </a:cubicBezTo>
                  <a:cubicBezTo>
                    <a:pt x="12" y="200"/>
                    <a:pt x="12" y="200"/>
                    <a:pt x="12" y="200"/>
                  </a:cubicBezTo>
                  <a:cubicBezTo>
                    <a:pt x="12" y="200"/>
                    <a:pt x="12" y="200"/>
                    <a:pt x="12" y="200"/>
                  </a:cubicBezTo>
                  <a:cubicBezTo>
                    <a:pt x="12" y="200"/>
                    <a:pt x="12" y="200"/>
                    <a:pt x="12" y="200"/>
                  </a:cubicBezTo>
                  <a:cubicBezTo>
                    <a:pt x="12" y="200"/>
                    <a:pt x="12" y="200"/>
                    <a:pt x="12" y="200"/>
                  </a:cubicBezTo>
                  <a:cubicBezTo>
                    <a:pt x="12" y="200"/>
                    <a:pt x="12" y="200"/>
                    <a:pt x="12" y="201"/>
                  </a:cubicBezTo>
                  <a:cubicBezTo>
                    <a:pt x="12" y="201"/>
                    <a:pt x="12" y="201"/>
                    <a:pt x="12" y="201"/>
                  </a:cubicBezTo>
                  <a:cubicBezTo>
                    <a:pt x="12" y="201"/>
                    <a:pt x="12" y="201"/>
                    <a:pt x="12" y="201"/>
                  </a:cubicBezTo>
                  <a:cubicBezTo>
                    <a:pt x="12" y="201"/>
                    <a:pt x="12" y="201"/>
                    <a:pt x="12" y="201"/>
                  </a:cubicBezTo>
                  <a:cubicBezTo>
                    <a:pt x="12" y="201"/>
                    <a:pt x="12" y="201"/>
                    <a:pt x="12" y="201"/>
                  </a:cubicBezTo>
                  <a:cubicBezTo>
                    <a:pt x="12" y="201"/>
                    <a:pt x="12" y="201"/>
                    <a:pt x="12" y="201"/>
                  </a:cubicBezTo>
                  <a:cubicBezTo>
                    <a:pt x="13" y="201"/>
                    <a:pt x="13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22" y="208"/>
                    <a:pt x="32" y="210"/>
                    <a:pt x="39" y="210"/>
                  </a:cubicBezTo>
                  <a:cubicBezTo>
                    <a:pt x="47" y="210"/>
                    <a:pt x="52" y="208"/>
                    <a:pt x="52" y="208"/>
                  </a:cubicBezTo>
                  <a:cubicBezTo>
                    <a:pt x="52" y="208"/>
                    <a:pt x="64" y="224"/>
                    <a:pt x="84" y="239"/>
                  </a:cubicBezTo>
                  <a:cubicBezTo>
                    <a:pt x="97" y="249"/>
                    <a:pt x="113" y="259"/>
                    <a:pt x="132" y="265"/>
                  </a:cubicBezTo>
                  <a:cubicBezTo>
                    <a:pt x="135" y="266"/>
                    <a:pt x="138" y="267"/>
                    <a:pt x="141" y="268"/>
                  </a:cubicBezTo>
                  <a:cubicBezTo>
                    <a:pt x="150" y="270"/>
                    <a:pt x="159" y="272"/>
                    <a:pt x="170" y="273"/>
                  </a:cubicBezTo>
                  <a:cubicBezTo>
                    <a:pt x="171" y="273"/>
                    <a:pt x="172" y="273"/>
                    <a:pt x="174" y="273"/>
                  </a:cubicBezTo>
                  <a:cubicBezTo>
                    <a:pt x="174" y="273"/>
                    <a:pt x="174" y="273"/>
                    <a:pt x="174" y="273"/>
                  </a:cubicBezTo>
                  <a:cubicBezTo>
                    <a:pt x="174" y="273"/>
                    <a:pt x="174" y="273"/>
                    <a:pt x="174" y="273"/>
                  </a:cubicBezTo>
                  <a:cubicBezTo>
                    <a:pt x="174" y="273"/>
                    <a:pt x="174" y="273"/>
                    <a:pt x="174" y="273"/>
                  </a:cubicBezTo>
                  <a:cubicBezTo>
                    <a:pt x="176" y="273"/>
                    <a:pt x="178" y="273"/>
                    <a:pt x="180" y="273"/>
                  </a:cubicBezTo>
                  <a:cubicBezTo>
                    <a:pt x="186" y="273"/>
                    <a:pt x="193" y="273"/>
                    <a:pt x="200" y="272"/>
                  </a:cubicBezTo>
                  <a:cubicBezTo>
                    <a:pt x="212" y="270"/>
                    <a:pt x="225" y="267"/>
                    <a:pt x="239" y="262"/>
                  </a:cubicBezTo>
                  <a:cubicBezTo>
                    <a:pt x="246" y="259"/>
                    <a:pt x="252" y="256"/>
                    <a:pt x="258" y="252"/>
                  </a:cubicBezTo>
                  <a:cubicBezTo>
                    <a:pt x="258" y="252"/>
                    <a:pt x="258" y="252"/>
                    <a:pt x="258" y="252"/>
                  </a:cubicBezTo>
                  <a:cubicBezTo>
                    <a:pt x="290" y="232"/>
                    <a:pt x="306" y="198"/>
                    <a:pt x="313" y="162"/>
                  </a:cubicBezTo>
                  <a:cubicBezTo>
                    <a:pt x="314" y="157"/>
                    <a:pt x="315" y="152"/>
                    <a:pt x="315" y="147"/>
                  </a:cubicBezTo>
                  <a:cubicBezTo>
                    <a:pt x="316" y="142"/>
                    <a:pt x="316" y="137"/>
                    <a:pt x="317" y="133"/>
                  </a:cubicBezTo>
                  <a:cubicBezTo>
                    <a:pt x="322" y="66"/>
                    <a:pt x="305" y="1"/>
                    <a:pt x="305" y="0"/>
                  </a:cubicBezTo>
                </a:path>
              </a:pathLst>
            </a:custGeom>
            <a:solidFill>
              <a:srgbClr val="F3B1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9">
              <a:extLst>
                <a:ext uri="{FF2B5EF4-FFF2-40B4-BE49-F238E27FC236}">
                  <a16:creationId xmlns:a16="http://schemas.microsoft.com/office/drawing/2014/main" id="{94A0F1AF-DDBD-4391-99A5-2819E256C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0" y="2048"/>
              <a:ext cx="205" cy="177"/>
            </a:xfrm>
            <a:custGeom>
              <a:avLst/>
              <a:gdLst>
                <a:gd name="T0" fmla="*/ 7 w 116"/>
                <a:gd name="T1" fmla="*/ 54 h 100"/>
                <a:gd name="T2" fmla="*/ 29 w 116"/>
                <a:gd name="T3" fmla="*/ 100 h 100"/>
                <a:gd name="T4" fmla="*/ 54 w 116"/>
                <a:gd name="T5" fmla="*/ 90 h 100"/>
                <a:gd name="T6" fmla="*/ 67 w 116"/>
                <a:gd name="T7" fmla="*/ 90 h 100"/>
                <a:gd name="T8" fmla="*/ 99 w 116"/>
                <a:gd name="T9" fmla="*/ 87 h 100"/>
                <a:gd name="T10" fmla="*/ 103 w 116"/>
                <a:gd name="T11" fmla="*/ 75 h 100"/>
                <a:gd name="T12" fmla="*/ 112 w 116"/>
                <a:gd name="T13" fmla="*/ 66 h 100"/>
                <a:gd name="T14" fmla="*/ 107 w 116"/>
                <a:gd name="T15" fmla="*/ 54 h 100"/>
                <a:gd name="T16" fmla="*/ 115 w 116"/>
                <a:gd name="T17" fmla="*/ 40 h 100"/>
                <a:gd name="T18" fmla="*/ 104 w 116"/>
                <a:gd name="T19" fmla="*/ 30 h 100"/>
                <a:gd name="T20" fmla="*/ 102 w 116"/>
                <a:gd name="T21" fmla="*/ 15 h 100"/>
                <a:gd name="T22" fmla="*/ 81 w 116"/>
                <a:gd name="T23" fmla="*/ 11 h 100"/>
                <a:gd name="T24" fmla="*/ 81 w 116"/>
                <a:gd name="T25" fmla="*/ 27 h 100"/>
                <a:gd name="T26" fmla="*/ 46 w 116"/>
                <a:gd name="T27" fmla="*/ 27 h 100"/>
                <a:gd name="T28" fmla="*/ 46 w 116"/>
                <a:gd name="T29" fmla="*/ 0 h 100"/>
                <a:gd name="T30" fmla="*/ 30 w 116"/>
                <a:gd name="T31" fmla="*/ 21 h 100"/>
                <a:gd name="T32" fmla="*/ 28 w 116"/>
                <a:gd name="T33" fmla="*/ 42 h 100"/>
                <a:gd name="T34" fmla="*/ 7 w 116"/>
                <a:gd name="T35" fmla="*/ 5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6" h="100">
                  <a:moveTo>
                    <a:pt x="7" y="54"/>
                  </a:moveTo>
                  <a:cubicBezTo>
                    <a:pt x="7" y="54"/>
                    <a:pt x="0" y="88"/>
                    <a:pt x="29" y="100"/>
                  </a:cubicBezTo>
                  <a:cubicBezTo>
                    <a:pt x="29" y="100"/>
                    <a:pt x="47" y="91"/>
                    <a:pt x="54" y="90"/>
                  </a:cubicBezTo>
                  <a:cubicBezTo>
                    <a:pt x="57" y="90"/>
                    <a:pt x="61" y="90"/>
                    <a:pt x="67" y="90"/>
                  </a:cubicBezTo>
                  <a:cubicBezTo>
                    <a:pt x="80" y="91"/>
                    <a:pt x="96" y="91"/>
                    <a:pt x="99" y="87"/>
                  </a:cubicBezTo>
                  <a:cubicBezTo>
                    <a:pt x="104" y="81"/>
                    <a:pt x="103" y="75"/>
                    <a:pt x="103" y="75"/>
                  </a:cubicBezTo>
                  <a:cubicBezTo>
                    <a:pt x="103" y="75"/>
                    <a:pt x="111" y="70"/>
                    <a:pt x="112" y="66"/>
                  </a:cubicBezTo>
                  <a:cubicBezTo>
                    <a:pt x="114" y="61"/>
                    <a:pt x="107" y="54"/>
                    <a:pt x="107" y="54"/>
                  </a:cubicBezTo>
                  <a:cubicBezTo>
                    <a:pt x="107" y="54"/>
                    <a:pt x="116" y="48"/>
                    <a:pt x="115" y="40"/>
                  </a:cubicBezTo>
                  <a:cubicBezTo>
                    <a:pt x="114" y="32"/>
                    <a:pt x="104" y="30"/>
                    <a:pt x="104" y="30"/>
                  </a:cubicBezTo>
                  <a:cubicBezTo>
                    <a:pt x="104" y="30"/>
                    <a:pt x="106" y="22"/>
                    <a:pt x="102" y="15"/>
                  </a:cubicBezTo>
                  <a:cubicBezTo>
                    <a:pt x="98" y="9"/>
                    <a:pt x="81" y="11"/>
                    <a:pt x="81" y="11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7"/>
                    <a:pt x="62" y="40"/>
                    <a:pt x="46" y="27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33" y="12"/>
                    <a:pt x="30" y="21"/>
                  </a:cubicBezTo>
                  <a:cubicBezTo>
                    <a:pt x="28" y="29"/>
                    <a:pt x="31" y="38"/>
                    <a:pt x="28" y="42"/>
                  </a:cubicBezTo>
                  <a:cubicBezTo>
                    <a:pt x="26" y="46"/>
                    <a:pt x="7" y="54"/>
                    <a:pt x="7" y="54"/>
                  </a:cubicBezTo>
                </a:path>
              </a:pathLst>
            </a:custGeom>
            <a:solidFill>
              <a:srgbClr val="FFC2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0">
              <a:extLst>
                <a:ext uri="{FF2B5EF4-FFF2-40B4-BE49-F238E27FC236}">
                  <a16:creationId xmlns:a16="http://schemas.microsoft.com/office/drawing/2014/main" id="{DA3F76CF-4BD9-437E-9B2F-3A14F65BF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" y="2066"/>
              <a:ext cx="7" cy="1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1 h 1"/>
                <a:gd name="T4" fmla="*/ 0 w 4"/>
                <a:gd name="T5" fmla="*/ 1 h 1"/>
                <a:gd name="T6" fmla="*/ 4 w 4"/>
                <a:gd name="T7" fmla="*/ 0 h 1"/>
                <a:gd name="T8" fmla="*/ 4 w 4"/>
                <a:gd name="T9" fmla="*/ 0 h 1"/>
                <a:gd name="T10" fmla="*/ 4 w 4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F3D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Oval 41">
              <a:extLst>
                <a:ext uri="{FF2B5EF4-FFF2-40B4-BE49-F238E27FC236}">
                  <a16:creationId xmlns:a16="http://schemas.microsoft.com/office/drawing/2014/main" id="{54F56A1F-F28D-499E-8DBD-4D6038AF37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3" y="2067"/>
              <a:ext cx="1" cy="1"/>
            </a:xfrm>
            <a:prstGeom prst="ellipse">
              <a:avLst/>
            </a:prstGeom>
            <a:solidFill>
              <a:srgbClr val="EBA5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2">
              <a:extLst>
                <a:ext uri="{FF2B5EF4-FFF2-40B4-BE49-F238E27FC236}">
                  <a16:creationId xmlns:a16="http://schemas.microsoft.com/office/drawing/2014/main" id="{40BBBEE0-533C-4A94-ADCC-449FFBF7D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" y="2067"/>
              <a:ext cx="0" cy="7"/>
            </a:xfrm>
            <a:custGeom>
              <a:avLst/>
              <a:gdLst>
                <a:gd name="T0" fmla="*/ 0 h 4"/>
                <a:gd name="T1" fmla="*/ 0 h 4"/>
                <a:gd name="T2" fmla="*/ 4 h 4"/>
                <a:gd name="T3" fmla="*/ 4 h 4"/>
                <a:gd name="T4" fmla="*/ 0 h 4"/>
                <a:gd name="T5" fmla="*/ 0 h 4"/>
                <a:gd name="T6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B82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3">
              <a:extLst>
                <a:ext uri="{FF2B5EF4-FFF2-40B4-BE49-F238E27FC236}">
                  <a16:creationId xmlns:a16="http://schemas.microsoft.com/office/drawing/2014/main" id="{4B14CD30-DC19-496F-8027-DCF2175C57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1" y="2092"/>
              <a:ext cx="43" cy="115"/>
            </a:xfrm>
            <a:custGeom>
              <a:avLst/>
              <a:gdLst>
                <a:gd name="T0" fmla="*/ 16 w 24"/>
                <a:gd name="T1" fmla="*/ 47 h 65"/>
                <a:gd name="T2" fmla="*/ 12 w 24"/>
                <a:gd name="T3" fmla="*/ 50 h 65"/>
                <a:gd name="T4" fmla="*/ 8 w 24"/>
                <a:gd name="T5" fmla="*/ 62 h 65"/>
                <a:gd name="T6" fmla="*/ 0 w 24"/>
                <a:gd name="T7" fmla="*/ 65 h 65"/>
                <a:gd name="T8" fmla="*/ 8 w 24"/>
                <a:gd name="T9" fmla="*/ 62 h 65"/>
                <a:gd name="T10" fmla="*/ 12 w 24"/>
                <a:gd name="T11" fmla="*/ 50 h 65"/>
                <a:gd name="T12" fmla="*/ 16 w 24"/>
                <a:gd name="T13" fmla="*/ 47 h 65"/>
                <a:gd name="T14" fmla="*/ 19 w 24"/>
                <a:gd name="T15" fmla="*/ 33 h 65"/>
                <a:gd name="T16" fmla="*/ 21 w 24"/>
                <a:gd name="T17" fmla="*/ 41 h 65"/>
                <a:gd name="T18" fmla="*/ 21 w 24"/>
                <a:gd name="T19" fmla="*/ 42 h 65"/>
                <a:gd name="T20" fmla="*/ 21 w 24"/>
                <a:gd name="T21" fmla="*/ 41 h 65"/>
                <a:gd name="T22" fmla="*/ 19 w 24"/>
                <a:gd name="T23" fmla="*/ 33 h 65"/>
                <a:gd name="T24" fmla="*/ 24 w 24"/>
                <a:gd name="T25" fmla="*/ 17 h 65"/>
                <a:gd name="T26" fmla="*/ 16 w 24"/>
                <a:gd name="T27" fmla="*/ 29 h 65"/>
                <a:gd name="T28" fmla="*/ 16 w 24"/>
                <a:gd name="T29" fmla="*/ 29 h 65"/>
                <a:gd name="T30" fmla="*/ 24 w 24"/>
                <a:gd name="T31" fmla="*/ 17 h 65"/>
                <a:gd name="T32" fmla="*/ 13 w 24"/>
                <a:gd name="T33" fmla="*/ 0 h 65"/>
                <a:gd name="T34" fmla="*/ 13 w 24"/>
                <a:gd name="T35" fmla="*/ 5 h 65"/>
                <a:gd name="T36" fmla="*/ 22 w 24"/>
                <a:gd name="T37" fmla="*/ 10 h 65"/>
                <a:gd name="T38" fmla="*/ 13 w 24"/>
                <a:gd name="T39" fmla="*/ 5 h 65"/>
                <a:gd name="T40" fmla="*/ 13 w 24"/>
                <a:gd name="T4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" h="65">
                  <a:moveTo>
                    <a:pt x="16" y="47"/>
                  </a:moveTo>
                  <a:cubicBezTo>
                    <a:pt x="14" y="49"/>
                    <a:pt x="12" y="50"/>
                    <a:pt x="12" y="50"/>
                  </a:cubicBezTo>
                  <a:cubicBezTo>
                    <a:pt x="12" y="50"/>
                    <a:pt x="13" y="56"/>
                    <a:pt x="8" y="62"/>
                  </a:cubicBezTo>
                  <a:cubicBezTo>
                    <a:pt x="7" y="63"/>
                    <a:pt x="4" y="64"/>
                    <a:pt x="0" y="65"/>
                  </a:cubicBezTo>
                  <a:cubicBezTo>
                    <a:pt x="4" y="64"/>
                    <a:pt x="7" y="63"/>
                    <a:pt x="8" y="62"/>
                  </a:cubicBezTo>
                  <a:cubicBezTo>
                    <a:pt x="13" y="56"/>
                    <a:pt x="12" y="50"/>
                    <a:pt x="12" y="50"/>
                  </a:cubicBezTo>
                  <a:cubicBezTo>
                    <a:pt x="12" y="50"/>
                    <a:pt x="14" y="49"/>
                    <a:pt x="16" y="47"/>
                  </a:cubicBezTo>
                  <a:moveTo>
                    <a:pt x="19" y="33"/>
                  </a:moveTo>
                  <a:cubicBezTo>
                    <a:pt x="21" y="36"/>
                    <a:pt x="22" y="38"/>
                    <a:pt x="21" y="41"/>
                  </a:cubicBezTo>
                  <a:cubicBezTo>
                    <a:pt x="21" y="41"/>
                    <a:pt x="21" y="41"/>
                    <a:pt x="21" y="42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22" y="38"/>
                    <a:pt x="21" y="36"/>
                    <a:pt x="19" y="33"/>
                  </a:cubicBezTo>
                  <a:moveTo>
                    <a:pt x="24" y="17"/>
                  </a:moveTo>
                  <a:cubicBezTo>
                    <a:pt x="23" y="24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23" y="24"/>
                    <a:pt x="24" y="17"/>
                  </a:cubicBezTo>
                  <a:moveTo>
                    <a:pt x="13" y="0"/>
                  </a:moveTo>
                  <a:cubicBezTo>
                    <a:pt x="13" y="3"/>
                    <a:pt x="13" y="5"/>
                    <a:pt x="13" y="5"/>
                  </a:cubicBezTo>
                  <a:cubicBezTo>
                    <a:pt x="13" y="5"/>
                    <a:pt x="18" y="6"/>
                    <a:pt x="22" y="10"/>
                  </a:cubicBezTo>
                  <a:cubicBezTo>
                    <a:pt x="18" y="6"/>
                    <a:pt x="13" y="5"/>
                    <a:pt x="13" y="5"/>
                  </a:cubicBezTo>
                  <a:cubicBezTo>
                    <a:pt x="13" y="5"/>
                    <a:pt x="13" y="3"/>
                    <a:pt x="13" y="0"/>
                  </a:cubicBezTo>
                </a:path>
              </a:pathLst>
            </a:custGeom>
            <a:solidFill>
              <a:srgbClr val="F3D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4">
              <a:extLst>
                <a:ext uri="{FF2B5EF4-FFF2-40B4-BE49-F238E27FC236}">
                  <a16:creationId xmlns:a16="http://schemas.microsoft.com/office/drawing/2014/main" id="{85517089-8380-4DC6-8872-46963AEB4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3" y="2066"/>
              <a:ext cx="61" cy="141"/>
            </a:xfrm>
            <a:custGeom>
              <a:avLst/>
              <a:gdLst>
                <a:gd name="T0" fmla="*/ 4 w 34"/>
                <a:gd name="T1" fmla="*/ 0 h 80"/>
                <a:gd name="T2" fmla="*/ 0 w 34"/>
                <a:gd name="T3" fmla="*/ 1 h 80"/>
                <a:gd name="T4" fmla="*/ 0 w 34"/>
                <a:gd name="T5" fmla="*/ 1 h 80"/>
                <a:gd name="T6" fmla="*/ 0 w 34"/>
                <a:gd name="T7" fmla="*/ 1 h 80"/>
                <a:gd name="T8" fmla="*/ 0 w 34"/>
                <a:gd name="T9" fmla="*/ 5 h 80"/>
                <a:gd name="T10" fmla="*/ 9 w 34"/>
                <a:gd name="T11" fmla="*/ 9 h 80"/>
                <a:gd name="T12" fmla="*/ 11 w 34"/>
                <a:gd name="T13" fmla="*/ 23 h 80"/>
                <a:gd name="T14" fmla="*/ 22 w 34"/>
                <a:gd name="T15" fmla="*/ 34 h 80"/>
                <a:gd name="T16" fmla="*/ 14 w 34"/>
                <a:gd name="T17" fmla="*/ 47 h 80"/>
                <a:gd name="T18" fmla="*/ 19 w 34"/>
                <a:gd name="T19" fmla="*/ 59 h 80"/>
                <a:gd name="T20" fmla="*/ 9 w 34"/>
                <a:gd name="T21" fmla="*/ 69 h 80"/>
                <a:gd name="T22" fmla="*/ 6 w 34"/>
                <a:gd name="T23" fmla="*/ 80 h 80"/>
                <a:gd name="T24" fmla="*/ 10 w 34"/>
                <a:gd name="T25" fmla="*/ 80 h 80"/>
                <a:gd name="T26" fmla="*/ 18 w 34"/>
                <a:gd name="T27" fmla="*/ 77 h 80"/>
                <a:gd name="T28" fmla="*/ 22 w 34"/>
                <a:gd name="T29" fmla="*/ 65 h 80"/>
                <a:gd name="T30" fmla="*/ 26 w 34"/>
                <a:gd name="T31" fmla="*/ 62 h 80"/>
                <a:gd name="T32" fmla="*/ 31 w 34"/>
                <a:gd name="T33" fmla="*/ 57 h 80"/>
                <a:gd name="T34" fmla="*/ 31 w 34"/>
                <a:gd name="T35" fmla="*/ 56 h 80"/>
                <a:gd name="T36" fmla="*/ 29 w 34"/>
                <a:gd name="T37" fmla="*/ 48 h 80"/>
                <a:gd name="T38" fmla="*/ 26 w 34"/>
                <a:gd name="T39" fmla="*/ 44 h 80"/>
                <a:gd name="T40" fmla="*/ 26 w 34"/>
                <a:gd name="T41" fmla="*/ 44 h 80"/>
                <a:gd name="T42" fmla="*/ 26 w 34"/>
                <a:gd name="T43" fmla="*/ 44 h 80"/>
                <a:gd name="T44" fmla="*/ 34 w 34"/>
                <a:gd name="T45" fmla="*/ 32 h 80"/>
                <a:gd name="T46" fmla="*/ 34 w 34"/>
                <a:gd name="T47" fmla="*/ 30 h 80"/>
                <a:gd name="T48" fmla="*/ 32 w 34"/>
                <a:gd name="T49" fmla="*/ 25 h 80"/>
                <a:gd name="T50" fmla="*/ 23 w 34"/>
                <a:gd name="T51" fmla="*/ 20 h 80"/>
                <a:gd name="T52" fmla="*/ 23 w 34"/>
                <a:gd name="T53" fmla="*/ 15 h 80"/>
                <a:gd name="T54" fmla="*/ 21 w 34"/>
                <a:gd name="T55" fmla="*/ 5 h 80"/>
                <a:gd name="T56" fmla="*/ 4 w 34"/>
                <a:gd name="T57" fmla="*/ 0 h 80"/>
                <a:gd name="T58" fmla="*/ 4 w 34"/>
                <a:gd name="T5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" h="80">
                  <a:moveTo>
                    <a:pt x="4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" y="5"/>
                    <a:pt x="7" y="7"/>
                    <a:pt x="9" y="9"/>
                  </a:cubicBezTo>
                  <a:cubicBezTo>
                    <a:pt x="13" y="16"/>
                    <a:pt x="11" y="23"/>
                    <a:pt x="11" y="23"/>
                  </a:cubicBezTo>
                  <a:cubicBezTo>
                    <a:pt x="11" y="23"/>
                    <a:pt x="21" y="26"/>
                    <a:pt x="22" y="34"/>
                  </a:cubicBezTo>
                  <a:cubicBezTo>
                    <a:pt x="23" y="42"/>
                    <a:pt x="14" y="47"/>
                    <a:pt x="14" y="47"/>
                  </a:cubicBezTo>
                  <a:cubicBezTo>
                    <a:pt x="14" y="47"/>
                    <a:pt x="20" y="54"/>
                    <a:pt x="19" y="59"/>
                  </a:cubicBezTo>
                  <a:cubicBezTo>
                    <a:pt x="18" y="64"/>
                    <a:pt x="9" y="69"/>
                    <a:pt x="9" y="69"/>
                  </a:cubicBezTo>
                  <a:cubicBezTo>
                    <a:pt x="9" y="69"/>
                    <a:pt x="10" y="74"/>
                    <a:pt x="6" y="80"/>
                  </a:cubicBezTo>
                  <a:cubicBezTo>
                    <a:pt x="7" y="80"/>
                    <a:pt x="9" y="80"/>
                    <a:pt x="10" y="80"/>
                  </a:cubicBezTo>
                  <a:cubicBezTo>
                    <a:pt x="14" y="79"/>
                    <a:pt x="17" y="78"/>
                    <a:pt x="18" y="77"/>
                  </a:cubicBezTo>
                  <a:cubicBezTo>
                    <a:pt x="23" y="71"/>
                    <a:pt x="22" y="65"/>
                    <a:pt x="22" y="65"/>
                  </a:cubicBezTo>
                  <a:cubicBezTo>
                    <a:pt x="22" y="65"/>
                    <a:pt x="24" y="64"/>
                    <a:pt x="26" y="62"/>
                  </a:cubicBezTo>
                  <a:cubicBezTo>
                    <a:pt x="28" y="60"/>
                    <a:pt x="30" y="59"/>
                    <a:pt x="31" y="57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2" y="53"/>
                    <a:pt x="31" y="51"/>
                    <a:pt x="29" y="48"/>
                  </a:cubicBezTo>
                  <a:cubicBezTo>
                    <a:pt x="28" y="46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33" y="39"/>
                    <a:pt x="34" y="32"/>
                  </a:cubicBezTo>
                  <a:cubicBezTo>
                    <a:pt x="34" y="32"/>
                    <a:pt x="34" y="31"/>
                    <a:pt x="34" y="30"/>
                  </a:cubicBezTo>
                  <a:cubicBezTo>
                    <a:pt x="33" y="28"/>
                    <a:pt x="33" y="26"/>
                    <a:pt x="32" y="25"/>
                  </a:cubicBezTo>
                  <a:cubicBezTo>
                    <a:pt x="28" y="21"/>
                    <a:pt x="23" y="20"/>
                    <a:pt x="23" y="20"/>
                  </a:cubicBezTo>
                  <a:cubicBezTo>
                    <a:pt x="23" y="20"/>
                    <a:pt x="23" y="18"/>
                    <a:pt x="23" y="15"/>
                  </a:cubicBezTo>
                  <a:cubicBezTo>
                    <a:pt x="24" y="12"/>
                    <a:pt x="23" y="9"/>
                    <a:pt x="21" y="5"/>
                  </a:cubicBezTo>
                  <a:cubicBezTo>
                    <a:pt x="18" y="1"/>
                    <a:pt x="10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F3B1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5">
              <a:extLst>
                <a:ext uri="{FF2B5EF4-FFF2-40B4-BE49-F238E27FC236}">
                  <a16:creationId xmlns:a16="http://schemas.microsoft.com/office/drawing/2014/main" id="{C9260B70-7944-4B83-892C-E9455AC3A5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9" y="1283"/>
              <a:ext cx="218" cy="235"/>
            </a:xfrm>
            <a:custGeom>
              <a:avLst/>
              <a:gdLst>
                <a:gd name="T0" fmla="*/ 121 w 123"/>
                <a:gd name="T1" fmla="*/ 55 h 132"/>
                <a:gd name="T2" fmla="*/ 87 w 123"/>
                <a:gd name="T3" fmla="*/ 122 h 132"/>
                <a:gd name="T4" fmla="*/ 86 w 123"/>
                <a:gd name="T5" fmla="*/ 122 h 132"/>
                <a:gd name="T6" fmla="*/ 40 w 123"/>
                <a:gd name="T7" fmla="*/ 117 h 132"/>
                <a:gd name="T8" fmla="*/ 35 w 123"/>
                <a:gd name="T9" fmla="*/ 92 h 132"/>
                <a:gd name="T10" fmla="*/ 9 w 123"/>
                <a:gd name="T11" fmla="*/ 59 h 132"/>
                <a:gd name="T12" fmla="*/ 27 w 123"/>
                <a:gd name="T13" fmla="*/ 62 h 132"/>
                <a:gd name="T14" fmla="*/ 42 w 123"/>
                <a:gd name="T15" fmla="*/ 65 h 132"/>
                <a:gd name="T16" fmla="*/ 48 w 123"/>
                <a:gd name="T17" fmla="*/ 26 h 132"/>
                <a:gd name="T18" fmla="*/ 57 w 123"/>
                <a:gd name="T19" fmla="*/ 8 h 132"/>
                <a:gd name="T20" fmla="*/ 63 w 123"/>
                <a:gd name="T21" fmla="*/ 33 h 132"/>
                <a:gd name="T22" fmla="*/ 63 w 123"/>
                <a:gd name="T23" fmla="*/ 62 h 132"/>
                <a:gd name="T24" fmla="*/ 69 w 123"/>
                <a:gd name="T25" fmla="*/ 37 h 132"/>
                <a:gd name="T26" fmla="*/ 85 w 123"/>
                <a:gd name="T27" fmla="*/ 1 h 132"/>
                <a:gd name="T28" fmla="*/ 84 w 123"/>
                <a:gd name="T29" fmla="*/ 62 h 132"/>
                <a:gd name="T30" fmla="*/ 106 w 123"/>
                <a:gd name="T31" fmla="*/ 16 h 132"/>
                <a:gd name="T32" fmla="*/ 100 w 123"/>
                <a:gd name="T33" fmla="*/ 70 h 132"/>
                <a:gd name="T34" fmla="*/ 121 w 123"/>
                <a:gd name="T35" fmla="*/ 55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3" h="132">
                  <a:moveTo>
                    <a:pt x="121" y="55"/>
                  </a:moveTo>
                  <a:cubicBezTo>
                    <a:pt x="119" y="73"/>
                    <a:pt x="90" y="117"/>
                    <a:pt x="87" y="122"/>
                  </a:cubicBezTo>
                  <a:cubicBezTo>
                    <a:pt x="86" y="122"/>
                    <a:pt x="86" y="122"/>
                    <a:pt x="86" y="122"/>
                  </a:cubicBezTo>
                  <a:cubicBezTo>
                    <a:pt x="61" y="132"/>
                    <a:pt x="40" y="117"/>
                    <a:pt x="40" y="117"/>
                  </a:cubicBezTo>
                  <a:cubicBezTo>
                    <a:pt x="40" y="117"/>
                    <a:pt x="44" y="100"/>
                    <a:pt x="35" y="92"/>
                  </a:cubicBezTo>
                  <a:cubicBezTo>
                    <a:pt x="26" y="85"/>
                    <a:pt x="0" y="65"/>
                    <a:pt x="9" y="59"/>
                  </a:cubicBezTo>
                  <a:cubicBezTo>
                    <a:pt x="14" y="56"/>
                    <a:pt x="20" y="59"/>
                    <a:pt x="27" y="62"/>
                  </a:cubicBezTo>
                  <a:cubicBezTo>
                    <a:pt x="33" y="65"/>
                    <a:pt x="39" y="69"/>
                    <a:pt x="42" y="65"/>
                  </a:cubicBezTo>
                  <a:cubicBezTo>
                    <a:pt x="45" y="61"/>
                    <a:pt x="46" y="41"/>
                    <a:pt x="48" y="26"/>
                  </a:cubicBezTo>
                  <a:cubicBezTo>
                    <a:pt x="50" y="16"/>
                    <a:pt x="53" y="8"/>
                    <a:pt x="57" y="8"/>
                  </a:cubicBezTo>
                  <a:cubicBezTo>
                    <a:pt x="61" y="7"/>
                    <a:pt x="62" y="20"/>
                    <a:pt x="63" y="33"/>
                  </a:cubicBezTo>
                  <a:cubicBezTo>
                    <a:pt x="64" y="47"/>
                    <a:pt x="63" y="62"/>
                    <a:pt x="63" y="62"/>
                  </a:cubicBezTo>
                  <a:cubicBezTo>
                    <a:pt x="63" y="62"/>
                    <a:pt x="65" y="50"/>
                    <a:pt x="69" y="37"/>
                  </a:cubicBezTo>
                  <a:cubicBezTo>
                    <a:pt x="73" y="20"/>
                    <a:pt x="79" y="0"/>
                    <a:pt x="85" y="1"/>
                  </a:cubicBezTo>
                  <a:cubicBezTo>
                    <a:pt x="93" y="3"/>
                    <a:pt x="85" y="59"/>
                    <a:pt x="84" y="62"/>
                  </a:cubicBezTo>
                  <a:cubicBezTo>
                    <a:pt x="85" y="59"/>
                    <a:pt x="101" y="14"/>
                    <a:pt x="106" y="16"/>
                  </a:cubicBezTo>
                  <a:cubicBezTo>
                    <a:pt x="116" y="21"/>
                    <a:pt x="101" y="68"/>
                    <a:pt x="100" y="70"/>
                  </a:cubicBezTo>
                  <a:cubicBezTo>
                    <a:pt x="101" y="69"/>
                    <a:pt x="123" y="37"/>
                    <a:pt x="121" y="55"/>
                  </a:cubicBezTo>
                </a:path>
              </a:pathLst>
            </a:custGeom>
            <a:solidFill>
              <a:srgbClr val="FFC2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6">
              <a:extLst>
                <a:ext uri="{FF2B5EF4-FFF2-40B4-BE49-F238E27FC236}">
                  <a16:creationId xmlns:a16="http://schemas.microsoft.com/office/drawing/2014/main" id="{FCD4D074-7E1E-4E00-B89B-0B2A9951D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9" y="2016"/>
              <a:ext cx="802" cy="663"/>
            </a:xfrm>
            <a:custGeom>
              <a:avLst/>
              <a:gdLst>
                <a:gd name="T0" fmla="*/ 452 w 452"/>
                <a:gd name="T1" fmla="*/ 118 h 374"/>
                <a:gd name="T2" fmla="*/ 395 w 452"/>
                <a:gd name="T3" fmla="*/ 142 h 374"/>
                <a:gd name="T4" fmla="*/ 375 w 452"/>
                <a:gd name="T5" fmla="*/ 150 h 374"/>
                <a:gd name="T6" fmla="*/ 370 w 452"/>
                <a:gd name="T7" fmla="*/ 161 h 374"/>
                <a:gd name="T8" fmla="*/ 370 w 452"/>
                <a:gd name="T9" fmla="*/ 161 h 374"/>
                <a:gd name="T10" fmla="*/ 337 w 452"/>
                <a:gd name="T11" fmla="*/ 184 h 374"/>
                <a:gd name="T12" fmla="*/ 191 w 452"/>
                <a:gd name="T13" fmla="*/ 349 h 374"/>
                <a:gd name="T14" fmla="*/ 53 w 452"/>
                <a:gd name="T15" fmla="*/ 340 h 374"/>
                <a:gd name="T16" fmla="*/ 26 w 452"/>
                <a:gd name="T17" fmla="*/ 214 h 374"/>
                <a:gd name="T18" fmla="*/ 26 w 452"/>
                <a:gd name="T19" fmla="*/ 213 h 374"/>
                <a:gd name="T20" fmla="*/ 154 w 452"/>
                <a:gd name="T21" fmla="*/ 118 h 374"/>
                <a:gd name="T22" fmla="*/ 162 w 452"/>
                <a:gd name="T23" fmla="*/ 23 h 374"/>
                <a:gd name="T24" fmla="*/ 254 w 452"/>
                <a:gd name="T25" fmla="*/ 2 h 374"/>
                <a:gd name="T26" fmla="*/ 298 w 452"/>
                <a:gd name="T27" fmla="*/ 2 h 374"/>
                <a:gd name="T28" fmla="*/ 298 w 452"/>
                <a:gd name="T29" fmla="*/ 2 h 374"/>
                <a:gd name="T30" fmla="*/ 336 w 452"/>
                <a:gd name="T31" fmla="*/ 31 h 374"/>
                <a:gd name="T32" fmla="*/ 344 w 452"/>
                <a:gd name="T33" fmla="*/ 45 h 374"/>
                <a:gd name="T34" fmla="*/ 344 w 452"/>
                <a:gd name="T35" fmla="*/ 45 h 374"/>
                <a:gd name="T36" fmla="*/ 349 w 452"/>
                <a:gd name="T37" fmla="*/ 52 h 374"/>
                <a:gd name="T38" fmla="*/ 359 w 452"/>
                <a:gd name="T39" fmla="*/ 68 h 374"/>
                <a:gd name="T40" fmla="*/ 375 w 452"/>
                <a:gd name="T41" fmla="*/ 93 h 374"/>
                <a:gd name="T42" fmla="*/ 377 w 452"/>
                <a:gd name="T43" fmla="*/ 92 h 374"/>
                <a:gd name="T44" fmla="*/ 430 w 452"/>
                <a:gd name="T45" fmla="*/ 72 h 374"/>
                <a:gd name="T46" fmla="*/ 430 w 452"/>
                <a:gd name="T47" fmla="*/ 72 h 374"/>
                <a:gd name="T48" fmla="*/ 452 w 452"/>
                <a:gd name="T49" fmla="*/ 118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2" h="374">
                  <a:moveTo>
                    <a:pt x="452" y="118"/>
                  </a:moveTo>
                  <a:cubicBezTo>
                    <a:pt x="395" y="142"/>
                    <a:pt x="395" y="142"/>
                    <a:pt x="395" y="142"/>
                  </a:cubicBezTo>
                  <a:cubicBezTo>
                    <a:pt x="375" y="150"/>
                    <a:pt x="375" y="150"/>
                    <a:pt x="375" y="150"/>
                  </a:cubicBezTo>
                  <a:cubicBezTo>
                    <a:pt x="374" y="154"/>
                    <a:pt x="372" y="158"/>
                    <a:pt x="370" y="161"/>
                  </a:cubicBezTo>
                  <a:cubicBezTo>
                    <a:pt x="370" y="161"/>
                    <a:pt x="370" y="161"/>
                    <a:pt x="370" y="161"/>
                  </a:cubicBezTo>
                  <a:cubicBezTo>
                    <a:pt x="359" y="178"/>
                    <a:pt x="337" y="184"/>
                    <a:pt x="337" y="184"/>
                  </a:cubicBezTo>
                  <a:cubicBezTo>
                    <a:pt x="294" y="257"/>
                    <a:pt x="191" y="349"/>
                    <a:pt x="191" y="349"/>
                  </a:cubicBezTo>
                  <a:cubicBezTo>
                    <a:pt x="191" y="349"/>
                    <a:pt x="108" y="374"/>
                    <a:pt x="53" y="340"/>
                  </a:cubicBezTo>
                  <a:cubicBezTo>
                    <a:pt x="0" y="306"/>
                    <a:pt x="25" y="217"/>
                    <a:pt x="26" y="214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86" y="211"/>
                    <a:pt x="154" y="118"/>
                    <a:pt x="154" y="118"/>
                  </a:cubicBezTo>
                  <a:cubicBezTo>
                    <a:pt x="154" y="118"/>
                    <a:pt x="149" y="41"/>
                    <a:pt x="162" y="23"/>
                  </a:cubicBezTo>
                  <a:cubicBezTo>
                    <a:pt x="175" y="5"/>
                    <a:pt x="254" y="2"/>
                    <a:pt x="254" y="2"/>
                  </a:cubicBezTo>
                  <a:cubicBezTo>
                    <a:pt x="273" y="0"/>
                    <a:pt x="287" y="0"/>
                    <a:pt x="298" y="2"/>
                  </a:cubicBezTo>
                  <a:cubicBezTo>
                    <a:pt x="298" y="2"/>
                    <a:pt x="298" y="2"/>
                    <a:pt x="298" y="2"/>
                  </a:cubicBezTo>
                  <a:cubicBezTo>
                    <a:pt x="325" y="7"/>
                    <a:pt x="330" y="22"/>
                    <a:pt x="336" y="31"/>
                  </a:cubicBezTo>
                  <a:cubicBezTo>
                    <a:pt x="337" y="34"/>
                    <a:pt x="340" y="39"/>
                    <a:pt x="344" y="45"/>
                  </a:cubicBezTo>
                  <a:cubicBezTo>
                    <a:pt x="344" y="45"/>
                    <a:pt x="344" y="45"/>
                    <a:pt x="344" y="45"/>
                  </a:cubicBezTo>
                  <a:cubicBezTo>
                    <a:pt x="345" y="47"/>
                    <a:pt x="347" y="49"/>
                    <a:pt x="349" y="52"/>
                  </a:cubicBezTo>
                  <a:cubicBezTo>
                    <a:pt x="352" y="57"/>
                    <a:pt x="356" y="63"/>
                    <a:pt x="359" y="68"/>
                  </a:cubicBezTo>
                  <a:cubicBezTo>
                    <a:pt x="368" y="81"/>
                    <a:pt x="375" y="93"/>
                    <a:pt x="375" y="93"/>
                  </a:cubicBezTo>
                  <a:cubicBezTo>
                    <a:pt x="377" y="92"/>
                    <a:pt x="377" y="92"/>
                    <a:pt x="377" y="92"/>
                  </a:cubicBezTo>
                  <a:cubicBezTo>
                    <a:pt x="430" y="72"/>
                    <a:pt x="430" y="72"/>
                    <a:pt x="430" y="72"/>
                  </a:cubicBezTo>
                  <a:cubicBezTo>
                    <a:pt x="430" y="72"/>
                    <a:pt x="430" y="72"/>
                    <a:pt x="430" y="72"/>
                  </a:cubicBezTo>
                  <a:cubicBezTo>
                    <a:pt x="452" y="118"/>
                    <a:pt x="452" y="118"/>
                    <a:pt x="452" y="118"/>
                  </a:cubicBezTo>
                </a:path>
              </a:pathLst>
            </a:custGeom>
            <a:solidFill>
              <a:srgbClr val="FFA1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7">
              <a:extLst>
                <a:ext uri="{FF2B5EF4-FFF2-40B4-BE49-F238E27FC236}">
                  <a16:creationId xmlns:a16="http://schemas.microsoft.com/office/drawing/2014/main" id="{7EF9CB07-E71C-49FB-B024-A1FBAB4EA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8" y="1968"/>
              <a:ext cx="131" cy="163"/>
            </a:xfrm>
            <a:custGeom>
              <a:avLst/>
              <a:gdLst>
                <a:gd name="T0" fmla="*/ 57 w 74"/>
                <a:gd name="T1" fmla="*/ 82 h 92"/>
                <a:gd name="T2" fmla="*/ 0 w 74"/>
                <a:gd name="T3" fmla="*/ 37 h 92"/>
                <a:gd name="T4" fmla="*/ 6 w 74"/>
                <a:gd name="T5" fmla="*/ 0 h 92"/>
                <a:gd name="T6" fmla="*/ 48 w 74"/>
                <a:gd name="T7" fmla="*/ 8 h 92"/>
                <a:gd name="T8" fmla="*/ 44 w 74"/>
                <a:gd name="T9" fmla="*/ 33 h 92"/>
                <a:gd name="T10" fmla="*/ 57 w 74"/>
                <a:gd name="T11" fmla="*/ 8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92">
                  <a:moveTo>
                    <a:pt x="57" y="82"/>
                  </a:moveTo>
                  <a:cubicBezTo>
                    <a:pt x="32" y="92"/>
                    <a:pt x="0" y="37"/>
                    <a:pt x="0" y="37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9" y="4"/>
                    <a:pt x="33" y="7"/>
                    <a:pt x="48" y="8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74" y="76"/>
                    <a:pt x="57" y="82"/>
                  </a:cubicBezTo>
                </a:path>
              </a:pathLst>
            </a:custGeom>
            <a:solidFill>
              <a:srgbClr val="FFC2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8">
              <a:extLst>
                <a:ext uri="{FF2B5EF4-FFF2-40B4-BE49-F238E27FC236}">
                  <a16:creationId xmlns:a16="http://schemas.microsoft.com/office/drawing/2014/main" id="{2D55A514-AB0D-479E-84DF-62F6F9E21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5" y="1968"/>
              <a:ext cx="78" cy="59"/>
            </a:xfrm>
            <a:custGeom>
              <a:avLst/>
              <a:gdLst>
                <a:gd name="T0" fmla="*/ 2 w 44"/>
                <a:gd name="T1" fmla="*/ 0 h 33"/>
                <a:gd name="T2" fmla="*/ 2 w 44"/>
                <a:gd name="T3" fmla="*/ 0 h 33"/>
                <a:gd name="T4" fmla="*/ 0 w 44"/>
                <a:gd name="T5" fmla="*/ 12 h 33"/>
                <a:gd name="T6" fmla="*/ 40 w 44"/>
                <a:gd name="T7" fmla="*/ 33 h 33"/>
                <a:gd name="T8" fmla="*/ 44 w 44"/>
                <a:gd name="T9" fmla="*/ 8 h 33"/>
                <a:gd name="T10" fmla="*/ 40 w 44"/>
                <a:gd name="T11" fmla="*/ 8 h 33"/>
                <a:gd name="T12" fmla="*/ 11 w 44"/>
                <a:gd name="T13" fmla="*/ 3 h 33"/>
                <a:gd name="T14" fmla="*/ 2 w 44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3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8" y="30"/>
                    <a:pt x="40" y="33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2" y="8"/>
                    <a:pt x="41" y="8"/>
                    <a:pt x="40" y="8"/>
                  </a:cubicBezTo>
                  <a:cubicBezTo>
                    <a:pt x="29" y="7"/>
                    <a:pt x="20" y="5"/>
                    <a:pt x="11" y="3"/>
                  </a:cubicBezTo>
                  <a:cubicBezTo>
                    <a:pt x="8" y="2"/>
                    <a:pt x="5" y="1"/>
                    <a:pt x="2" y="0"/>
                  </a:cubicBezTo>
                </a:path>
              </a:pathLst>
            </a:custGeom>
            <a:solidFill>
              <a:srgbClr val="EDA8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9">
              <a:extLst>
                <a:ext uri="{FF2B5EF4-FFF2-40B4-BE49-F238E27FC236}">
                  <a16:creationId xmlns:a16="http://schemas.microsoft.com/office/drawing/2014/main" id="{E4DE6FEF-436E-4BE1-A625-3A1793A28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8" y="1468"/>
              <a:ext cx="527" cy="668"/>
            </a:xfrm>
            <a:custGeom>
              <a:avLst/>
              <a:gdLst>
                <a:gd name="T0" fmla="*/ 297 w 297"/>
                <a:gd name="T1" fmla="*/ 16 h 377"/>
                <a:gd name="T2" fmla="*/ 61 w 297"/>
                <a:gd name="T3" fmla="*/ 377 h 377"/>
                <a:gd name="T4" fmla="*/ 38 w 297"/>
                <a:gd name="T5" fmla="*/ 340 h 377"/>
                <a:gd name="T6" fmla="*/ 0 w 297"/>
                <a:gd name="T7" fmla="*/ 311 h 377"/>
                <a:gd name="T8" fmla="*/ 250 w 297"/>
                <a:gd name="T9" fmla="*/ 6 h 377"/>
                <a:gd name="T10" fmla="*/ 290 w 297"/>
                <a:gd name="T11" fmla="*/ 11 h 377"/>
                <a:gd name="T12" fmla="*/ 297 w 297"/>
                <a:gd name="T13" fmla="*/ 16 h 377"/>
                <a:gd name="T14" fmla="*/ 297 w 297"/>
                <a:gd name="T15" fmla="*/ 16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7" h="377">
                  <a:moveTo>
                    <a:pt x="297" y="16"/>
                  </a:moveTo>
                  <a:cubicBezTo>
                    <a:pt x="297" y="16"/>
                    <a:pt x="250" y="270"/>
                    <a:pt x="61" y="377"/>
                  </a:cubicBezTo>
                  <a:cubicBezTo>
                    <a:pt x="52" y="363"/>
                    <a:pt x="41" y="347"/>
                    <a:pt x="38" y="340"/>
                  </a:cubicBezTo>
                  <a:cubicBezTo>
                    <a:pt x="32" y="331"/>
                    <a:pt x="27" y="316"/>
                    <a:pt x="0" y="311"/>
                  </a:cubicBezTo>
                  <a:cubicBezTo>
                    <a:pt x="9" y="312"/>
                    <a:pt x="154" y="324"/>
                    <a:pt x="250" y="6"/>
                  </a:cubicBezTo>
                  <a:cubicBezTo>
                    <a:pt x="250" y="6"/>
                    <a:pt x="272" y="0"/>
                    <a:pt x="290" y="11"/>
                  </a:cubicBezTo>
                  <a:cubicBezTo>
                    <a:pt x="293" y="12"/>
                    <a:pt x="295" y="14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</a:path>
              </a:pathLst>
            </a:custGeom>
            <a:solidFill>
              <a:srgbClr val="F47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0">
              <a:extLst>
                <a:ext uri="{FF2B5EF4-FFF2-40B4-BE49-F238E27FC236}">
                  <a16:creationId xmlns:a16="http://schemas.microsoft.com/office/drawing/2014/main" id="{EDE69989-748D-4A73-AB74-8BC4C0840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6" y="1489"/>
              <a:ext cx="7" cy="5"/>
            </a:xfrm>
            <a:custGeom>
              <a:avLst/>
              <a:gdLst>
                <a:gd name="T0" fmla="*/ 0 w 4"/>
                <a:gd name="T1" fmla="*/ 0 h 3"/>
                <a:gd name="T2" fmla="*/ 4 w 4"/>
                <a:gd name="T3" fmla="*/ 3 h 3"/>
                <a:gd name="T4" fmla="*/ 0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cubicBezTo>
                    <a:pt x="2" y="1"/>
                    <a:pt x="3" y="2"/>
                    <a:pt x="4" y="3"/>
                  </a:cubicBezTo>
                  <a:cubicBezTo>
                    <a:pt x="3" y="2"/>
                    <a:pt x="2" y="1"/>
                    <a:pt x="0" y="0"/>
                  </a:cubicBezTo>
                </a:path>
              </a:pathLst>
            </a:custGeom>
            <a:solidFill>
              <a:srgbClr val="DB90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1">
              <a:extLst>
                <a:ext uri="{FF2B5EF4-FFF2-40B4-BE49-F238E27FC236}">
                  <a16:creationId xmlns:a16="http://schemas.microsoft.com/office/drawing/2014/main" id="{14F2D228-2AB1-4F79-8170-355FAFC4F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8" y="1487"/>
              <a:ext cx="187" cy="352"/>
            </a:xfrm>
            <a:custGeom>
              <a:avLst/>
              <a:gdLst>
                <a:gd name="T0" fmla="*/ 99 w 105"/>
                <a:gd name="T1" fmla="*/ 0 h 198"/>
                <a:gd name="T2" fmla="*/ 0 w 105"/>
                <a:gd name="T3" fmla="*/ 198 h 198"/>
                <a:gd name="T4" fmla="*/ 16 w 105"/>
                <a:gd name="T5" fmla="*/ 198 h 198"/>
                <a:gd name="T6" fmla="*/ 34 w 105"/>
                <a:gd name="T7" fmla="*/ 192 h 198"/>
                <a:gd name="T8" fmla="*/ 105 w 105"/>
                <a:gd name="T9" fmla="*/ 5 h 198"/>
                <a:gd name="T10" fmla="*/ 105 w 105"/>
                <a:gd name="T11" fmla="*/ 5 h 198"/>
                <a:gd name="T12" fmla="*/ 105 w 105"/>
                <a:gd name="T13" fmla="*/ 5 h 198"/>
                <a:gd name="T14" fmla="*/ 104 w 105"/>
                <a:gd name="T15" fmla="*/ 4 h 198"/>
                <a:gd name="T16" fmla="*/ 100 w 105"/>
                <a:gd name="T17" fmla="*/ 1 h 198"/>
                <a:gd name="T18" fmla="*/ 99 w 105"/>
                <a:gd name="T19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98">
                  <a:moveTo>
                    <a:pt x="99" y="0"/>
                  </a:moveTo>
                  <a:cubicBezTo>
                    <a:pt x="94" y="18"/>
                    <a:pt x="65" y="110"/>
                    <a:pt x="0" y="198"/>
                  </a:cubicBezTo>
                  <a:cubicBezTo>
                    <a:pt x="16" y="198"/>
                    <a:pt x="16" y="198"/>
                    <a:pt x="16" y="198"/>
                  </a:cubicBezTo>
                  <a:cubicBezTo>
                    <a:pt x="34" y="192"/>
                    <a:pt x="34" y="192"/>
                    <a:pt x="34" y="192"/>
                  </a:cubicBezTo>
                  <a:cubicBezTo>
                    <a:pt x="88" y="96"/>
                    <a:pt x="105" y="5"/>
                    <a:pt x="105" y="5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4" y="5"/>
                    <a:pt x="104" y="4"/>
                    <a:pt x="104" y="4"/>
                  </a:cubicBezTo>
                  <a:cubicBezTo>
                    <a:pt x="103" y="3"/>
                    <a:pt x="102" y="2"/>
                    <a:pt x="100" y="1"/>
                  </a:cubicBezTo>
                  <a:cubicBezTo>
                    <a:pt x="100" y="1"/>
                    <a:pt x="99" y="1"/>
                    <a:pt x="99" y="0"/>
                  </a:cubicBezTo>
                </a:path>
              </a:pathLst>
            </a:custGeom>
            <a:solidFill>
              <a:srgbClr val="D56D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2">
              <a:extLst>
                <a:ext uri="{FF2B5EF4-FFF2-40B4-BE49-F238E27FC236}">
                  <a16:creationId xmlns:a16="http://schemas.microsoft.com/office/drawing/2014/main" id="{C1DE2B58-3138-48AF-8E05-9A138E213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39" y="2076"/>
              <a:ext cx="0" cy="2"/>
            </a:xfrm>
            <a:custGeom>
              <a:avLst/>
              <a:gdLst>
                <a:gd name="T0" fmla="*/ 1 h 1"/>
                <a:gd name="T1" fmla="*/ 1 h 1"/>
                <a:gd name="T2" fmla="*/ 1 h 1"/>
                <a:gd name="T3" fmla="*/ 0 h 1"/>
                <a:gd name="T4" fmla="*/ 0 h 1"/>
                <a:gd name="T5" fmla="*/ 1 h 1"/>
                <a:gd name="T6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DBAE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3">
              <a:extLst>
                <a:ext uri="{FF2B5EF4-FFF2-40B4-BE49-F238E27FC236}">
                  <a16:creationId xmlns:a16="http://schemas.microsoft.com/office/drawing/2014/main" id="{B28984C9-C98A-42F8-88EF-F727B1DE4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9" y="1920"/>
              <a:ext cx="220" cy="216"/>
            </a:xfrm>
            <a:custGeom>
              <a:avLst/>
              <a:gdLst>
                <a:gd name="T0" fmla="*/ 114 w 124"/>
                <a:gd name="T1" fmla="*/ 0 h 122"/>
                <a:gd name="T2" fmla="*/ 0 w 124"/>
                <a:gd name="T3" fmla="*/ 88 h 122"/>
                <a:gd name="T4" fmla="*/ 0 w 124"/>
                <a:gd name="T5" fmla="*/ 89 h 122"/>
                <a:gd name="T6" fmla="*/ 0 w 124"/>
                <a:gd name="T7" fmla="*/ 89 h 122"/>
                <a:gd name="T8" fmla="*/ 0 w 124"/>
                <a:gd name="T9" fmla="*/ 89 h 122"/>
                <a:gd name="T10" fmla="*/ 6 w 124"/>
                <a:gd name="T11" fmla="*/ 99 h 122"/>
                <a:gd name="T12" fmla="*/ 6 w 124"/>
                <a:gd name="T13" fmla="*/ 99 h 122"/>
                <a:gd name="T14" fmla="*/ 6 w 124"/>
                <a:gd name="T15" fmla="*/ 99 h 122"/>
                <a:gd name="T16" fmla="*/ 11 w 124"/>
                <a:gd name="T17" fmla="*/ 106 h 122"/>
                <a:gd name="T18" fmla="*/ 12 w 124"/>
                <a:gd name="T19" fmla="*/ 108 h 122"/>
                <a:gd name="T20" fmla="*/ 21 w 124"/>
                <a:gd name="T21" fmla="*/ 122 h 122"/>
                <a:gd name="T22" fmla="*/ 21 w 124"/>
                <a:gd name="T23" fmla="*/ 122 h 122"/>
                <a:gd name="T24" fmla="*/ 21 w 124"/>
                <a:gd name="T25" fmla="*/ 122 h 122"/>
                <a:gd name="T26" fmla="*/ 124 w 124"/>
                <a:gd name="T27" fmla="*/ 36 h 122"/>
                <a:gd name="T28" fmla="*/ 114 w 124"/>
                <a:gd name="T2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4" h="122">
                  <a:moveTo>
                    <a:pt x="114" y="0"/>
                  </a:moveTo>
                  <a:cubicBezTo>
                    <a:pt x="82" y="34"/>
                    <a:pt x="44" y="65"/>
                    <a:pt x="0" y="88"/>
                  </a:cubicBezTo>
                  <a:cubicBezTo>
                    <a:pt x="0" y="88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" y="92"/>
                    <a:pt x="4" y="95"/>
                    <a:pt x="6" y="99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7" y="101"/>
                    <a:pt x="9" y="103"/>
                    <a:pt x="11" y="106"/>
                  </a:cubicBezTo>
                  <a:cubicBezTo>
                    <a:pt x="11" y="107"/>
                    <a:pt x="11" y="107"/>
                    <a:pt x="12" y="108"/>
                  </a:cubicBezTo>
                  <a:cubicBezTo>
                    <a:pt x="15" y="113"/>
                    <a:pt x="18" y="117"/>
                    <a:pt x="21" y="122"/>
                  </a:cubicBezTo>
                  <a:cubicBezTo>
                    <a:pt x="21" y="122"/>
                    <a:pt x="21" y="122"/>
                    <a:pt x="21" y="122"/>
                  </a:cubicBezTo>
                  <a:cubicBezTo>
                    <a:pt x="21" y="122"/>
                    <a:pt x="21" y="122"/>
                    <a:pt x="21" y="122"/>
                  </a:cubicBezTo>
                  <a:cubicBezTo>
                    <a:pt x="62" y="99"/>
                    <a:pt x="96" y="69"/>
                    <a:pt x="124" y="36"/>
                  </a:cubicBezTo>
                  <a:cubicBezTo>
                    <a:pt x="120" y="32"/>
                    <a:pt x="114" y="21"/>
                    <a:pt x="114" y="0"/>
                  </a:cubicBezTo>
                </a:path>
              </a:pathLst>
            </a:custGeom>
            <a:solidFill>
              <a:srgbClr val="D56D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4">
              <a:extLst>
                <a:ext uri="{FF2B5EF4-FFF2-40B4-BE49-F238E27FC236}">
                  <a16:creationId xmlns:a16="http://schemas.microsoft.com/office/drawing/2014/main" id="{AA1CFCA8-6337-4A6D-B6F5-FF7AF9208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1" y="1688"/>
              <a:ext cx="41" cy="51"/>
            </a:xfrm>
            <a:custGeom>
              <a:avLst/>
              <a:gdLst>
                <a:gd name="T0" fmla="*/ 12 w 23"/>
                <a:gd name="T1" fmla="*/ 0 h 29"/>
                <a:gd name="T2" fmla="*/ 12 w 23"/>
                <a:gd name="T3" fmla="*/ 29 h 29"/>
                <a:gd name="T4" fmla="*/ 12 w 23"/>
                <a:gd name="T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29">
                  <a:moveTo>
                    <a:pt x="12" y="0"/>
                  </a:moveTo>
                  <a:cubicBezTo>
                    <a:pt x="23" y="0"/>
                    <a:pt x="23" y="29"/>
                    <a:pt x="12" y="29"/>
                  </a:cubicBezTo>
                  <a:cubicBezTo>
                    <a:pt x="0" y="29"/>
                    <a:pt x="1" y="0"/>
                    <a:pt x="12" y="0"/>
                  </a:cubicBezTo>
                  <a:close/>
                </a:path>
              </a:pathLst>
            </a:custGeom>
            <a:solidFill>
              <a:srgbClr val="EF99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Oval 55">
              <a:extLst>
                <a:ext uri="{FF2B5EF4-FFF2-40B4-BE49-F238E27FC236}">
                  <a16:creationId xmlns:a16="http://schemas.microsoft.com/office/drawing/2014/main" id="{FDDE92EE-2CB4-4134-9551-B3DACC1312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7" y="1693"/>
              <a:ext cx="52" cy="53"/>
            </a:xfrm>
            <a:prstGeom prst="ellipse">
              <a:avLst/>
            </a:prstGeom>
            <a:solidFill>
              <a:srgbClr val="191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56">
              <a:extLst>
                <a:ext uri="{FF2B5EF4-FFF2-40B4-BE49-F238E27FC236}">
                  <a16:creationId xmlns:a16="http://schemas.microsoft.com/office/drawing/2014/main" id="{64BF514C-A2D6-4BD8-9DEB-79A5036E8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4" y="1691"/>
              <a:ext cx="73" cy="22"/>
            </a:xfrm>
            <a:custGeom>
              <a:avLst/>
              <a:gdLst>
                <a:gd name="T0" fmla="*/ 41 w 41"/>
                <a:gd name="T1" fmla="*/ 3 h 12"/>
                <a:gd name="T2" fmla="*/ 31 w 41"/>
                <a:gd name="T3" fmla="*/ 3 h 12"/>
                <a:gd name="T4" fmla="*/ 21 w 41"/>
                <a:gd name="T5" fmla="*/ 8 h 12"/>
                <a:gd name="T6" fmla="*/ 18 w 41"/>
                <a:gd name="T7" fmla="*/ 9 h 12"/>
                <a:gd name="T8" fmla="*/ 16 w 41"/>
                <a:gd name="T9" fmla="*/ 11 h 12"/>
                <a:gd name="T10" fmla="*/ 9 w 41"/>
                <a:gd name="T11" fmla="*/ 11 h 12"/>
                <a:gd name="T12" fmla="*/ 0 w 41"/>
                <a:gd name="T13" fmla="*/ 5 h 12"/>
                <a:gd name="T14" fmla="*/ 10 w 41"/>
                <a:gd name="T15" fmla="*/ 9 h 12"/>
                <a:gd name="T16" fmla="*/ 14 w 41"/>
                <a:gd name="T17" fmla="*/ 8 h 12"/>
                <a:gd name="T18" fmla="*/ 17 w 41"/>
                <a:gd name="T19" fmla="*/ 6 h 12"/>
                <a:gd name="T20" fmla="*/ 19 w 41"/>
                <a:gd name="T21" fmla="*/ 5 h 12"/>
                <a:gd name="T22" fmla="*/ 30 w 41"/>
                <a:gd name="T23" fmla="*/ 1 h 12"/>
                <a:gd name="T24" fmla="*/ 41 w 41"/>
                <a:gd name="T2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2">
                  <a:moveTo>
                    <a:pt x="41" y="3"/>
                  </a:moveTo>
                  <a:cubicBezTo>
                    <a:pt x="38" y="2"/>
                    <a:pt x="34" y="3"/>
                    <a:pt x="31" y="3"/>
                  </a:cubicBezTo>
                  <a:cubicBezTo>
                    <a:pt x="27" y="4"/>
                    <a:pt x="24" y="6"/>
                    <a:pt x="21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7" y="10"/>
                    <a:pt x="16" y="11"/>
                  </a:cubicBezTo>
                  <a:cubicBezTo>
                    <a:pt x="14" y="11"/>
                    <a:pt x="11" y="12"/>
                    <a:pt x="9" y="11"/>
                  </a:cubicBezTo>
                  <a:cubicBezTo>
                    <a:pt x="5" y="11"/>
                    <a:pt x="2" y="8"/>
                    <a:pt x="0" y="5"/>
                  </a:cubicBezTo>
                  <a:cubicBezTo>
                    <a:pt x="3" y="7"/>
                    <a:pt x="6" y="8"/>
                    <a:pt x="10" y="9"/>
                  </a:cubicBezTo>
                  <a:cubicBezTo>
                    <a:pt x="11" y="9"/>
                    <a:pt x="13" y="8"/>
                    <a:pt x="14" y="8"/>
                  </a:cubicBezTo>
                  <a:cubicBezTo>
                    <a:pt x="15" y="7"/>
                    <a:pt x="16" y="7"/>
                    <a:pt x="17" y="6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2" y="3"/>
                    <a:pt x="26" y="1"/>
                    <a:pt x="30" y="1"/>
                  </a:cubicBezTo>
                  <a:cubicBezTo>
                    <a:pt x="34" y="0"/>
                    <a:pt x="38" y="1"/>
                    <a:pt x="41" y="3"/>
                  </a:cubicBezTo>
                  <a:close/>
                </a:path>
              </a:pathLst>
            </a:custGeom>
            <a:solidFill>
              <a:srgbClr val="191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Oval 57">
              <a:extLst>
                <a:ext uri="{FF2B5EF4-FFF2-40B4-BE49-F238E27FC236}">
                  <a16:creationId xmlns:a16="http://schemas.microsoft.com/office/drawing/2014/main" id="{829A045C-05C9-4DD5-BF55-BF3A521BDE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5" y="1679"/>
              <a:ext cx="45" cy="44"/>
            </a:xfrm>
            <a:prstGeom prst="ellipse">
              <a:avLst/>
            </a:prstGeom>
            <a:solidFill>
              <a:srgbClr val="191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8">
              <a:extLst>
                <a:ext uri="{FF2B5EF4-FFF2-40B4-BE49-F238E27FC236}">
                  <a16:creationId xmlns:a16="http://schemas.microsoft.com/office/drawing/2014/main" id="{3087319A-BDEE-41C4-8B07-79F47DB21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" y="1679"/>
              <a:ext cx="62" cy="18"/>
            </a:xfrm>
            <a:custGeom>
              <a:avLst/>
              <a:gdLst>
                <a:gd name="T0" fmla="*/ 0 w 35"/>
                <a:gd name="T1" fmla="*/ 3 h 10"/>
                <a:gd name="T2" fmla="*/ 9 w 35"/>
                <a:gd name="T3" fmla="*/ 0 h 10"/>
                <a:gd name="T4" fmla="*/ 18 w 35"/>
                <a:gd name="T5" fmla="*/ 4 h 10"/>
                <a:gd name="T6" fmla="*/ 20 w 35"/>
                <a:gd name="T7" fmla="*/ 5 h 10"/>
                <a:gd name="T8" fmla="*/ 22 w 35"/>
                <a:gd name="T9" fmla="*/ 6 h 10"/>
                <a:gd name="T10" fmla="*/ 26 w 35"/>
                <a:gd name="T11" fmla="*/ 7 h 10"/>
                <a:gd name="T12" fmla="*/ 35 w 35"/>
                <a:gd name="T13" fmla="*/ 4 h 10"/>
                <a:gd name="T14" fmla="*/ 27 w 35"/>
                <a:gd name="T15" fmla="*/ 9 h 10"/>
                <a:gd name="T16" fmla="*/ 21 w 35"/>
                <a:gd name="T17" fmla="*/ 9 h 10"/>
                <a:gd name="T18" fmla="*/ 19 w 35"/>
                <a:gd name="T19" fmla="*/ 8 h 10"/>
                <a:gd name="T20" fmla="*/ 17 w 35"/>
                <a:gd name="T21" fmla="*/ 6 h 10"/>
                <a:gd name="T22" fmla="*/ 9 w 35"/>
                <a:gd name="T23" fmla="*/ 3 h 10"/>
                <a:gd name="T24" fmla="*/ 0 w 35"/>
                <a:gd name="T2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10">
                  <a:moveTo>
                    <a:pt x="0" y="3"/>
                  </a:moveTo>
                  <a:cubicBezTo>
                    <a:pt x="2" y="0"/>
                    <a:pt x="6" y="0"/>
                    <a:pt x="9" y="0"/>
                  </a:cubicBezTo>
                  <a:cubicBezTo>
                    <a:pt x="12" y="1"/>
                    <a:pt x="16" y="2"/>
                    <a:pt x="18" y="4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1" y="5"/>
                    <a:pt x="22" y="6"/>
                    <a:pt x="22" y="6"/>
                  </a:cubicBezTo>
                  <a:cubicBezTo>
                    <a:pt x="24" y="7"/>
                    <a:pt x="25" y="7"/>
                    <a:pt x="26" y="7"/>
                  </a:cubicBezTo>
                  <a:cubicBezTo>
                    <a:pt x="29" y="7"/>
                    <a:pt x="32" y="6"/>
                    <a:pt x="35" y="4"/>
                  </a:cubicBezTo>
                  <a:cubicBezTo>
                    <a:pt x="33" y="6"/>
                    <a:pt x="30" y="9"/>
                    <a:pt x="27" y="9"/>
                  </a:cubicBezTo>
                  <a:cubicBezTo>
                    <a:pt x="25" y="10"/>
                    <a:pt x="23" y="9"/>
                    <a:pt x="21" y="9"/>
                  </a:cubicBezTo>
                  <a:cubicBezTo>
                    <a:pt x="20" y="8"/>
                    <a:pt x="20" y="8"/>
                    <a:pt x="19" y="8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4" y="5"/>
                    <a:pt x="11" y="3"/>
                    <a:pt x="9" y="3"/>
                  </a:cubicBezTo>
                  <a:cubicBezTo>
                    <a:pt x="6" y="2"/>
                    <a:pt x="3" y="1"/>
                    <a:pt x="0" y="3"/>
                  </a:cubicBezTo>
                  <a:close/>
                </a:path>
              </a:pathLst>
            </a:custGeom>
            <a:solidFill>
              <a:srgbClr val="1916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9">
              <a:extLst>
                <a:ext uri="{FF2B5EF4-FFF2-40B4-BE49-F238E27FC236}">
                  <a16:creationId xmlns:a16="http://schemas.microsoft.com/office/drawing/2014/main" id="{13E46A02-AC3F-4731-8463-4EE43568B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3" y="1581"/>
              <a:ext cx="98" cy="68"/>
            </a:xfrm>
            <a:custGeom>
              <a:avLst/>
              <a:gdLst>
                <a:gd name="T0" fmla="*/ 4 w 55"/>
                <a:gd name="T1" fmla="*/ 22 h 38"/>
                <a:gd name="T2" fmla="*/ 12 w 55"/>
                <a:gd name="T3" fmla="*/ 37 h 38"/>
                <a:gd name="T4" fmla="*/ 48 w 55"/>
                <a:gd name="T5" fmla="*/ 21 h 38"/>
                <a:gd name="T6" fmla="*/ 41 w 55"/>
                <a:gd name="T7" fmla="*/ 2 h 38"/>
                <a:gd name="T8" fmla="*/ 4 w 55"/>
                <a:gd name="T9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38">
                  <a:moveTo>
                    <a:pt x="4" y="22"/>
                  </a:moveTo>
                  <a:cubicBezTo>
                    <a:pt x="0" y="27"/>
                    <a:pt x="4" y="38"/>
                    <a:pt x="12" y="37"/>
                  </a:cubicBezTo>
                  <a:cubicBezTo>
                    <a:pt x="20" y="36"/>
                    <a:pt x="30" y="23"/>
                    <a:pt x="48" y="21"/>
                  </a:cubicBezTo>
                  <a:cubicBezTo>
                    <a:pt x="55" y="21"/>
                    <a:pt x="55" y="0"/>
                    <a:pt x="41" y="2"/>
                  </a:cubicBezTo>
                  <a:cubicBezTo>
                    <a:pt x="27" y="4"/>
                    <a:pt x="13" y="13"/>
                    <a:pt x="4" y="22"/>
                  </a:cubicBezTo>
                  <a:close/>
                </a:path>
              </a:pathLst>
            </a:custGeom>
            <a:solidFill>
              <a:srgbClr val="2112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0">
              <a:extLst>
                <a:ext uri="{FF2B5EF4-FFF2-40B4-BE49-F238E27FC236}">
                  <a16:creationId xmlns:a16="http://schemas.microsoft.com/office/drawing/2014/main" id="{5BE8EB83-C8B0-4087-8E17-9F686EC643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" y="1578"/>
              <a:ext cx="82" cy="55"/>
            </a:xfrm>
            <a:custGeom>
              <a:avLst/>
              <a:gdLst>
                <a:gd name="T0" fmla="*/ 43 w 46"/>
                <a:gd name="T1" fmla="*/ 19 h 31"/>
                <a:gd name="T2" fmla="*/ 36 w 46"/>
                <a:gd name="T3" fmla="*/ 31 h 31"/>
                <a:gd name="T4" fmla="*/ 6 w 46"/>
                <a:gd name="T5" fmla="*/ 18 h 31"/>
                <a:gd name="T6" fmla="*/ 12 w 46"/>
                <a:gd name="T7" fmla="*/ 2 h 31"/>
                <a:gd name="T8" fmla="*/ 43 w 46"/>
                <a:gd name="T9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1">
                  <a:moveTo>
                    <a:pt x="43" y="19"/>
                  </a:moveTo>
                  <a:cubicBezTo>
                    <a:pt x="46" y="22"/>
                    <a:pt x="43" y="31"/>
                    <a:pt x="36" y="31"/>
                  </a:cubicBezTo>
                  <a:cubicBezTo>
                    <a:pt x="29" y="30"/>
                    <a:pt x="21" y="19"/>
                    <a:pt x="6" y="18"/>
                  </a:cubicBezTo>
                  <a:cubicBezTo>
                    <a:pt x="0" y="17"/>
                    <a:pt x="0" y="0"/>
                    <a:pt x="12" y="2"/>
                  </a:cubicBezTo>
                  <a:cubicBezTo>
                    <a:pt x="24" y="3"/>
                    <a:pt x="36" y="11"/>
                    <a:pt x="43" y="19"/>
                  </a:cubicBezTo>
                  <a:close/>
                </a:path>
              </a:pathLst>
            </a:custGeom>
            <a:solidFill>
              <a:srgbClr val="2112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1">
              <a:extLst>
                <a:ext uri="{FF2B5EF4-FFF2-40B4-BE49-F238E27FC236}">
                  <a16:creationId xmlns:a16="http://schemas.microsoft.com/office/drawing/2014/main" id="{07CE854D-4C96-483E-B2DC-D73CED432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1" y="1782"/>
              <a:ext cx="167" cy="104"/>
            </a:xfrm>
            <a:custGeom>
              <a:avLst/>
              <a:gdLst>
                <a:gd name="T0" fmla="*/ 82 w 94"/>
                <a:gd name="T1" fmla="*/ 44 h 59"/>
                <a:gd name="T2" fmla="*/ 47 w 94"/>
                <a:gd name="T3" fmla="*/ 59 h 59"/>
                <a:gd name="T4" fmla="*/ 3 w 94"/>
                <a:gd name="T5" fmla="*/ 29 h 59"/>
                <a:gd name="T6" fmla="*/ 3 w 94"/>
                <a:gd name="T7" fmla="*/ 13 h 59"/>
                <a:gd name="T8" fmla="*/ 4 w 94"/>
                <a:gd name="T9" fmla="*/ 13 h 59"/>
                <a:gd name="T10" fmla="*/ 93 w 94"/>
                <a:gd name="T11" fmla="*/ 11 h 59"/>
                <a:gd name="T12" fmla="*/ 94 w 94"/>
                <a:gd name="T13" fmla="*/ 14 h 59"/>
                <a:gd name="T14" fmla="*/ 82 w 94"/>
                <a:gd name="T15" fmla="*/ 4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59">
                  <a:moveTo>
                    <a:pt x="82" y="44"/>
                  </a:moveTo>
                  <a:cubicBezTo>
                    <a:pt x="75" y="52"/>
                    <a:pt x="64" y="58"/>
                    <a:pt x="47" y="59"/>
                  </a:cubicBezTo>
                  <a:cubicBezTo>
                    <a:pt x="20" y="59"/>
                    <a:pt x="7" y="42"/>
                    <a:pt x="3" y="29"/>
                  </a:cubicBezTo>
                  <a:cubicBezTo>
                    <a:pt x="0" y="21"/>
                    <a:pt x="1" y="15"/>
                    <a:pt x="3" y="13"/>
                  </a:cubicBezTo>
                  <a:cubicBezTo>
                    <a:pt x="3" y="13"/>
                    <a:pt x="3" y="13"/>
                    <a:pt x="4" y="13"/>
                  </a:cubicBezTo>
                  <a:cubicBezTo>
                    <a:pt x="22" y="0"/>
                    <a:pt x="89" y="4"/>
                    <a:pt x="93" y="11"/>
                  </a:cubicBezTo>
                  <a:cubicBezTo>
                    <a:pt x="93" y="11"/>
                    <a:pt x="93" y="13"/>
                    <a:pt x="94" y="14"/>
                  </a:cubicBezTo>
                  <a:cubicBezTo>
                    <a:pt x="94" y="21"/>
                    <a:pt x="91" y="34"/>
                    <a:pt x="82" y="44"/>
                  </a:cubicBez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2">
              <a:extLst>
                <a:ext uri="{FF2B5EF4-FFF2-40B4-BE49-F238E27FC236}">
                  <a16:creationId xmlns:a16="http://schemas.microsoft.com/office/drawing/2014/main" id="{4323F5CB-B8A3-41F1-AEB4-159F989FC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7" y="1815"/>
              <a:ext cx="140" cy="71"/>
            </a:xfrm>
            <a:custGeom>
              <a:avLst/>
              <a:gdLst>
                <a:gd name="T0" fmla="*/ 79 w 79"/>
                <a:gd name="T1" fmla="*/ 25 h 40"/>
                <a:gd name="T2" fmla="*/ 44 w 79"/>
                <a:gd name="T3" fmla="*/ 40 h 40"/>
                <a:gd name="T4" fmla="*/ 0 w 79"/>
                <a:gd name="T5" fmla="*/ 10 h 40"/>
                <a:gd name="T6" fmla="*/ 79 w 79"/>
                <a:gd name="T7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9" h="40">
                  <a:moveTo>
                    <a:pt x="79" y="25"/>
                  </a:moveTo>
                  <a:cubicBezTo>
                    <a:pt x="72" y="33"/>
                    <a:pt x="61" y="39"/>
                    <a:pt x="44" y="40"/>
                  </a:cubicBezTo>
                  <a:cubicBezTo>
                    <a:pt x="17" y="40"/>
                    <a:pt x="4" y="23"/>
                    <a:pt x="0" y="10"/>
                  </a:cubicBezTo>
                  <a:cubicBezTo>
                    <a:pt x="13" y="5"/>
                    <a:pt x="53" y="0"/>
                    <a:pt x="79" y="25"/>
                  </a:cubicBezTo>
                  <a:close/>
                </a:path>
              </a:pathLst>
            </a:custGeom>
            <a:solidFill>
              <a:srgbClr val="FFA1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3">
              <a:extLst>
                <a:ext uri="{FF2B5EF4-FFF2-40B4-BE49-F238E27FC236}">
                  <a16:creationId xmlns:a16="http://schemas.microsoft.com/office/drawing/2014/main" id="{1C1D284F-6899-4E9C-8B79-879D3CE8B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8" y="1782"/>
              <a:ext cx="160" cy="32"/>
            </a:xfrm>
            <a:custGeom>
              <a:avLst/>
              <a:gdLst>
                <a:gd name="T0" fmla="*/ 90 w 90"/>
                <a:gd name="T1" fmla="*/ 14 h 18"/>
                <a:gd name="T2" fmla="*/ 0 w 90"/>
                <a:gd name="T3" fmla="*/ 13 h 18"/>
                <a:gd name="T4" fmla="*/ 89 w 90"/>
                <a:gd name="T5" fmla="*/ 11 h 18"/>
                <a:gd name="T6" fmla="*/ 90 w 90"/>
                <a:gd name="T7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18">
                  <a:moveTo>
                    <a:pt x="90" y="14"/>
                  </a:moveTo>
                  <a:cubicBezTo>
                    <a:pt x="61" y="18"/>
                    <a:pt x="16" y="14"/>
                    <a:pt x="0" y="13"/>
                  </a:cubicBezTo>
                  <a:cubicBezTo>
                    <a:pt x="18" y="0"/>
                    <a:pt x="85" y="4"/>
                    <a:pt x="89" y="11"/>
                  </a:cubicBezTo>
                  <a:cubicBezTo>
                    <a:pt x="89" y="11"/>
                    <a:pt x="89" y="13"/>
                    <a:pt x="90" y="14"/>
                  </a:cubicBezTo>
                  <a:close/>
                </a:path>
              </a:pathLst>
            </a:custGeom>
            <a:solidFill>
              <a:srgbClr val="FFF7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Oval 64">
              <a:extLst>
                <a:ext uri="{FF2B5EF4-FFF2-40B4-BE49-F238E27FC236}">
                  <a16:creationId xmlns:a16="http://schemas.microsoft.com/office/drawing/2014/main" id="{6EB6AADD-5930-4195-94CB-3BE68AD162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1" y="1746"/>
              <a:ext cx="114" cy="64"/>
            </a:xfrm>
            <a:prstGeom prst="ellipse">
              <a:avLst/>
            </a:prstGeom>
            <a:solidFill>
              <a:srgbClr val="FFA1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5">
              <a:extLst>
                <a:ext uri="{FF2B5EF4-FFF2-40B4-BE49-F238E27FC236}">
                  <a16:creationId xmlns:a16="http://schemas.microsoft.com/office/drawing/2014/main" id="{A6A77A6E-5CE5-45AA-BED7-788328F95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1" y="1734"/>
              <a:ext cx="36" cy="51"/>
            </a:xfrm>
            <a:custGeom>
              <a:avLst/>
              <a:gdLst>
                <a:gd name="T0" fmla="*/ 20 w 20"/>
                <a:gd name="T1" fmla="*/ 0 h 29"/>
                <a:gd name="T2" fmla="*/ 16 w 20"/>
                <a:gd name="T3" fmla="*/ 29 h 29"/>
                <a:gd name="T4" fmla="*/ 1 w 20"/>
                <a:gd name="T5" fmla="*/ 13 h 29"/>
                <a:gd name="T6" fmla="*/ 20 w 20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9">
                  <a:moveTo>
                    <a:pt x="20" y="0"/>
                  </a:moveTo>
                  <a:cubicBezTo>
                    <a:pt x="19" y="9"/>
                    <a:pt x="18" y="19"/>
                    <a:pt x="16" y="29"/>
                  </a:cubicBezTo>
                  <a:cubicBezTo>
                    <a:pt x="6" y="25"/>
                    <a:pt x="0" y="19"/>
                    <a:pt x="1" y="13"/>
                  </a:cubicBezTo>
                  <a:cubicBezTo>
                    <a:pt x="2" y="6"/>
                    <a:pt x="9" y="1"/>
                    <a:pt x="20" y="0"/>
                  </a:cubicBezTo>
                  <a:close/>
                </a:path>
              </a:pathLst>
            </a:custGeom>
            <a:solidFill>
              <a:srgbClr val="FFA1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6">
              <a:extLst>
                <a:ext uri="{FF2B5EF4-FFF2-40B4-BE49-F238E27FC236}">
                  <a16:creationId xmlns:a16="http://schemas.microsoft.com/office/drawing/2014/main" id="{27558C1A-94C1-4B75-AB94-0808132A9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2" y="1762"/>
              <a:ext cx="80" cy="71"/>
            </a:xfrm>
            <a:custGeom>
              <a:avLst/>
              <a:gdLst>
                <a:gd name="T0" fmla="*/ 19 w 45"/>
                <a:gd name="T1" fmla="*/ 40 h 40"/>
                <a:gd name="T2" fmla="*/ 21 w 45"/>
                <a:gd name="T3" fmla="*/ 31 h 40"/>
                <a:gd name="T4" fmla="*/ 26 w 45"/>
                <a:gd name="T5" fmla="*/ 24 h 40"/>
                <a:gd name="T6" fmla="*/ 34 w 45"/>
                <a:gd name="T7" fmla="*/ 20 h 40"/>
                <a:gd name="T8" fmla="*/ 43 w 45"/>
                <a:gd name="T9" fmla="*/ 21 h 40"/>
                <a:gd name="T10" fmla="*/ 40 w 45"/>
                <a:gd name="T11" fmla="*/ 24 h 40"/>
                <a:gd name="T12" fmla="*/ 33 w 45"/>
                <a:gd name="T13" fmla="*/ 12 h 40"/>
                <a:gd name="T14" fmla="*/ 22 w 45"/>
                <a:gd name="T15" fmla="*/ 4 h 40"/>
                <a:gd name="T16" fmla="*/ 9 w 45"/>
                <a:gd name="T17" fmla="*/ 6 h 40"/>
                <a:gd name="T18" fmla="*/ 0 w 45"/>
                <a:gd name="T19" fmla="*/ 17 h 40"/>
                <a:gd name="T20" fmla="*/ 8 w 45"/>
                <a:gd name="T21" fmla="*/ 5 h 40"/>
                <a:gd name="T22" fmla="*/ 23 w 45"/>
                <a:gd name="T23" fmla="*/ 1 h 40"/>
                <a:gd name="T24" fmla="*/ 36 w 45"/>
                <a:gd name="T25" fmla="*/ 9 h 40"/>
                <a:gd name="T26" fmla="*/ 44 w 45"/>
                <a:gd name="T27" fmla="*/ 22 h 40"/>
                <a:gd name="T28" fmla="*/ 45 w 45"/>
                <a:gd name="T29" fmla="*/ 26 h 40"/>
                <a:gd name="T30" fmla="*/ 41 w 45"/>
                <a:gd name="T31" fmla="*/ 24 h 40"/>
                <a:gd name="T32" fmla="*/ 34 w 45"/>
                <a:gd name="T33" fmla="*/ 23 h 40"/>
                <a:gd name="T34" fmla="*/ 27 w 45"/>
                <a:gd name="T35" fmla="*/ 26 h 40"/>
                <a:gd name="T36" fmla="*/ 19 w 45"/>
                <a:gd name="T3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0">
                  <a:moveTo>
                    <a:pt x="19" y="40"/>
                  </a:moveTo>
                  <a:cubicBezTo>
                    <a:pt x="19" y="37"/>
                    <a:pt x="20" y="34"/>
                    <a:pt x="21" y="31"/>
                  </a:cubicBezTo>
                  <a:cubicBezTo>
                    <a:pt x="22" y="29"/>
                    <a:pt x="23" y="26"/>
                    <a:pt x="26" y="24"/>
                  </a:cubicBezTo>
                  <a:cubicBezTo>
                    <a:pt x="28" y="22"/>
                    <a:pt x="31" y="20"/>
                    <a:pt x="34" y="20"/>
                  </a:cubicBezTo>
                  <a:cubicBezTo>
                    <a:pt x="37" y="20"/>
                    <a:pt x="40" y="21"/>
                    <a:pt x="43" y="21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39" y="19"/>
                    <a:pt x="36" y="15"/>
                    <a:pt x="33" y="12"/>
                  </a:cubicBezTo>
                  <a:cubicBezTo>
                    <a:pt x="30" y="8"/>
                    <a:pt x="26" y="5"/>
                    <a:pt x="22" y="4"/>
                  </a:cubicBezTo>
                  <a:cubicBezTo>
                    <a:pt x="18" y="3"/>
                    <a:pt x="13" y="4"/>
                    <a:pt x="9" y="6"/>
                  </a:cubicBezTo>
                  <a:cubicBezTo>
                    <a:pt x="6" y="9"/>
                    <a:pt x="2" y="13"/>
                    <a:pt x="0" y="17"/>
                  </a:cubicBezTo>
                  <a:cubicBezTo>
                    <a:pt x="2" y="13"/>
                    <a:pt x="4" y="8"/>
                    <a:pt x="8" y="5"/>
                  </a:cubicBezTo>
                  <a:cubicBezTo>
                    <a:pt x="12" y="1"/>
                    <a:pt x="18" y="0"/>
                    <a:pt x="23" y="1"/>
                  </a:cubicBezTo>
                  <a:cubicBezTo>
                    <a:pt x="28" y="2"/>
                    <a:pt x="33" y="5"/>
                    <a:pt x="36" y="9"/>
                  </a:cubicBezTo>
                  <a:cubicBezTo>
                    <a:pt x="39" y="13"/>
                    <a:pt x="42" y="18"/>
                    <a:pt x="44" y="22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39" y="24"/>
                    <a:pt x="36" y="23"/>
                    <a:pt x="34" y="23"/>
                  </a:cubicBezTo>
                  <a:cubicBezTo>
                    <a:pt x="31" y="23"/>
                    <a:pt x="29" y="24"/>
                    <a:pt x="27" y="26"/>
                  </a:cubicBezTo>
                  <a:cubicBezTo>
                    <a:pt x="23" y="29"/>
                    <a:pt x="21" y="34"/>
                    <a:pt x="19" y="40"/>
                  </a:cubicBezTo>
                  <a:close/>
                </a:path>
              </a:pathLst>
            </a:custGeom>
            <a:solidFill>
              <a:srgbClr val="E8A1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7">
              <a:extLst>
                <a:ext uri="{FF2B5EF4-FFF2-40B4-BE49-F238E27FC236}">
                  <a16:creationId xmlns:a16="http://schemas.microsoft.com/office/drawing/2014/main" id="{A7BD922C-0676-439C-9DA5-8A2AE1083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4" y="2144"/>
              <a:ext cx="378" cy="124"/>
            </a:xfrm>
            <a:custGeom>
              <a:avLst/>
              <a:gdLst>
                <a:gd name="T0" fmla="*/ 213 w 213"/>
                <a:gd name="T1" fmla="*/ 0 h 70"/>
                <a:gd name="T2" fmla="*/ 202 w 213"/>
                <a:gd name="T3" fmla="*/ 4 h 70"/>
                <a:gd name="T4" fmla="*/ 173 w 213"/>
                <a:gd name="T5" fmla="*/ 15 h 70"/>
                <a:gd name="T6" fmla="*/ 160 w 213"/>
                <a:gd name="T7" fmla="*/ 20 h 70"/>
                <a:gd name="T8" fmla="*/ 132 w 213"/>
                <a:gd name="T9" fmla="*/ 31 h 70"/>
                <a:gd name="T10" fmla="*/ 132 w 213"/>
                <a:gd name="T11" fmla="*/ 31 h 70"/>
                <a:gd name="T12" fmla="*/ 84 w 213"/>
                <a:gd name="T13" fmla="*/ 48 h 70"/>
                <a:gd name="T14" fmla="*/ 36 w 213"/>
                <a:gd name="T15" fmla="*/ 65 h 70"/>
                <a:gd name="T16" fmla="*/ 25 w 213"/>
                <a:gd name="T17" fmla="*/ 68 h 70"/>
                <a:gd name="T18" fmla="*/ 19 w 213"/>
                <a:gd name="T19" fmla="*/ 70 h 70"/>
                <a:gd name="T20" fmla="*/ 18 w 213"/>
                <a:gd name="T21" fmla="*/ 70 h 70"/>
                <a:gd name="T22" fmla="*/ 18 w 213"/>
                <a:gd name="T23" fmla="*/ 70 h 70"/>
                <a:gd name="T24" fmla="*/ 18 w 213"/>
                <a:gd name="T25" fmla="*/ 70 h 70"/>
                <a:gd name="T26" fmla="*/ 17 w 213"/>
                <a:gd name="T27" fmla="*/ 69 h 70"/>
                <a:gd name="T28" fmla="*/ 17 w 213"/>
                <a:gd name="T29" fmla="*/ 69 h 70"/>
                <a:gd name="T30" fmla="*/ 16 w 213"/>
                <a:gd name="T31" fmla="*/ 67 h 70"/>
                <a:gd name="T32" fmla="*/ 15 w 213"/>
                <a:gd name="T33" fmla="*/ 65 h 70"/>
                <a:gd name="T34" fmla="*/ 10 w 213"/>
                <a:gd name="T35" fmla="*/ 45 h 70"/>
                <a:gd name="T36" fmla="*/ 2 w 213"/>
                <a:gd name="T37" fmla="*/ 14 h 70"/>
                <a:gd name="T38" fmla="*/ 0 w 213"/>
                <a:gd name="T39" fmla="*/ 3 h 70"/>
                <a:gd name="T40" fmla="*/ 3 w 213"/>
                <a:gd name="T41" fmla="*/ 14 h 70"/>
                <a:gd name="T42" fmla="*/ 11 w 213"/>
                <a:gd name="T43" fmla="*/ 44 h 70"/>
                <a:gd name="T44" fmla="*/ 17 w 213"/>
                <a:gd name="T45" fmla="*/ 64 h 70"/>
                <a:gd name="T46" fmla="*/ 18 w 213"/>
                <a:gd name="T47" fmla="*/ 66 h 70"/>
                <a:gd name="T48" fmla="*/ 19 w 213"/>
                <a:gd name="T49" fmla="*/ 67 h 70"/>
                <a:gd name="T50" fmla="*/ 19 w 213"/>
                <a:gd name="T51" fmla="*/ 67 h 70"/>
                <a:gd name="T52" fmla="*/ 24 w 213"/>
                <a:gd name="T53" fmla="*/ 66 h 70"/>
                <a:gd name="T54" fmla="*/ 36 w 213"/>
                <a:gd name="T55" fmla="*/ 62 h 70"/>
                <a:gd name="T56" fmla="*/ 83 w 213"/>
                <a:gd name="T57" fmla="*/ 45 h 70"/>
                <a:gd name="T58" fmla="*/ 131 w 213"/>
                <a:gd name="T59" fmla="*/ 28 h 70"/>
                <a:gd name="T60" fmla="*/ 133 w 213"/>
                <a:gd name="T61" fmla="*/ 28 h 70"/>
                <a:gd name="T62" fmla="*/ 157 w 213"/>
                <a:gd name="T63" fmla="*/ 19 h 70"/>
                <a:gd name="T64" fmla="*/ 173 w 213"/>
                <a:gd name="T65" fmla="*/ 14 h 70"/>
                <a:gd name="T66" fmla="*/ 202 w 213"/>
                <a:gd name="T67" fmla="*/ 4 h 70"/>
                <a:gd name="T68" fmla="*/ 213 w 213"/>
                <a:gd name="T6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3" h="70">
                  <a:moveTo>
                    <a:pt x="213" y="0"/>
                  </a:moveTo>
                  <a:cubicBezTo>
                    <a:pt x="212" y="0"/>
                    <a:pt x="209" y="2"/>
                    <a:pt x="202" y="4"/>
                  </a:cubicBezTo>
                  <a:cubicBezTo>
                    <a:pt x="195" y="7"/>
                    <a:pt x="185" y="11"/>
                    <a:pt x="173" y="15"/>
                  </a:cubicBezTo>
                  <a:cubicBezTo>
                    <a:pt x="169" y="17"/>
                    <a:pt x="165" y="19"/>
                    <a:pt x="160" y="20"/>
                  </a:cubicBezTo>
                  <a:cubicBezTo>
                    <a:pt x="152" y="24"/>
                    <a:pt x="142" y="27"/>
                    <a:pt x="132" y="31"/>
                  </a:cubicBezTo>
                  <a:cubicBezTo>
                    <a:pt x="132" y="31"/>
                    <a:pt x="132" y="31"/>
                    <a:pt x="132" y="31"/>
                  </a:cubicBezTo>
                  <a:cubicBezTo>
                    <a:pt x="117" y="37"/>
                    <a:pt x="101" y="42"/>
                    <a:pt x="84" y="48"/>
                  </a:cubicBezTo>
                  <a:cubicBezTo>
                    <a:pt x="68" y="54"/>
                    <a:pt x="52" y="60"/>
                    <a:pt x="36" y="65"/>
                  </a:cubicBezTo>
                  <a:cubicBezTo>
                    <a:pt x="33" y="66"/>
                    <a:pt x="29" y="67"/>
                    <a:pt x="25" y="68"/>
                  </a:cubicBezTo>
                  <a:cubicBezTo>
                    <a:pt x="23" y="69"/>
                    <a:pt x="21" y="70"/>
                    <a:pt x="19" y="70"/>
                  </a:cubicBezTo>
                  <a:cubicBezTo>
                    <a:pt x="19" y="70"/>
                    <a:pt x="18" y="70"/>
                    <a:pt x="18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17" y="68"/>
                    <a:pt x="16" y="68"/>
                    <a:pt x="16" y="67"/>
                  </a:cubicBezTo>
                  <a:cubicBezTo>
                    <a:pt x="16" y="66"/>
                    <a:pt x="15" y="66"/>
                    <a:pt x="15" y="65"/>
                  </a:cubicBezTo>
                  <a:cubicBezTo>
                    <a:pt x="13" y="58"/>
                    <a:pt x="11" y="51"/>
                    <a:pt x="10" y="45"/>
                  </a:cubicBezTo>
                  <a:cubicBezTo>
                    <a:pt x="6" y="32"/>
                    <a:pt x="4" y="21"/>
                    <a:pt x="2" y="14"/>
                  </a:cubicBezTo>
                  <a:cubicBezTo>
                    <a:pt x="1" y="8"/>
                    <a:pt x="0" y="4"/>
                    <a:pt x="0" y="3"/>
                  </a:cubicBezTo>
                  <a:cubicBezTo>
                    <a:pt x="0" y="4"/>
                    <a:pt x="1" y="8"/>
                    <a:pt x="3" y="14"/>
                  </a:cubicBezTo>
                  <a:cubicBezTo>
                    <a:pt x="5" y="21"/>
                    <a:pt x="8" y="32"/>
                    <a:pt x="11" y="44"/>
                  </a:cubicBezTo>
                  <a:cubicBezTo>
                    <a:pt x="13" y="50"/>
                    <a:pt x="15" y="57"/>
                    <a:pt x="17" y="64"/>
                  </a:cubicBezTo>
                  <a:cubicBezTo>
                    <a:pt x="18" y="65"/>
                    <a:pt x="18" y="66"/>
                    <a:pt x="18" y="66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1" y="67"/>
                    <a:pt x="23" y="66"/>
                    <a:pt x="24" y="66"/>
                  </a:cubicBezTo>
                  <a:cubicBezTo>
                    <a:pt x="28" y="65"/>
                    <a:pt x="32" y="63"/>
                    <a:pt x="36" y="62"/>
                  </a:cubicBezTo>
                  <a:cubicBezTo>
                    <a:pt x="51" y="57"/>
                    <a:pt x="67" y="51"/>
                    <a:pt x="83" y="45"/>
                  </a:cubicBezTo>
                  <a:cubicBezTo>
                    <a:pt x="100" y="39"/>
                    <a:pt x="116" y="34"/>
                    <a:pt x="131" y="28"/>
                  </a:cubicBezTo>
                  <a:cubicBezTo>
                    <a:pt x="132" y="28"/>
                    <a:pt x="132" y="28"/>
                    <a:pt x="133" y="28"/>
                  </a:cubicBezTo>
                  <a:cubicBezTo>
                    <a:pt x="141" y="25"/>
                    <a:pt x="150" y="22"/>
                    <a:pt x="157" y="19"/>
                  </a:cubicBezTo>
                  <a:cubicBezTo>
                    <a:pt x="163" y="17"/>
                    <a:pt x="168" y="15"/>
                    <a:pt x="173" y="14"/>
                  </a:cubicBezTo>
                  <a:cubicBezTo>
                    <a:pt x="185" y="10"/>
                    <a:pt x="195" y="6"/>
                    <a:pt x="202" y="4"/>
                  </a:cubicBezTo>
                  <a:cubicBezTo>
                    <a:pt x="209" y="1"/>
                    <a:pt x="212" y="0"/>
                    <a:pt x="213" y="0"/>
                  </a:cubicBezTo>
                </a:path>
              </a:pathLst>
            </a:custGeom>
            <a:solidFill>
              <a:srgbClr val="F47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8">
              <a:extLst>
                <a:ext uri="{FF2B5EF4-FFF2-40B4-BE49-F238E27FC236}">
                  <a16:creationId xmlns:a16="http://schemas.microsoft.com/office/drawing/2014/main" id="{53D1AE57-4631-4F2F-8DB8-DC2E519F5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7" y="1746"/>
              <a:ext cx="330" cy="302"/>
            </a:xfrm>
            <a:custGeom>
              <a:avLst/>
              <a:gdLst>
                <a:gd name="T0" fmla="*/ 165 w 186"/>
                <a:gd name="T1" fmla="*/ 170 h 170"/>
                <a:gd name="T2" fmla="*/ 0 w 186"/>
                <a:gd name="T3" fmla="*/ 137 h 170"/>
                <a:gd name="T4" fmla="*/ 0 w 186"/>
                <a:gd name="T5" fmla="*/ 52 h 170"/>
                <a:gd name="T6" fmla="*/ 165 w 186"/>
                <a:gd name="T7" fmla="*/ 0 h 170"/>
                <a:gd name="T8" fmla="*/ 172 w 186"/>
                <a:gd name="T9" fmla="*/ 28 h 170"/>
                <a:gd name="T10" fmla="*/ 165 w 186"/>
                <a:gd name="T11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" h="170">
                  <a:moveTo>
                    <a:pt x="165" y="170"/>
                  </a:moveTo>
                  <a:cubicBezTo>
                    <a:pt x="0" y="137"/>
                    <a:pt x="0" y="137"/>
                    <a:pt x="0" y="137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0"/>
                    <a:pt x="169" y="11"/>
                    <a:pt x="172" y="28"/>
                  </a:cubicBezTo>
                  <a:cubicBezTo>
                    <a:pt x="179" y="61"/>
                    <a:pt x="186" y="118"/>
                    <a:pt x="165" y="170"/>
                  </a:cubicBezTo>
                </a:path>
              </a:pathLst>
            </a:custGeom>
            <a:solidFill>
              <a:srgbClr val="FF75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9">
              <a:extLst>
                <a:ext uri="{FF2B5EF4-FFF2-40B4-BE49-F238E27FC236}">
                  <a16:creationId xmlns:a16="http://schemas.microsoft.com/office/drawing/2014/main" id="{8C392F90-3B2C-4274-8600-5A2837897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1" y="1839"/>
              <a:ext cx="96" cy="150"/>
            </a:xfrm>
            <a:custGeom>
              <a:avLst/>
              <a:gdLst>
                <a:gd name="T0" fmla="*/ 54 w 54"/>
                <a:gd name="T1" fmla="*/ 0 h 85"/>
                <a:gd name="T2" fmla="*/ 54 w 54"/>
                <a:gd name="T3" fmla="*/ 85 h 85"/>
                <a:gd name="T4" fmla="*/ 13 w 54"/>
                <a:gd name="T5" fmla="*/ 85 h 85"/>
                <a:gd name="T6" fmla="*/ 0 w 54"/>
                <a:gd name="T7" fmla="*/ 43 h 85"/>
                <a:gd name="T8" fmla="*/ 0 w 54"/>
                <a:gd name="T9" fmla="*/ 40 h 85"/>
                <a:gd name="T10" fmla="*/ 0 w 54"/>
                <a:gd name="T11" fmla="*/ 40 h 85"/>
                <a:gd name="T12" fmla="*/ 13 w 54"/>
                <a:gd name="T13" fmla="*/ 0 h 85"/>
                <a:gd name="T14" fmla="*/ 54 w 54"/>
                <a:gd name="T1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85">
                  <a:moveTo>
                    <a:pt x="54" y="0"/>
                  </a:moveTo>
                  <a:cubicBezTo>
                    <a:pt x="54" y="85"/>
                    <a:pt x="54" y="85"/>
                    <a:pt x="54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3" y="85"/>
                    <a:pt x="0" y="75"/>
                    <a:pt x="0" y="43"/>
                  </a:cubicBezTo>
                  <a:cubicBezTo>
                    <a:pt x="0" y="42"/>
                    <a:pt x="0" y="41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" y="17"/>
                    <a:pt x="13" y="0"/>
                    <a:pt x="13" y="0"/>
                  </a:cubicBezTo>
                  <a:cubicBezTo>
                    <a:pt x="54" y="0"/>
                    <a:pt x="54" y="0"/>
                    <a:pt x="54" y="0"/>
                  </a:cubicBezTo>
                </a:path>
              </a:pathLst>
            </a:custGeom>
            <a:solidFill>
              <a:srgbClr val="FFCD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70">
              <a:extLst>
                <a:ext uri="{FF2B5EF4-FFF2-40B4-BE49-F238E27FC236}">
                  <a16:creationId xmlns:a16="http://schemas.microsoft.com/office/drawing/2014/main" id="{F792A368-4597-4B09-B376-3A32831AE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8" y="1725"/>
              <a:ext cx="71" cy="344"/>
            </a:xfrm>
            <a:custGeom>
              <a:avLst/>
              <a:gdLst>
                <a:gd name="T0" fmla="*/ 20 w 40"/>
                <a:gd name="T1" fmla="*/ 184 h 194"/>
                <a:gd name="T2" fmla="*/ 4 w 40"/>
                <a:gd name="T3" fmla="*/ 180 h 194"/>
                <a:gd name="T4" fmla="*/ 5 w 40"/>
                <a:gd name="T5" fmla="*/ 179 h 194"/>
                <a:gd name="T6" fmla="*/ 16 w 40"/>
                <a:gd name="T7" fmla="*/ 59 h 194"/>
                <a:gd name="T8" fmla="*/ 4 w 40"/>
                <a:gd name="T9" fmla="*/ 14 h 194"/>
                <a:gd name="T10" fmla="*/ 20 w 40"/>
                <a:gd name="T11" fmla="*/ 9 h 194"/>
                <a:gd name="T12" fmla="*/ 25 w 40"/>
                <a:gd name="T13" fmla="*/ 27 h 194"/>
                <a:gd name="T14" fmla="*/ 20 w 40"/>
                <a:gd name="T15" fmla="*/ 18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194">
                  <a:moveTo>
                    <a:pt x="20" y="184"/>
                  </a:moveTo>
                  <a:cubicBezTo>
                    <a:pt x="16" y="194"/>
                    <a:pt x="0" y="190"/>
                    <a:pt x="4" y="180"/>
                  </a:cubicBezTo>
                  <a:cubicBezTo>
                    <a:pt x="5" y="179"/>
                    <a:pt x="5" y="179"/>
                    <a:pt x="5" y="179"/>
                  </a:cubicBezTo>
                  <a:cubicBezTo>
                    <a:pt x="20" y="142"/>
                    <a:pt x="22" y="100"/>
                    <a:pt x="16" y="59"/>
                  </a:cubicBezTo>
                  <a:cubicBezTo>
                    <a:pt x="13" y="43"/>
                    <a:pt x="9" y="28"/>
                    <a:pt x="4" y="14"/>
                  </a:cubicBezTo>
                  <a:cubicBezTo>
                    <a:pt x="1" y="4"/>
                    <a:pt x="17" y="0"/>
                    <a:pt x="20" y="9"/>
                  </a:cubicBezTo>
                  <a:cubicBezTo>
                    <a:pt x="22" y="15"/>
                    <a:pt x="24" y="21"/>
                    <a:pt x="25" y="27"/>
                  </a:cubicBezTo>
                  <a:cubicBezTo>
                    <a:pt x="39" y="78"/>
                    <a:pt x="40" y="136"/>
                    <a:pt x="20" y="184"/>
                  </a:cubicBezTo>
                </a:path>
              </a:pathLst>
            </a:custGeom>
            <a:solidFill>
              <a:srgbClr val="FFCD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71">
              <a:extLst>
                <a:ext uri="{FF2B5EF4-FFF2-40B4-BE49-F238E27FC236}">
                  <a16:creationId xmlns:a16="http://schemas.microsoft.com/office/drawing/2014/main" id="{12217723-0033-46C5-AE19-B47A6F35D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9" y="2096"/>
              <a:ext cx="54" cy="97"/>
            </a:xfrm>
            <a:custGeom>
              <a:avLst/>
              <a:gdLst>
                <a:gd name="T0" fmla="*/ 0 w 30"/>
                <a:gd name="T1" fmla="*/ 0 h 55"/>
                <a:gd name="T2" fmla="*/ 6 w 30"/>
                <a:gd name="T3" fmla="*/ 55 h 55"/>
                <a:gd name="T4" fmla="*/ 6 w 30"/>
                <a:gd name="T5" fmla="*/ 55 h 55"/>
                <a:gd name="T6" fmla="*/ 6 w 30"/>
                <a:gd name="T7" fmla="*/ 55 h 55"/>
                <a:gd name="T8" fmla="*/ 30 w 30"/>
                <a:gd name="T9" fmla="*/ 46 h 55"/>
                <a:gd name="T10" fmla="*/ 30 w 30"/>
                <a:gd name="T11" fmla="*/ 46 h 55"/>
                <a:gd name="T12" fmla="*/ 30 w 30"/>
                <a:gd name="T13" fmla="*/ 46 h 55"/>
                <a:gd name="T14" fmla="*/ 15 w 30"/>
                <a:gd name="T15" fmla="*/ 23 h 55"/>
                <a:gd name="T16" fmla="*/ 15 w 30"/>
                <a:gd name="T17" fmla="*/ 23 h 55"/>
                <a:gd name="T18" fmla="*/ 8 w 30"/>
                <a:gd name="T19" fmla="*/ 12 h 55"/>
                <a:gd name="T20" fmla="*/ 0 w 3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55">
                  <a:moveTo>
                    <a:pt x="0" y="0"/>
                  </a:moveTo>
                  <a:cubicBezTo>
                    <a:pt x="1" y="1"/>
                    <a:pt x="10" y="24"/>
                    <a:pt x="6" y="5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14" y="52"/>
                    <a:pt x="23" y="49"/>
                    <a:pt x="30" y="46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28" y="42"/>
                    <a:pt x="22" y="3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19"/>
                    <a:pt x="10" y="16"/>
                    <a:pt x="8" y="12"/>
                  </a:cubicBezTo>
                  <a:cubicBezTo>
                    <a:pt x="5" y="8"/>
                    <a:pt x="2" y="3"/>
                    <a:pt x="0" y="0"/>
                  </a:cubicBezTo>
                </a:path>
              </a:pathLst>
            </a:custGeom>
            <a:solidFill>
              <a:srgbClr val="F98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72">
              <a:extLst>
                <a:ext uri="{FF2B5EF4-FFF2-40B4-BE49-F238E27FC236}">
                  <a16:creationId xmlns:a16="http://schemas.microsoft.com/office/drawing/2014/main" id="{E4A2F93C-9FC2-4A73-80E7-314544FE5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9" y="2096"/>
              <a:ext cx="15" cy="21"/>
            </a:xfrm>
            <a:custGeom>
              <a:avLst/>
              <a:gdLst>
                <a:gd name="T0" fmla="*/ 0 w 8"/>
                <a:gd name="T1" fmla="*/ 0 h 12"/>
                <a:gd name="T2" fmla="*/ 0 w 8"/>
                <a:gd name="T3" fmla="*/ 0 h 12"/>
                <a:gd name="T4" fmla="*/ 8 w 8"/>
                <a:gd name="T5" fmla="*/ 12 h 12"/>
                <a:gd name="T6" fmla="*/ 8 w 8"/>
                <a:gd name="T7" fmla="*/ 12 h 12"/>
                <a:gd name="T8" fmla="*/ 6 w 8"/>
                <a:gd name="T9" fmla="*/ 9 h 12"/>
                <a:gd name="T10" fmla="*/ 0 w 8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"/>
                    <a:pt x="5" y="8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7" y="11"/>
                    <a:pt x="7" y="10"/>
                    <a:pt x="6" y="9"/>
                  </a:cubicBezTo>
                  <a:cubicBezTo>
                    <a:pt x="4" y="6"/>
                    <a:pt x="2" y="3"/>
                    <a:pt x="0" y="0"/>
                  </a:cubicBezTo>
                </a:path>
              </a:pathLst>
            </a:custGeom>
            <a:solidFill>
              <a:srgbClr val="F47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73">
              <a:extLst>
                <a:ext uri="{FF2B5EF4-FFF2-40B4-BE49-F238E27FC236}">
                  <a16:creationId xmlns:a16="http://schemas.microsoft.com/office/drawing/2014/main" id="{90616CFC-408A-43FD-9D1B-AB8E399849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9" y="2096"/>
              <a:ext cx="27" cy="40"/>
            </a:xfrm>
            <a:custGeom>
              <a:avLst/>
              <a:gdLst>
                <a:gd name="T0" fmla="*/ 15 w 15"/>
                <a:gd name="T1" fmla="*/ 23 h 23"/>
                <a:gd name="T2" fmla="*/ 15 w 15"/>
                <a:gd name="T3" fmla="*/ 23 h 23"/>
                <a:gd name="T4" fmla="*/ 15 w 15"/>
                <a:gd name="T5" fmla="*/ 23 h 23"/>
                <a:gd name="T6" fmla="*/ 15 w 15"/>
                <a:gd name="T7" fmla="*/ 23 h 23"/>
                <a:gd name="T8" fmla="*/ 15 w 15"/>
                <a:gd name="T9" fmla="*/ 23 h 23"/>
                <a:gd name="T10" fmla="*/ 0 w 15"/>
                <a:gd name="T11" fmla="*/ 0 h 23"/>
                <a:gd name="T12" fmla="*/ 0 w 15"/>
                <a:gd name="T13" fmla="*/ 0 h 23"/>
                <a:gd name="T14" fmla="*/ 6 w 15"/>
                <a:gd name="T15" fmla="*/ 9 h 23"/>
                <a:gd name="T16" fmla="*/ 5 w 15"/>
                <a:gd name="T17" fmla="*/ 7 h 23"/>
                <a:gd name="T18" fmla="*/ 0 w 15"/>
                <a:gd name="T19" fmla="*/ 0 h 23"/>
                <a:gd name="T20" fmla="*/ 0 w 15"/>
                <a:gd name="T2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23"/>
                  </a:move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"/>
                    <a:pt x="4" y="6"/>
                    <a:pt x="6" y="9"/>
                  </a:cubicBezTo>
                  <a:cubicBezTo>
                    <a:pt x="5" y="8"/>
                    <a:pt x="5" y="8"/>
                    <a:pt x="5" y="7"/>
                  </a:cubicBezTo>
                  <a:cubicBezTo>
                    <a:pt x="3" y="4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75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74">
              <a:extLst>
                <a:ext uri="{FF2B5EF4-FFF2-40B4-BE49-F238E27FC236}">
                  <a16:creationId xmlns:a16="http://schemas.microsoft.com/office/drawing/2014/main" id="{01AD134F-F544-4929-8AD5-92FFCEC9BF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8" y="2177"/>
              <a:ext cx="50" cy="22"/>
            </a:xfrm>
            <a:custGeom>
              <a:avLst/>
              <a:gdLst>
                <a:gd name="T0" fmla="*/ 25 w 28"/>
                <a:gd name="T1" fmla="*/ 0 h 12"/>
                <a:gd name="T2" fmla="*/ 25 w 28"/>
                <a:gd name="T3" fmla="*/ 0 h 12"/>
                <a:gd name="T4" fmla="*/ 1 w 28"/>
                <a:gd name="T5" fmla="*/ 9 h 12"/>
                <a:gd name="T6" fmla="*/ 1 w 28"/>
                <a:gd name="T7" fmla="*/ 9 h 12"/>
                <a:gd name="T8" fmla="*/ 0 w 28"/>
                <a:gd name="T9" fmla="*/ 12 h 12"/>
                <a:gd name="T10" fmla="*/ 28 w 28"/>
                <a:gd name="T11" fmla="*/ 1 h 12"/>
                <a:gd name="T12" fmla="*/ 28 w 28"/>
                <a:gd name="T13" fmla="*/ 1 h 12"/>
                <a:gd name="T14" fmla="*/ 26 w 28"/>
                <a:gd name="T15" fmla="*/ 2 h 12"/>
                <a:gd name="T16" fmla="*/ 25 w 28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2">
                  <a:moveTo>
                    <a:pt x="25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8" y="3"/>
                    <a:pt x="9" y="6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1"/>
                    <a:pt x="0" y="12"/>
                  </a:cubicBezTo>
                  <a:cubicBezTo>
                    <a:pt x="10" y="8"/>
                    <a:pt x="20" y="5"/>
                    <a:pt x="28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1"/>
                    <a:pt x="25" y="0"/>
                  </a:cubicBezTo>
                </a:path>
              </a:pathLst>
            </a:custGeom>
            <a:solidFill>
              <a:srgbClr val="F47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75">
              <a:extLst>
                <a:ext uri="{FF2B5EF4-FFF2-40B4-BE49-F238E27FC236}">
                  <a16:creationId xmlns:a16="http://schemas.microsoft.com/office/drawing/2014/main" id="{F9B2B3E6-F983-4F7B-82CA-579BA9B24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2" y="2284"/>
              <a:ext cx="632" cy="367"/>
            </a:xfrm>
            <a:custGeom>
              <a:avLst/>
              <a:gdLst>
                <a:gd name="T0" fmla="*/ 356 w 356"/>
                <a:gd name="T1" fmla="*/ 0 h 207"/>
                <a:gd name="T2" fmla="*/ 356 w 356"/>
                <a:gd name="T3" fmla="*/ 0 h 207"/>
                <a:gd name="T4" fmla="*/ 356 w 356"/>
                <a:gd name="T5" fmla="*/ 0 h 207"/>
                <a:gd name="T6" fmla="*/ 347 w 356"/>
                <a:gd name="T7" fmla="*/ 4 h 207"/>
                <a:gd name="T8" fmla="*/ 317 w 356"/>
                <a:gd name="T9" fmla="*/ 16 h 207"/>
                <a:gd name="T10" fmla="*/ 302 w 356"/>
                <a:gd name="T11" fmla="*/ 21 h 207"/>
                <a:gd name="T12" fmla="*/ 294 w 356"/>
                <a:gd name="T13" fmla="*/ 23 h 207"/>
                <a:gd name="T14" fmla="*/ 293 w 356"/>
                <a:gd name="T15" fmla="*/ 25 h 207"/>
                <a:gd name="T16" fmla="*/ 279 w 356"/>
                <a:gd name="T17" fmla="*/ 38 h 207"/>
                <a:gd name="T18" fmla="*/ 129 w 356"/>
                <a:gd name="T19" fmla="*/ 100 h 207"/>
                <a:gd name="T20" fmla="*/ 7 w 356"/>
                <a:gd name="T21" fmla="*/ 62 h 207"/>
                <a:gd name="T22" fmla="*/ 7 w 356"/>
                <a:gd name="T23" fmla="*/ 62 h 207"/>
                <a:gd name="T24" fmla="*/ 7 w 356"/>
                <a:gd name="T25" fmla="*/ 63 h 207"/>
                <a:gd name="T26" fmla="*/ 0 w 356"/>
                <a:gd name="T27" fmla="*/ 113 h 207"/>
                <a:gd name="T28" fmla="*/ 34 w 356"/>
                <a:gd name="T29" fmla="*/ 189 h 207"/>
                <a:gd name="T30" fmla="*/ 107 w 356"/>
                <a:gd name="T31" fmla="*/ 207 h 207"/>
                <a:gd name="T32" fmla="*/ 172 w 356"/>
                <a:gd name="T33" fmla="*/ 198 h 207"/>
                <a:gd name="T34" fmla="*/ 318 w 356"/>
                <a:gd name="T35" fmla="*/ 33 h 207"/>
                <a:gd name="T36" fmla="*/ 318 w 356"/>
                <a:gd name="T37" fmla="*/ 33 h 207"/>
                <a:gd name="T38" fmla="*/ 318 w 356"/>
                <a:gd name="T39" fmla="*/ 33 h 207"/>
                <a:gd name="T40" fmla="*/ 318 w 356"/>
                <a:gd name="T41" fmla="*/ 33 h 207"/>
                <a:gd name="T42" fmla="*/ 318 w 356"/>
                <a:gd name="T43" fmla="*/ 33 h 207"/>
                <a:gd name="T44" fmla="*/ 356 w 356"/>
                <a:gd name="T45" fmla="*/ 0 h 207"/>
                <a:gd name="T46" fmla="*/ 356 w 356"/>
                <a:gd name="T47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6" h="207">
                  <a:moveTo>
                    <a:pt x="356" y="0"/>
                  </a:moveTo>
                  <a:cubicBezTo>
                    <a:pt x="356" y="0"/>
                    <a:pt x="356" y="0"/>
                    <a:pt x="356" y="0"/>
                  </a:cubicBezTo>
                  <a:cubicBezTo>
                    <a:pt x="356" y="0"/>
                    <a:pt x="356" y="0"/>
                    <a:pt x="356" y="0"/>
                  </a:cubicBezTo>
                  <a:cubicBezTo>
                    <a:pt x="354" y="1"/>
                    <a:pt x="351" y="2"/>
                    <a:pt x="347" y="4"/>
                  </a:cubicBezTo>
                  <a:cubicBezTo>
                    <a:pt x="340" y="7"/>
                    <a:pt x="330" y="11"/>
                    <a:pt x="317" y="16"/>
                  </a:cubicBezTo>
                  <a:cubicBezTo>
                    <a:pt x="312" y="17"/>
                    <a:pt x="307" y="19"/>
                    <a:pt x="302" y="21"/>
                  </a:cubicBezTo>
                  <a:cubicBezTo>
                    <a:pt x="294" y="23"/>
                    <a:pt x="294" y="23"/>
                    <a:pt x="294" y="23"/>
                  </a:cubicBezTo>
                  <a:cubicBezTo>
                    <a:pt x="294" y="24"/>
                    <a:pt x="293" y="24"/>
                    <a:pt x="293" y="25"/>
                  </a:cubicBezTo>
                  <a:cubicBezTo>
                    <a:pt x="289" y="29"/>
                    <a:pt x="284" y="34"/>
                    <a:pt x="279" y="38"/>
                  </a:cubicBezTo>
                  <a:cubicBezTo>
                    <a:pt x="226" y="85"/>
                    <a:pt x="173" y="100"/>
                    <a:pt x="129" y="100"/>
                  </a:cubicBezTo>
                  <a:cubicBezTo>
                    <a:pt x="58" y="100"/>
                    <a:pt x="7" y="62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64"/>
                    <a:pt x="0" y="87"/>
                    <a:pt x="0" y="113"/>
                  </a:cubicBezTo>
                  <a:cubicBezTo>
                    <a:pt x="0" y="140"/>
                    <a:pt x="7" y="172"/>
                    <a:pt x="34" y="189"/>
                  </a:cubicBezTo>
                  <a:cubicBezTo>
                    <a:pt x="56" y="202"/>
                    <a:pt x="83" y="207"/>
                    <a:pt x="107" y="207"/>
                  </a:cubicBezTo>
                  <a:cubicBezTo>
                    <a:pt x="143" y="207"/>
                    <a:pt x="172" y="198"/>
                    <a:pt x="172" y="198"/>
                  </a:cubicBezTo>
                  <a:cubicBezTo>
                    <a:pt x="172" y="198"/>
                    <a:pt x="275" y="106"/>
                    <a:pt x="318" y="33"/>
                  </a:cubicBezTo>
                  <a:cubicBezTo>
                    <a:pt x="318" y="33"/>
                    <a:pt x="318" y="33"/>
                    <a:pt x="318" y="33"/>
                  </a:cubicBezTo>
                  <a:cubicBezTo>
                    <a:pt x="318" y="33"/>
                    <a:pt x="318" y="33"/>
                    <a:pt x="318" y="33"/>
                  </a:cubicBezTo>
                  <a:cubicBezTo>
                    <a:pt x="318" y="33"/>
                    <a:pt x="318" y="33"/>
                    <a:pt x="318" y="33"/>
                  </a:cubicBezTo>
                  <a:cubicBezTo>
                    <a:pt x="318" y="33"/>
                    <a:pt x="318" y="33"/>
                    <a:pt x="318" y="33"/>
                  </a:cubicBezTo>
                  <a:cubicBezTo>
                    <a:pt x="319" y="33"/>
                    <a:pt x="348" y="24"/>
                    <a:pt x="356" y="0"/>
                  </a:cubicBezTo>
                  <a:cubicBezTo>
                    <a:pt x="356" y="0"/>
                    <a:pt x="356" y="0"/>
                    <a:pt x="356" y="0"/>
                  </a:cubicBezTo>
                </a:path>
              </a:pathLst>
            </a:custGeom>
            <a:solidFill>
              <a:srgbClr val="F98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76">
              <a:extLst>
                <a:ext uri="{FF2B5EF4-FFF2-40B4-BE49-F238E27FC236}">
                  <a16:creationId xmlns:a16="http://schemas.microsoft.com/office/drawing/2014/main" id="{2A3958A4-3C19-4F15-9C32-679E67EA0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3" y="2144"/>
              <a:ext cx="268" cy="186"/>
            </a:xfrm>
            <a:custGeom>
              <a:avLst/>
              <a:gdLst>
                <a:gd name="T0" fmla="*/ 129 w 151"/>
                <a:gd name="T1" fmla="*/ 0 h 105"/>
                <a:gd name="T2" fmla="*/ 129 w 151"/>
                <a:gd name="T3" fmla="*/ 0 h 105"/>
                <a:gd name="T4" fmla="*/ 0 w 151"/>
                <a:gd name="T5" fmla="*/ 105 h 105"/>
                <a:gd name="T6" fmla="*/ 12 w 151"/>
                <a:gd name="T7" fmla="*/ 102 h 105"/>
                <a:gd name="T8" fmla="*/ 14 w 151"/>
                <a:gd name="T9" fmla="*/ 100 h 105"/>
                <a:gd name="T10" fmla="*/ 34 w 151"/>
                <a:gd name="T11" fmla="*/ 93 h 105"/>
                <a:gd name="T12" fmla="*/ 74 w 151"/>
                <a:gd name="T13" fmla="*/ 79 h 105"/>
                <a:gd name="T14" fmla="*/ 74 w 151"/>
                <a:gd name="T15" fmla="*/ 79 h 105"/>
                <a:gd name="T16" fmla="*/ 74 w 151"/>
                <a:gd name="T17" fmla="*/ 78 h 105"/>
                <a:gd name="T18" fmla="*/ 94 w 151"/>
                <a:gd name="T19" fmla="*/ 70 h 105"/>
                <a:gd name="T20" fmla="*/ 151 w 151"/>
                <a:gd name="T21" fmla="*/ 46 h 105"/>
                <a:gd name="T22" fmla="*/ 129 w 151"/>
                <a:gd name="T2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1" h="105">
                  <a:moveTo>
                    <a:pt x="129" y="0"/>
                  </a:moveTo>
                  <a:cubicBezTo>
                    <a:pt x="129" y="0"/>
                    <a:pt x="129" y="0"/>
                    <a:pt x="129" y="0"/>
                  </a:cubicBezTo>
                  <a:cubicBezTo>
                    <a:pt x="129" y="0"/>
                    <a:pt x="121" y="60"/>
                    <a:pt x="0" y="105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1"/>
                    <a:pt x="14" y="101"/>
                    <a:pt x="14" y="100"/>
                  </a:cubicBezTo>
                  <a:cubicBezTo>
                    <a:pt x="21" y="97"/>
                    <a:pt x="28" y="95"/>
                    <a:pt x="34" y="93"/>
                  </a:cubicBezTo>
                  <a:cubicBezTo>
                    <a:pt x="54" y="86"/>
                    <a:pt x="69" y="81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94" y="70"/>
                    <a:pt x="94" y="70"/>
                    <a:pt x="94" y="70"/>
                  </a:cubicBezTo>
                  <a:cubicBezTo>
                    <a:pt x="151" y="46"/>
                    <a:pt x="151" y="46"/>
                    <a:pt x="151" y="46"/>
                  </a:cubicBezTo>
                  <a:cubicBezTo>
                    <a:pt x="129" y="0"/>
                    <a:pt x="129" y="0"/>
                    <a:pt x="129" y="0"/>
                  </a:cubicBezTo>
                </a:path>
              </a:pathLst>
            </a:custGeom>
            <a:solidFill>
              <a:srgbClr val="F98F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77">
              <a:extLst>
                <a:ext uri="{FF2B5EF4-FFF2-40B4-BE49-F238E27FC236}">
                  <a16:creationId xmlns:a16="http://schemas.microsoft.com/office/drawing/2014/main" id="{72A9133D-E7CC-4720-AD77-D87AC5276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4" y="2284"/>
              <a:ext cx="110" cy="40"/>
            </a:xfrm>
            <a:custGeom>
              <a:avLst/>
              <a:gdLst>
                <a:gd name="T0" fmla="*/ 62 w 62"/>
                <a:gd name="T1" fmla="*/ 0 h 23"/>
                <a:gd name="T2" fmla="*/ 22 w 62"/>
                <a:gd name="T3" fmla="*/ 14 h 23"/>
                <a:gd name="T4" fmla="*/ 2 w 62"/>
                <a:gd name="T5" fmla="*/ 21 h 23"/>
                <a:gd name="T6" fmla="*/ 0 w 62"/>
                <a:gd name="T7" fmla="*/ 23 h 23"/>
                <a:gd name="T8" fmla="*/ 8 w 62"/>
                <a:gd name="T9" fmla="*/ 21 h 23"/>
                <a:gd name="T10" fmla="*/ 23 w 62"/>
                <a:gd name="T11" fmla="*/ 16 h 23"/>
                <a:gd name="T12" fmla="*/ 53 w 62"/>
                <a:gd name="T13" fmla="*/ 4 h 23"/>
                <a:gd name="T14" fmla="*/ 62 w 62"/>
                <a:gd name="T15" fmla="*/ 0 h 23"/>
                <a:gd name="T16" fmla="*/ 62 w 62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23">
                  <a:moveTo>
                    <a:pt x="62" y="0"/>
                  </a:moveTo>
                  <a:cubicBezTo>
                    <a:pt x="57" y="2"/>
                    <a:pt x="42" y="7"/>
                    <a:pt x="22" y="14"/>
                  </a:cubicBezTo>
                  <a:cubicBezTo>
                    <a:pt x="16" y="16"/>
                    <a:pt x="9" y="18"/>
                    <a:pt x="2" y="21"/>
                  </a:cubicBezTo>
                  <a:cubicBezTo>
                    <a:pt x="2" y="22"/>
                    <a:pt x="1" y="22"/>
                    <a:pt x="0" y="23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13" y="19"/>
                    <a:pt x="18" y="17"/>
                    <a:pt x="23" y="16"/>
                  </a:cubicBezTo>
                  <a:cubicBezTo>
                    <a:pt x="36" y="11"/>
                    <a:pt x="46" y="7"/>
                    <a:pt x="53" y="4"/>
                  </a:cubicBezTo>
                  <a:cubicBezTo>
                    <a:pt x="57" y="2"/>
                    <a:pt x="60" y="1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solidFill>
              <a:srgbClr val="F686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78">
              <a:extLst>
                <a:ext uri="{FF2B5EF4-FFF2-40B4-BE49-F238E27FC236}">
                  <a16:creationId xmlns:a16="http://schemas.microsoft.com/office/drawing/2014/main" id="{48F44205-7F40-4233-9E62-13088FE41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0" y="2229"/>
              <a:ext cx="400" cy="158"/>
            </a:xfrm>
            <a:custGeom>
              <a:avLst/>
              <a:gdLst>
                <a:gd name="T0" fmla="*/ 225 w 225"/>
                <a:gd name="T1" fmla="*/ 30 h 89"/>
                <a:gd name="T2" fmla="*/ 222 w 225"/>
                <a:gd name="T3" fmla="*/ 31 h 89"/>
                <a:gd name="T4" fmla="*/ 213 w 225"/>
                <a:gd name="T5" fmla="*/ 35 h 89"/>
                <a:gd name="T6" fmla="*/ 183 w 225"/>
                <a:gd name="T7" fmla="*/ 47 h 89"/>
                <a:gd name="T8" fmla="*/ 168 w 225"/>
                <a:gd name="T9" fmla="*/ 52 h 89"/>
                <a:gd name="T10" fmla="*/ 159 w 225"/>
                <a:gd name="T11" fmla="*/ 56 h 89"/>
                <a:gd name="T12" fmla="*/ 139 w 225"/>
                <a:gd name="T13" fmla="*/ 63 h 89"/>
                <a:gd name="T14" fmla="*/ 89 w 225"/>
                <a:gd name="T15" fmla="*/ 79 h 89"/>
                <a:gd name="T16" fmla="*/ 62 w 225"/>
                <a:gd name="T17" fmla="*/ 86 h 89"/>
                <a:gd name="T18" fmla="*/ 49 w 225"/>
                <a:gd name="T19" fmla="*/ 88 h 89"/>
                <a:gd name="T20" fmla="*/ 46 w 225"/>
                <a:gd name="T21" fmla="*/ 88 h 89"/>
                <a:gd name="T22" fmla="*/ 42 w 225"/>
                <a:gd name="T23" fmla="*/ 87 h 89"/>
                <a:gd name="T24" fmla="*/ 36 w 225"/>
                <a:gd name="T25" fmla="*/ 83 h 89"/>
                <a:gd name="T26" fmla="*/ 22 w 225"/>
                <a:gd name="T27" fmla="*/ 63 h 89"/>
                <a:gd name="T28" fmla="*/ 13 w 225"/>
                <a:gd name="T29" fmla="*/ 43 h 89"/>
                <a:gd name="T30" fmla="*/ 3 w 225"/>
                <a:gd name="T31" fmla="*/ 12 h 89"/>
                <a:gd name="T32" fmla="*/ 0 w 225"/>
                <a:gd name="T33" fmla="*/ 0 h 89"/>
                <a:gd name="T34" fmla="*/ 4 w 225"/>
                <a:gd name="T35" fmla="*/ 11 h 89"/>
                <a:gd name="T36" fmla="*/ 15 w 225"/>
                <a:gd name="T37" fmla="*/ 42 h 89"/>
                <a:gd name="T38" fmla="*/ 24 w 225"/>
                <a:gd name="T39" fmla="*/ 62 h 89"/>
                <a:gd name="T40" fmla="*/ 30 w 225"/>
                <a:gd name="T41" fmla="*/ 72 h 89"/>
                <a:gd name="T42" fmla="*/ 38 w 225"/>
                <a:gd name="T43" fmla="*/ 81 h 89"/>
                <a:gd name="T44" fmla="*/ 43 w 225"/>
                <a:gd name="T45" fmla="*/ 85 h 89"/>
                <a:gd name="T46" fmla="*/ 46 w 225"/>
                <a:gd name="T47" fmla="*/ 85 h 89"/>
                <a:gd name="T48" fmla="*/ 49 w 225"/>
                <a:gd name="T49" fmla="*/ 86 h 89"/>
                <a:gd name="T50" fmla="*/ 62 w 225"/>
                <a:gd name="T51" fmla="*/ 83 h 89"/>
                <a:gd name="T52" fmla="*/ 88 w 225"/>
                <a:gd name="T53" fmla="*/ 76 h 89"/>
                <a:gd name="T54" fmla="*/ 138 w 225"/>
                <a:gd name="T55" fmla="*/ 60 h 89"/>
                <a:gd name="T56" fmla="*/ 148 w 225"/>
                <a:gd name="T57" fmla="*/ 57 h 89"/>
                <a:gd name="T58" fmla="*/ 148 w 225"/>
                <a:gd name="T59" fmla="*/ 57 h 89"/>
                <a:gd name="T60" fmla="*/ 162 w 225"/>
                <a:gd name="T61" fmla="*/ 52 h 89"/>
                <a:gd name="T62" fmla="*/ 182 w 225"/>
                <a:gd name="T63" fmla="*/ 45 h 89"/>
                <a:gd name="T64" fmla="*/ 222 w 225"/>
                <a:gd name="T65" fmla="*/ 31 h 89"/>
                <a:gd name="T66" fmla="*/ 225 w 225"/>
                <a:gd name="T67" fmla="*/ 3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5" h="89">
                  <a:moveTo>
                    <a:pt x="225" y="30"/>
                  </a:moveTo>
                  <a:cubicBezTo>
                    <a:pt x="224" y="30"/>
                    <a:pt x="224" y="30"/>
                    <a:pt x="222" y="31"/>
                  </a:cubicBezTo>
                  <a:cubicBezTo>
                    <a:pt x="220" y="32"/>
                    <a:pt x="217" y="33"/>
                    <a:pt x="213" y="35"/>
                  </a:cubicBezTo>
                  <a:cubicBezTo>
                    <a:pt x="206" y="38"/>
                    <a:pt x="196" y="42"/>
                    <a:pt x="183" y="47"/>
                  </a:cubicBezTo>
                  <a:cubicBezTo>
                    <a:pt x="178" y="48"/>
                    <a:pt x="173" y="50"/>
                    <a:pt x="168" y="52"/>
                  </a:cubicBezTo>
                  <a:cubicBezTo>
                    <a:pt x="165" y="53"/>
                    <a:pt x="162" y="54"/>
                    <a:pt x="159" y="56"/>
                  </a:cubicBezTo>
                  <a:cubicBezTo>
                    <a:pt x="152" y="58"/>
                    <a:pt x="146" y="60"/>
                    <a:pt x="139" y="63"/>
                  </a:cubicBezTo>
                  <a:cubicBezTo>
                    <a:pt x="123" y="68"/>
                    <a:pt x="106" y="74"/>
                    <a:pt x="89" y="79"/>
                  </a:cubicBezTo>
                  <a:cubicBezTo>
                    <a:pt x="80" y="82"/>
                    <a:pt x="71" y="84"/>
                    <a:pt x="62" y="86"/>
                  </a:cubicBezTo>
                  <a:cubicBezTo>
                    <a:pt x="58" y="87"/>
                    <a:pt x="54" y="88"/>
                    <a:pt x="49" y="88"/>
                  </a:cubicBezTo>
                  <a:cubicBezTo>
                    <a:pt x="48" y="89"/>
                    <a:pt x="47" y="88"/>
                    <a:pt x="46" y="88"/>
                  </a:cubicBezTo>
                  <a:cubicBezTo>
                    <a:pt x="44" y="88"/>
                    <a:pt x="43" y="88"/>
                    <a:pt x="42" y="87"/>
                  </a:cubicBezTo>
                  <a:cubicBezTo>
                    <a:pt x="40" y="86"/>
                    <a:pt x="38" y="85"/>
                    <a:pt x="36" y="83"/>
                  </a:cubicBezTo>
                  <a:cubicBezTo>
                    <a:pt x="30" y="77"/>
                    <a:pt x="26" y="70"/>
                    <a:pt x="22" y="63"/>
                  </a:cubicBezTo>
                  <a:cubicBezTo>
                    <a:pt x="19" y="56"/>
                    <a:pt x="16" y="49"/>
                    <a:pt x="13" y="43"/>
                  </a:cubicBezTo>
                  <a:cubicBezTo>
                    <a:pt x="8" y="30"/>
                    <a:pt x="5" y="19"/>
                    <a:pt x="3" y="12"/>
                  </a:cubicBezTo>
                  <a:cubicBezTo>
                    <a:pt x="1" y="4"/>
                    <a:pt x="0" y="0"/>
                    <a:pt x="0" y="0"/>
                  </a:cubicBezTo>
                  <a:cubicBezTo>
                    <a:pt x="0" y="0"/>
                    <a:pt x="1" y="4"/>
                    <a:pt x="4" y="11"/>
                  </a:cubicBezTo>
                  <a:cubicBezTo>
                    <a:pt x="6" y="19"/>
                    <a:pt x="10" y="30"/>
                    <a:pt x="15" y="42"/>
                  </a:cubicBezTo>
                  <a:cubicBezTo>
                    <a:pt x="18" y="48"/>
                    <a:pt x="21" y="55"/>
                    <a:pt x="24" y="62"/>
                  </a:cubicBezTo>
                  <a:cubicBezTo>
                    <a:pt x="26" y="65"/>
                    <a:pt x="28" y="69"/>
                    <a:pt x="30" y="72"/>
                  </a:cubicBezTo>
                  <a:cubicBezTo>
                    <a:pt x="33" y="75"/>
                    <a:pt x="35" y="79"/>
                    <a:pt x="38" y="81"/>
                  </a:cubicBezTo>
                  <a:cubicBezTo>
                    <a:pt x="40" y="83"/>
                    <a:pt x="41" y="84"/>
                    <a:pt x="43" y="85"/>
                  </a:cubicBezTo>
                  <a:cubicBezTo>
                    <a:pt x="44" y="85"/>
                    <a:pt x="45" y="85"/>
                    <a:pt x="46" y="85"/>
                  </a:cubicBezTo>
                  <a:cubicBezTo>
                    <a:pt x="47" y="85"/>
                    <a:pt x="48" y="86"/>
                    <a:pt x="49" y="86"/>
                  </a:cubicBezTo>
                  <a:cubicBezTo>
                    <a:pt x="53" y="85"/>
                    <a:pt x="57" y="84"/>
                    <a:pt x="62" y="83"/>
                  </a:cubicBezTo>
                  <a:cubicBezTo>
                    <a:pt x="70" y="81"/>
                    <a:pt x="79" y="79"/>
                    <a:pt x="88" y="76"/>
                  </a:cubicBezTo>
                  <a:cubicBezTo>
                    <a:pt x="105" y="71"/>
                    <a:pt x="122" y="66"/>
                    <a:pt x="138" y="60"/>
                  </a:cubicBezTo>
                  <a:cubicBezTo>
                    <a:pt x="142" y="59"/>
                    <a:pt x="145" y="58"/>
                    <a:pt x="148" y="57"/>
                  </a:cubicBezTo>
                  <a:cubicBezTo>
                    <a:pt x="148" y="57"/>
                    <a:pt x="148" y="57"/>
                    <a:pt x="148" y="57"/>
                  </a:cubicBezTo>
                  <a:cubicBezTo>
                    <a:pt x="153" y="55"/>
                    <a:pt x="158" y="53"/>
                    <a:pt x="162" y="52"/>
                  </a:cubicBezTo>
                  <a:cubicBezTo>
                    <a:pt x="169" y="49"/>
                    <a:pt x="176" y="47"/>
                    <a:pt x="182" y="45"/>
                  </a:cubicBezTo>
                  <a:cubicBezTo>
                    <a:pt x="202" y="38"/>
                    <a:pt x="217" y="33"/>
                    <a:pt x="222" y="31"/>
                  </a:cubicBezTo>
                  <a:cubicBezTo>
                    <a:pt x="224" y="30"/>
                    <a:pt x="224" y="30"/>
                    <a:pt x="225" y="30"/>
                  </a:cubicBezTo>
                  <a:close/>
                </a:path>
              </a:pathLst>
            </a:custGeom>
            <a:solidFill>
              <a:srgbClr val="F47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79">
              <a:extLst>
                <a:ext uri="{FF2B5EF4-FFF2-40B4-BE49-F238E27FC236}">
                  <a16:creationId xmlns:a16="http://schemas.microsoft.com/office/drawing/2014/main" id="{F60DADAF-5617-43B4-BD80-AD5F9BF5D8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7" y="1830"/>
              <a:ext cx="295" cy="212"/>
            </a:xfrm>
            <a:custGeom>
              <a:avLst/>
              <a:gdLst>
                <a:gd name="T0" fmla="*/ 163 w 166"/>
                <a:gd name="T1" fmla="*/ 0 h 120"/>
                <a:gd name="T2" fmla="*/ 0 w 166"/>
                <a:gd name="T3" fmla="*/ 64 h 120"/>
                <a:gd name="T4" fmla="*/ 0 w 166"/>
                <a:gd name="T5" fmla="*/ 90 h 120"/>
                <a:gd name="T6" fmla="*/ 152 w 166"/>
                <a:gd name="T7" fmla="*/ 120 h 120"/>
                <a:gd name="T8" fmla="*/ 166 w 166"/>
                <a:gd name="T9" fmla="*/ 42 h 120"/>
                <a:gd name="T10" fmla="*/ 163 w 166"/>
                <a:gd name="T11" fmla="*/ 0 h 120"/>
                <a:gd name="T12" fmla="*/ 163 w 166"/>
                <a:gd name="T1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120">
                  <a:moveTo>
                    <a:pt x="163" y="0"/>
                  </a:moveTo>
                  <a:cubicBezTo>
                    <a:pt x="128" y="62"/>
                    <a:pt x="5" y="64"/>
                    <a:pt x="0" y="64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52" y="120"/>
                    <a:pt x="152" y="120"/>
                    <a:pt x="152" y="120"/>
                  </a:cubicBezTo>
                  <a:cubicBezTo>
                    <a:pt x="162" y="96"/>
                    <a:pt x="166" y="69"/>
                    <a:pt x="166" y="42"/>
                  </a:cubicBezTo>
                  <a:cubicBezTo>
                    <a:pt x="166" y="28"/>
                    <a:pt x="165" y="14"/>
                    <a:pt x="163" y="0"/>
                  </a:cubicBezTo>
                  <a:cubicBezTo>
                    <a:pt x="163" y="0"/>
                    <a:pt x="163" y="0"/>
                    <a:pt x="163" y="0"/>
                  </a:cubicBezTo>
                </a:path>
              </a:pathLst>
            </a:custGeom>
            <a:solidFill>
              <a:srgbClr val="EF63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80">
              <a:extLst>
                <a:ext uri="{FF2B5EF4-FFF2-40B4-BE49-F238E27FC236}">
                  <a16:creationId xmlns:a16="http://schemas.microsoft.com/office/drawing/2014/main" id="{C1760319-E984-463D-911D-16120DD6B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1" y="1909"/>
              <a:ext cx="96" cy="80"/>
            </a:xfrm>
            <a:custGeom>
              <a:avLst/>
              <a:gdLst>
                <a:gd name="T0" fmla="*/ 0 w 54"/>
                <a:gd name="T1" fmla="*/ 0 h 45"/>
                <a:gd name="T2" fmla="*/ 0 w 54"/>
                <a:gd name="T3" fmla="*/ 0 h 45"/>
                <a:gd name="T4" fmla="*/ 0 w 54"/>
                <a:gd name="T5" fmla="*/ 3 h 45"/>
                <a:gd name="T6" fmla="*/ 13 w 54"/>
                <a:gd name="T7" fmla="*/ 45 h 45"/>
                <a:gd name="T8" fmla="*/ 54 w 54"/>
                <a:gd name="T9" fmla="*/ 45 h 45"/>
                <a:gd name="T10" fmla="*/ 54 w 54"/>
                <a:gd name="T11" fmla="*/ 45 h 45"/>
                <a:gd name="T12" fmla="*/ 54 w 54"/>
                <a:gd name="T13" fmla="*/ 19 h 45"/>
                <a:gd name="T14" fmla="*/ 38 w 54"/>
                <a:gd name="T15" fmla="*/ 21 h 45"/>
                <a:gd name="T16" fmla="*/ 0 w 54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4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5"/>
                    <a:pt x="13" y="45"/>
                    <a:pt x="13" y="45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19"/>
                    <a:pt x="47" y="21"/>
                    <a:pt x="38" y="21"/>
                  </a:cubicBezTo>
                  <a:cubicBezTo>
                    <a:pt x="23" y="21"/>
                    <a:pt x="3" y="17"/>
                    <a:pt x="0" y="0"/>
                  </a:cubicBezTo>
                </a:path>
              </a:pathLst>
            </a:custGeom>
            <a:solidFill>
              <a:srgbClr val="F3BF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81">
              <a:extLst>
                <a:ext uri="{FF2B5EF4-FFF2-40B4-BE49-F238E27FC236}">
                  <a16:creationId xmlns:a16="http://schemas.microsoft.com/office/drawing/2014/main" id="{EE37794A-970C-4ADF-BB40-EE3995FA2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" y="1773"/>
              <a:ext cx="55" cy="289"/>
            </a:xfrm>
            <a:custGeom>
              <a:avLst/>
              <a:gdLst>
                <a:gd name="T0" fmla="*/ 21 w 31"/>
                <a:gd name="T1" fmla="*/ 0 h 163"/>
                <a:gd name="T2" fmla="*/ 12 w 31"/>
                <a:gd name="T3" fmla="*/ 32 h 163"/>
                <a:gd name="T4" fmla="*/ 15 w 31"/>
                <a:gd name="T5" fmla="*/ 74 h 163"/>
                <a:gd name="T6" fmla="*/ 15 w 31"/>
                <a:gd name="T7" fmla="*/ 74 h 163"/>
                <a:gd name="T8" fmla="*/ 1 w 31"/>
                <a:gd name="T9" fmla="*/ 152 h 163"/>
                <a:gd name="T10" fmla="*/ 0 w 31"/>
                <a:gd name="T11" fmla="*/ 153 h 163"/>
                <a:gd name="T12" fmla="*/ 0 w 31"/>
                <a:gd name="T13" fmla="*/ 156 h 163"/>
                <a:gd name="T14" fmla="*/ 8 w 31"/>
                <a:gd name="T15" fmla="*/ 163 h 163"/>
                <a:gd name="T16" fmla="*/ 16 w 31"/>
                <a:gd name="T17" fmla="*/ 157 h 163"/>
                <a:gd name="T18" fmla="*/ 31 w 31"/>
                <a:gd name="T19" fmla="*/ 74 h 163"/>
                <a:gd name="T20" fmla="*/ 21 w 31"/>
                <a:gd name="T21" fmla="*/ 0 h 163"/>
                <a:gd name="T22" fmla="*/ 21 w 31"/>
                <a:gd name="T2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163">
                  <a:moveTo>
                    <a:pt x="21" y="0"/>
                  </a:moveTo>
                  <a:cubicBezTo>
                    <a:pt x="20" y="12"/>
                    <a:pt x="12" y="32"/>
                    <a:pt x="12" y="32"/>
                  </a:cubicBezTo>
                  <a:cubicBezTo>
                    <a:pt x="14" y="46"/>
                    <a:pt x="15" y="60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5" y="101"/>
                    <a:pt x="11" y="128"/>
                    <a:pt x="1" y="15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54"/>
                    <a:pt x="0" y="155"/>
                    <a:pt x="0" y="156"/>
                  </a:cubicBezTo>
                  <a:cubicBezTo>
                    <a:pt x="0" y="160"/>
                    <a:pt x="4" y="163"/>
                    <a:pt x="8" y="163"/>
                  </a:cubicBezTo>
                  <a:cubicBezTo>
                    <a:pt x="11" y="163"/>
                    <a:pt x="15" y="161"/>
                    <a:pt x="16" y="157"/>
                  </a:cubicBezTo>
                  <a:cubicBezTo>
                    <a:pt x="27" y="132"/>
                    <a:pt x="31" y="103"/>
                    <a:pt x="31" y="74"/>
                  </a:cubicBezTo>
                  <a:cubicBezTo>
                    <a:pt x="31" y="49"/>
                    <a:pt x="28" y="23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F3BF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82">
              <a:extLst>
                <a:ext uri="{FF2B5EF4-FFF2-40B4-BE49-F238E27FC236}">
                  <a16:creationId xmlns:a16="http://schemas.microsoft.com/office/drawing/2014/main" id="{278C3FB6-D32D-42C6-8674-2FCECE4EE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7" y="1904"/>
              <a:ext cx="25" cy="138"/>
            </a:xfrm>
            <a:custGeom>
              <a:avLst/>
              <a:gdLst>
                <a:gd name="T0" fmla="*/ 14 w 14"/>
                <a:gd name="T1" fmla="*/ 0 h 78"/>
                <a:gd name="T2" fmla="*/ 0 w 14"/>
                <a:gd name="T3" fmla="*/ 78 h 78"/>
                <a:gd name="T4" fmla="*/ 0 w 14"/>
                <a:gd name="T5" fmla="*/ 78 h 78"/>
                <a:gd name="T6" fmla="*/ 14 w 14"/>
                <a:gd name="T7" fmla="*/ 0 h 78"/>
                <a:gd name="T8" fmla="*/ 14 w 14"/>
                <a:gd name="T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8">
                  <a:moveTo>
                    <a:pt x="14" y="0"/>
                  </a:moveTo>
                  <a:cubicBezTo>
                    <a:pt x="14" y="27"/>
                    <a:pt x="10" y="54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0" y="54"/>
                    <a:pt x="14" y="27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EB8B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83">
              <a:extLst>
                <a:ext uri="{FF2B5EF4-FFF2-40B4-BE49-F238E27FC236}">
                  <a16:creationId xmlns:a16="http://schemas.microsoft.com/office/drawing/2014/main" id="{E8944BDE-F543-44E8-B25B-53D98C621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2" y="1369"/>
              <a:ext cx="580" cy="475"/>
            </a:xfrm>
            <a:custGeom>
              <a:avLst/>
              <a:gdLst>
                <a:gd name="T0" fmla="*/ 323 w 327"/>
                <a:gd name="T1" fmla="*/ 0 h 268"/>
                <a:gd name="T2" fmla="*/ 323 w 327"/>
                <a:gd name="T3" fmla="*/ 0 h 268"/>
                <a:gd name="T4" fmla="*/ 238 w 327"/>
                <a:gd name="T5" fmla="*/ 45 h 268"/>
                <a:gd name="T6" fmla="*/ 170 w 327"/>
                <a:gd name="T7" fmla="*/ 137 h 268"/>
                <a:gd name="T8" fmla="*/ 46 w 327"/>
                <a:gd name="T9" fmla="*/ 180 h 268"/>
                <a:gd name="T10" fmla="*/ 0 w 327"/>
                <a:gd name="T11" fmla="*/ 263 h 268"/>
                <a:gd name="T12" fmla="*/ 4 w 327"/>
                <a:gd name="T13" fmla="*/ 268 h 268"/>
                <a:gd name="T14" fmla="*/ 7 w 327"/>
                <a:gd name="T15" fmla="*/ 265 h 268"/>
                <a:gd name="T16" fmla="*/ 64 w 327"/>
                <a:gd name="T17" fmla="*/ 177 h 268"/>
                <a:gd name="T18" fmla="*/ 174 w 327"/>
                <a:gd name="T19" fmla="*/ 143 h 268"/>
                <a:gd name="T20" fmla="*/ 228 w 327"/>
                <a:gd name="T21" fmla="*/ 75 h 268"/>
                <a:gd name="T22" fmla="*/ 323 w 327"/>
                <a:gd name="T23" fmla="*/ 7 h 268"/>
                <a:gd name="T24" fmla="*/ 323 w 327"/>
                <a:gd name="T25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7" h="268">
                  <a:moveTo>
                    <a:pt x="323" y="0"/>
                  </a:moveTo>
                  <a:cubicBezTo>
                    <a:pt x="323" y="0"/>
                    <a:pt x="323" y="0"/>
                    <a:pt x="323" y="0"/>
                  </a:cubicBezTo>
                  <a:cubicBezTo>
                    <a:pt x="290" y="1"/>
                    <a:pt x="258" y="20"/>
                    <a:pt x="238" y="45"/>
                  </a:cubicBezTo>
                  <a:cubicBezTo>
                    <a:pt x="211" y="76"/>
                    <a:pt x="211" y="117"/>
                    <a:pt x="170" y="137"/>
                  </a:cubicBezTo>
                  <a:cubicBezTo>
                    <a:pt x="130" y="156"/>
                    <a:pt x="83" y="154"/>
                    <a:pt x="46" y="180"/>
                  </a:cubicBezTo>
                  <a:cubicBezTo>
                    <a:pt x="18" y="199"/>
                    <a:pt x="7" y="232"/>
                    <a:pt x="0" y="263"/>
                  </a:cubicBezTo>
                  <a:cubicBezTo>
                    <a:pt x="0" y="266"/>
                    <a:pt x="2" y="268"/>
                    <a:pt x="4" y="268"/>
                  </a:cubicBezTo>
                  <a:cubicBezTo>
                    <a:pt x="6" y="268"/>
                    <a:pt x="7" y="267"/>
                    <a:pt x="7" y="265"/>
                  </a:cubicBezTo>
                  <a:cubicBezTo>
                    <a:pt x="16" y="228"/>
                    <a:pt x="29" y="196"/>
                    <a:pt x="64" y="177"/>
                  </a:cubicBezTo>
                  <a:cubicBezTo>
                    <a:pt x="98" y="159"/>
                    <a:pt x="139" y="158"/>
                    <a:pt x="174" y="143"/>
                  </a:cubicBezTo>
                  <a:cubicBezTo>
                    <a:pt x="204" y="130"/>
                    <a:pt x="215" y="103"/>
                    <a:pt x="228" y="75"/>
                  </a:cubicBezTo>
                  <a:cubicBezTo>
                    <a:pt x="245" y="38"/>
                    <a:pt x="281" y="9"/>
                    <a:pt x="323" y="7"/>
                  </a:cubicBezTo>
                  <a:cubicBezTo>
                    <a:pt x="327" y="7"/>
                    <a:pt x="327" y="0"/>
                    <a:pt x="323" y="0"/>
                  </a:cubicBezTo>
                </a:path>
              </a:pathLst>
            </a:custGeom>
            <a:solidFill>
              <a:srgbClr val="1D10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84">
              <a:extLst>
                <a:ext uri="{FF2B5EF4-FFF2-40B4-BE49-F238E27FC236}">
                  <a16:creationId xmlns:a16="http://schemas.microsoft.com/office/drawing/2014/main" id="{FA2982A2-E14A-4330-894B-8BFE5F9C1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3" y="1292"/>
              <a:ext cx="641" cy="371"/>
            </a:xfrm>
            <a:custGeom>
              <a:avLst/>
              <a:gdLst>
                <a:gd name="T0" fmla="*/ 355 w 361"/>
                <a:gd name="T1" fmla="*/ 0 h 209"/>
                <a:gd name="T2" fmla="*/ 354 w 361"/>
                <a:gd name="T3" fmla="*/ 1 h 209"/>
                <a:gd name="T4" fmla="*/ 239 w 361"/>
                <a:gd name="T5" fmla="*/ 66 h 209"/>
                <a:gd name="T6" fmla="*/ 120 w 361"/>
                <a:gd name="T7" fmla="*/ 80 h 209"/>
                <a:gd name="T8" fmla="*/ 1 w 361"/>
                <a:gd name="T9" fmla="*/ 205 h 209"/>
                <a:gd name="T10" fmla="*/ 4 w 361"/>
                <a:gd name="T11" fmla="*/ 209 h 209"/>
                <a:gd name="T12" fmla="*/ 8 w 361"/>
                <a:gd name="T13" fmla="*/ 205 h 209"/>
                <a:gd name="T14" fmla="*/ 146 w 361"/>
                <a:gd name="T15" fmla="*/ 82 h 209"/>
                <a:gd name="T16" fmla="*/ 258 w 361"/>
                <a:gd name="T17" fmla="*/ 69 h 209"/>
                <a:gd name="T18" fmla="*/ 357 w 361"/>
                <a:gd name="T19" fmla="*/ 7 h 209"/>
                <a:gd name="T20" fmla="*/ 355 w 361"/>
                <a:gd name="T21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1" h="209">
                  <a:moveTo>
                    <a:pt x="355" y="0"/>
                  </a:moveTo>
                  <a:cubicBezTo>
                    <a:pt x="355" y="0"/>
                    <a:pt x="354" y="1"/>
                    <a:pt x="354" y="1"/>
                  </a:cubicBezTo>
                  <a:cubicBezTo>
                    <a:pt x="315" y="25"/>
                    <a:pt x="286" y="58"/>
                    <a:pt x="239" y="66"/>
                  </a:cubicBezTo>
                  <a:cubicBezTo>
                    <a:pt x="199" y="73"/>
                    <a:pt x="159" y="69"/>
                    <a:pt x="120" y="80"/>
                  </a:cubicBezTo>
                  <a:cubicBezTo>
                    <a:pt x="58" y="97"/>
                    <a:pt x="7" y="139"/>
                    <a:pt x="1" y="205"/>
                  </a:cubicBezTo>
                  <a:cubicBezTo>
                    <a:pt x="0" y="208"/>
                    <a:pt x="2" y="209"/>
                    <a:pt x="4" y="209"/>
                  </a:cubicBezTo>
                  <a:cubicBezTo>
                    <a:pt x="6" y="209"/>
                    <a:pt x="8" y="208"/>
                    <a:pt x="8" y="205"/>
                  </a:cubicBezTo>
                  <a:cubicBezTo>
                    <a:pt x="15" y="131"/>
                    <a:pt x="79" y="95"/>
                    <a:pt x="146" y="82"/>
                  </a:cubicBezTo>
                  <a:cubicBezTo>
                    <a:pt x="183" y="74"/>
                    <a:pt x="221" y="79"/>
                    <a:pt x="258" y="69"/>
                  </a:cubicBezTo>
                  <a:cubicBezTo>
                    <a:pt x="297" y="60"/>
                    <a:pt x="324" y="28"/>
                    <a:pt x="357" y="7"/>
                  </a:cubicBezTo>
                  <a:cubicBezTo>
                    <a:pt x="361" y="5"/>
                    <a:pt x="359" y="0"/>
                    <a:pt x="355" y="0"/>
                  </a:cubicBezTo>
                </a:path>
              </a:pathLst>
            </a:custGeom>
            <a:solidFill>
              <a:srgbClr val="1D10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85">
              <a:extLst>
                <a:ext uri="{FF2B5EF4-FFF2-40B4-BE49-F238E27FC236}">
                  <a16:creationId xmlns:a16="http://schemas.microsoft.com/office/drawing/2014/main" id="{FC1372F5-8F47-422C-B9A8-9FFA23034E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3" y="1933"/>
              <a:ext cx="484" cy="269"/>
            </a:xfrm>
            <a:custGeom>
              <a:avLst/>
              <a:gdLst>
                <a:gd name="T0" fmla="*/ 268 w 273"/>
                <a:gd name="T1" fmla="*/ 0 h 152"/>
                <a:gd name="T2" fmla="*/ 265 w 273"/>
                <a:gd name="T3" fmla="*/ 3 h 152"/>
                <a:gd name="T4" fmla="*/ 211 w 273"/>
                <a:gd name="T5" fmla="*/ 46 h 152"/>
                <a:gd name="T6" fmla="*/ 135 w 273"/>
                <a:gd name="T7" fmla="*/ 66 h 152"/>
                <a:gd name="T8" fmla="*/ 4 w 273"/>
                <a:gd name="T9" fmla="*/ 144 h 152"/>
                <a:gd name="T10" fmla="*/ 4 w 273"/>
                <a:gd name="T11" fmla="*/ 144 h 152"/>
                <a:gd name="T12" fmla="*/ 4 w 273"/>
                <a:gd name="T13" fmla="*/ 152 h 152"/>
                <a:gd name="T14" fmla="*/ 4 w 273"/>
                <a:gd name="T15" fmla="*/ 152 h 152"/>
                <a:gd name="T16" fmla="*/ 68 w 273"/>
                <a:gd name="T17" fmla="*/ 122 h 152"/>
                <a:gd name="T18" fmla="*/ 98 w 273"/>
                <a:gd name="T19" fmla="*/ 94 h 152"/>
                <a:gd name="T20" fmla="*/ 155 w 273"/>
                <a:gd name="T21" fmla="*/ 70 h 152"/>
                <a:gd name="T22" fmla="*/ 228 w 273"/>
                <a:gd name="T23" fmla="*/ 46 h 152"/>
                <a:gd name="T24" fmla="*/ 272 w 273"/>
                <a:gd name="T25" fmla="*/ 5 h 152"/>
                <a:gd name="T26" fmla="*/ 268 w 273"/>
                <a:gd name="T27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3" h="152">
                  <a:moveTo>
                    <a:pt x="268" y="0"/>
                  </a:moveTo>
                  <a:cubicBezTo>
                    <a:pt x="267" y="0"/>
                    <a:pt x="265" y="1"/>
                    <a:pt x="265" y="3"/>
                  </a:cubicBezTo>
                  <a:cubicBezTo>
                    <a:pt x="257" y="24"/>
                    <a:pt x="230" y="37"/>
                    <a:pt x="211" y="46"/>
                  </a:cubicBezTo>
                  <a:cubicBezTo>
                    <a:pt x="186" y="58"/>
                    <a:pt x="162" y="60"/>
                    <a:pt x="135" y="66"/>
                  </a:cubicBezTo>
                  <a:cubicBezTo>
                    <a:pt x="83" y="78"/>
                    <a:pt x="61" y="144"/>
                    <a:pt x="4" y="144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0" y="144"/>
                    <a:pt x="0" y="152"/>
                    <a:pt x="4" y="152"/>
                  </a:cubicBezTo>
                  <a:cubicBezTo>
                    <a:pt x="4" y="152"/>
                    <a:pt x="4" y="152"/>
                    <a:pt x="4" y="152"/>
                  </a:cubicBezTo>
                  <a:cubicBezTo>
                    <a:pt x="30" y="152"/>
                    <a:pt x="50" y="138"/>
                    <a:pt x="68" y="122"/>
                  </a:cubicBezTo>
                  <a:cubicBezTo>
                    <a:pt x="79" y="113"/>
                    <a:pt x="88" y="103"/>
                    <a:pt x="98" y="94"/>
                  </a:cubicBezTo>
                  <a:cubicBezTo>
                    <a:pt x="115" y="79"/>
                    <a:pt x="134" y="73"/>
                    <a:pt x="155" y="70"/>
                  </a:cubicBezTo>
                  <a:cubicBezTo>
                    <a:pt x="182" y="66"/>
                    <a:pt x="204" y="59"/>
                    <a:pt x="228" y="46"/>
                  </a:cubicBezTo>
                  <a:cubicBezTo>
                    <a:pt x="245" y="36"/>
                    <a:pt x="265" y="24"/>
                    <a:pt x="272" y="5"/>
                  </a:cubicBezTo>
                  <a:cubicBezTo>
                    <a:pt x="273" y="2"/>
                    <a:pt x="271" y="0"/>
                    <a:pt x="268" y="0"/>
                  </a:cubicBezTo>
                </a:path>
              </a:pathLst>
            </a:custGeom>
            <a:solidFill>
              <a:srgbClr val="1D10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86">
              <a:extLst>
                <a:ext uri="{FF2B5EF4-FFF2-40B4-BE49-F238E27FC236}">
                  <a16:creationId xmlns:a16="http://schemas.microsoft.com/office/drawing/2014/main" id="{F281F091-C6BA-4E08-BFF1-341A88C63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0" y="1459"/>
              <a:ext cx="293" cy="202"/>
            </a:xfrm>
            <a:custGeom>
              <a:avLst/>
              <a:gdLst>
                <a:gd name="T0" fmla="*/ 160 w 165"/>
                <a:gd name="T1" fmla="*/ 0 h 114"/>
                <a:gd name="T2" fmla="*/ 157 w 165"/>
                <a:gd name="T3" fmla="*/ 2 h 114"/>
                <a:gd name="T4" fmla="*/ 125 w 165"/>
                <a:gd name="T5" fmla="*/ 44 h 114"/>
                <a:gd name="T6" fmla="*/ 74 w 165"/>
                <a:gd name="T7" fmla="*/ 67 h 114"/>
                <a:gd name="T8" fmla="*/ 2 w 165"/>
                <a:gd name="T9" fmla="*/ 108 h 114"/>
                <a:gd name="T10" fmla="*/ 5 w 165"/>
                <a:gd name="T11" fmla="*/ 114 h 114"/>
                <a:gd name="T12" fmla="*/ 7 w 165"/>
                <a:gd name="T13" fmla="*/ 113 h 114"/>
                <a:gd name="T14" fmla="*/ 102 w 165"/>
                <a:gd name="T15" fmla="*/ 64 h 114"/>
                <a:gd name="T16" fmla="*/ 138 w 165"/>
                <a:gd name="T17" fmla="*/ 42 h 114"/>
                <a:gd name="T18" fmla="*/ 163 w 165"/>
                <a:gd name="T19" fmla="*/ 6 h 114"/>
                <a:gd name="T20" fmla="*/ 160 w 165"/>
                <a:gd name="T2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114">
                  <a:moveTo>
                    <a:pt x="160" y="0"/>
                  </a:moveTo>
                  <a:cubicBezTo>
                    <a:pt x="159" y="0"/>
                    <a:pt x="158" y="1"/>
                    <a:pt x="157" y="2"/>
                  </a:cubicBezTo>
                  <a:cubicBezTo>
                    <a:pt x="147" y="17"/>
                    <a:pt x="140" y="32"/>
                    <a:pt x="125" y="44"/>
                  </a:cubicBezTo>
                  <a:cubicBezTo>
                    <a:pt x="110" y="55"/>
                    <a:pt x="91" y="61"/>
                    <a:pt x="74" y="67"/>
                  </a:cubicBezTo>
                  <a:cubicBezTo>
                    <a:pt x="46" y="76"/>
                    <a:pt x="21" y="85"/>
                    <a:pt x="2" y="108"/>
                  </a:cubicBezTo>
                  <a:cubicBezTo>
                    <a:pt x="0" y="110"/>
                    <a:pt x="2" y="114"/>
                    <a:pt x="5" y="114"/>
                  </a:cubicBezTo>
                  <a:cubicBezTo>
                    <a:pt x="6" y="114"/>
                    <a:pt x="7" y="114"/>
                    <a:pt x="7" y="113"/>
                  </a:cubicBezTo>
                  <a:cubicBezTo>
                    <a:pt x="32" y="83"/>
                    <a:pt x="69" y="78"/>
                    <a:pt x="102" y="64"/>
                  </a:cubicBezTo>
                  <a:cubicBezTo>
                    <a:pt x="115" y="59"/>
                    <a:pt x="127" y="52"/>
                    <a:pt x="138" y="42"/>
                  </a:cubicBezTo>
                  <a:cubicBezTo>
                    <a:pt x="149" y="33"/>
                    <a:pt x="155" y="18"/>
                    <a:pt x="163" y="6"/>
                  </a:cubicBezTo>
                  <a:cubicBezTo>
                    <a:pt x="165" y="3"/>
                    <a:pt x="163" y="0"/>
                    <a:pt x="160" y="0"/>
                  </a:cubicBezTo>
                </a:path>
              </a:pathLst>
            </a:custGeom>
            <a:solidFill>
              <a:srgbClr val="1D10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87">
              <a:extLst>
                <a:ext uri="{FF2B5EF4-FFF2-40B4-BE49-F238E27FC236}">
                  <a16:creationId xmlns:a16="http://schemas.microsoft.com/office/drawing/2014/main" id="{4ADE8CAA-95BE-4BBE-86E1-341FC4FD2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" y="2326"/>
              <a:ext cx="368" cy="351"/>
            </a:xfrm>
            <a:custGeom>
              <a:avLst/>
              <a:gdLst>
                <a:gd name="T0" fmla="*/ 29 w 207"/>
                <a:gd name="T1" fmla="*/ 0 h 198"/>
                <a:gd name="T2" fmla="*/ 20 w 207"/>
                <a:gd name="T3" fmla="*/ 83 h 198"/>
                <a:gd name="T4" fmla="*/ 30 w 207"/>
                <a:gd name="T5" fmla="*/ 120 h 198"/>
                <a:gd name="T6" fmla="*/ 39 w 207"/>
                <a:gd name="T7" fmla="*/ 137 h 198"/>
                <a:gd name="T8" fmla="*/ 45 w 207"/>
                <a:gd name="T9" fmla="*/ 145 h 198"/>
                <a:gd name="T10" fmla="*/ 52 w 207"/>
                <a:gd name="T11" fmla="*/ 151 h 198"/>
                <a:gd name="T12" fmla="*/ 123 w 207"/>
                <a:gd name="T13" fmla="*/ 178 h 198"/>
                <a:gd name="T14" fmla="*/ 207 w 207"/>
                <a:gd name="T15" fmla="*/ 175 h 198"/>
                <a:gd name="T16" fmla="*/ 166 w 207"/>
                <a:gd name="T17" fmla="*/ 191 h 198"/>
                <a:gd name="T18" fmla="*/ 122 w 207"/>
                <a:gd name="T19" fmla="*/ 197 h 198"/>
                <a:gd name="T20" fmla="*/ 77 w 207"/>
                <a:gd name="T21" fmla="*/ 192 h 198"/>
                <a:gd name="T22" fmla="*/ 35 w 207"/>
                <a:gd name="T23" fmla="*/ 169 h 198"/>
                <a:gd name="T24" fmla="*/ 27 w 207"/>
                <a:gd name="T25" fmla="*/ 160 h 198"/>
                <a:gd name="T26" fmla="*/ 20 w 207"/>
                <a:gd name="T27" fmla="*/ 150 h 198"/>
                <a:gd name="T28" fmla="*/ 9 w 207"/>
                <a:gd name="T29" fmla="*/ 129 h 198"/>
                <a:gd name="T30" fmla="*/ 1 w 207"/>
                <a:gd name="T31" fmla="*/ 83 h 198"/>
                <a:gd name="T32" fmla="*/ 9 w 207"/>
                <a:gd name="T33" fmla="*/ 39 h 198"/>
                <a:gd name="T34" fmla="*/ 29 w 207"/>
                <a:gd name="T35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7" h="198">
                  <a:moveTo>
                    <a:pt x="29" y="0"/>
                  </a:moveTo>
                  <a:cubicBezTo>
                    <a:pt x="21" y="28"/>
                    <a:pt x="17" y="56"/>
                    <a:pt x="20" y="83"/>
                  </a:cubicBezTo>
                  <a:cubicBezTo>
                    <a:pt x="21" y="96"/>
                    <a:pt x="24" y="109"/>
                    <a:pt x="30" y="120"/>
                  </a:cubicBezTo>
                  <a:cubicBezTo>
                    <a:pt x="32" y="126"/>
                    <a:pt x="35" y="132"/>
                    <a:pt x="39" y="137"/>
                  </a:cubicBezTo>
                  <a:cubicBezTo>
                    <a:pt x="41" y="140"/>
                    <a:pt x="43" y="142"/>
                    <a:pt x="45" y="145"/>
                  </a:cubicBezTo>
                  <a:cubicBezTo>
                    <a:pt x="47" y="147"/>
                    <a:pt x="49" y="149"/>
                    <a:pt x="52" y="151"/>
                  </a:cubicBezTo>
                  <a:cubicBezTo>
                    <a:pt x="70" y="168"/>
                    <a:pt x="96" y="176"/>
                    <a:pt x="123" y="178"/>
                  </a:cubicBezTo>
                  <a:cubicBezTo>
                    <a:pt x="150" y="181"/>
                    <a:pt x="179" y="179"/>
                    <a:pt x="207" y="175"/>
                  </a:cubicBezTo>
                  <a:cubicBezTo>
                    <a:pt x="195" y="182"/>
                    <a:pt x="181" y="187"/>
                    <a:pt x="166" y="191"/>
                  </a:cubicBezTo>
                  <a:cubicBezTo>
                    <a:pt x="152" y="194"/>
                    <a:pt x="138" y="197"/>
                    <a:pt x="122" y="197"/>
                  </a:cubicBezTo>
                  <a:cubicBezTo>
                    <a:pt x="107" y="198"/>
                    <a:pt x="92" y="196"/>
                    <a:pt x="77" y="192"/>
                  </a:cubicBezTo>
                  <a:cubicBezTo>
                    <a:pt x="62" y="188"/>
                    <a:pt x="47" y="180"/>
                    <a:pt x="35" y="169"/>
                  </a:cubicBezTo>
                  <a:cubicBezTo>
                    <a:pt x="32" y="166"/>
                    <a:pt x="29" y="163"/>
                    <a:pt x="27" y="160"/>
                  </a:cubicBezTo>
                  <a:cubicBezTo>
                    <a:pt x="24" y="157"/>
                    <a:pt x="22" y="154"/>
                    <a:pt x="20" y="150"/>
                  </a:cubicBezTo>
                  <a:cubicBezTo>
                    <a:pt x="15" y="144"/>
                    <a:pt x="12" y="137"/>
                    <a:pt x="9" y="129"/>
                  </a:cubicBezTo>
                  <a:cubicBezTo>
                    <a:pt x="3" y="114"/>
                    <a:pt x="0" y="99"/>
                    <a:pt x="1" y="83"/>
                  </a:cubicBezTo>
                  <a:cubicBezTo>
                    <a:pt x="1" y="68"/>
                    <a:pt x="4" y="53"/>
                    <a:pt x="9" y="39"/>
                  </a:cubicBezTo>
                  <a:cubicBezTo>
                    <a:pt x="14" y="25"/>
                    <a:pt x="20" y="12"/>
                    <a:pt x="29" y="0"/>
                  </a:cubicBezTo>
                  <a:close/>
                </a:path>
              </a:pathLst>
            </a:custGeom>
            <a:solidFill>
              <a:srgbClr val="6481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Oval 88">
              <a:extLst>
                <a:ext uri="{FF2B5EF4-FFF2-40B4-BE49-F238E27FC236}">
                  <a16:creationId xmlns:a16="http://schemas.microsoft.com/office/drawing/2014/main" id="{4001CA7E-53CA-4B3F-A5E2-84979468E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3" y="1998"/>
              <a:ext cx="252" cy="254"/>
            </a:xfrm>
            <a:prstGeom prst="ellipse">
              <a:avLst/>
            </a:prstGeom>
            <a:solidFill>
              <a:srgbClr val="DB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89">
              <a:extLst>
                <a:ext uri="{FF2B5EF4-FFF2-40B4-BE49-F238E27FC236}">
                  <a16:creationId xmlns:a16="http://schemas.microsoft.com/office/drawing/2014/main" id="{4815E8D4-78FA-4B7C-B6BC-827FF9D21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4" y="2055"/>
              <a:ext cx="170" cy="144"/>
            </a:xfrm>
            <a:custGeom>
              <a:avLst/>
              <a:gdLst>
                <a:gd name="T0" fmla="*/ 48 w 96"/>
                <a:gd name="T1" fmla="*/ 81 h 81"/>
                <a:gd name="T2" fmla="*/ 16 w 96"/>
                <a:gd name="T3" fmla="*/ 14 h 81"/>
                <a:gd name="T4" fmla="*/ 48 w 96"/>
                <a:gd name="T5" fmla="*/ 30 h 81"/>
                <a:gd name="T6" fmla="*/ 81 w 96"/>
                <a:gd name="T7" fmla="*/ 14 h 81"/>
                <a:gd name="T8" fmla="*/ 48 w 96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81">
                  <a:moveTo>
                    <a:pt x="48" y="81"/>
                  </a:moveTo>
                  <a:cubicBezTo>
                    <a:pt x="6" y="63"/>
                    <a:pt x="0" y="24"/>
                    <a:pt x="16" y="14"/>
                  </a:cubicBezTo>
                  <a:cubicBezTo>
                    <a:pt x="37" y="0"/>
                    <a:pt x="48" y="30"/>
                    <a:pt x="48" y="30"/>
                  </a:cubicBezTo>
                  <a:cubicBezTo>
                    <a:pt x="48" y="30"/>
                    <a:pt x="60" y="0"/>
                    <a:pt x="81" y="14"/>
                  </a:cubicBezTo>
                  <a:cubicBezTo>
                    <a:pt x="96" y="24"/>
                    <a:pt x="91" y="63"/>
                    <a:pt x="48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90">
              <a:extLst>
                <a:ext uri="{FF2B5EF4-FFF2-40B4-BE49-F238E27FC236}">
                  <a16:creationId xmlns:a16="http://schemas.microsoft.com/office/drawing/2014/main" id="{4F60A8BC-D6F6-438F-AEE2-2D9D1CDE3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" y="2415"/>
              <a:ext cx="288" cy="287"/>
            </a:xfrm>
            <a:custGeom>
              <a:avLst/>
              <a:gdLst>
                <a:gd name="T0" fmla="*/ 148 w 162"/>
                <a:gd name="T1" fmla="*/ 55 h 162"/>
                <a:gd name="T2" fmla="*/ 107 w 162"/>
                <a:gd name="T3" fmla="*/ 148 h 162"/>
                <a:gd name="T4" fmla="*/ 15 w 162"/>
                <a:gd name="T5" fmla="*/ 107 h 162"/>
                <a:gd name="T6" fmla="*/ 55 w 162"/>
                <a:gd name="T7" fmla="*/ 14 h 162"/>
                <a:gd name="T8" fmla="*/ 148 w 162"/>
                <a:gd name="T9" fmla="*/ 5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62">
                  <a:moveTo>
                    <a:pt x="148" y="55"/>
                  </a:moveTo>
                  <a:cubicBezTo>
                    <a:pt x="162" y="92"/>
                    <a:pt x="143" y="133"/>
                    <a:pt x="107" y="148"/>
                  </a:cubicBezTo>
                  <a:cubicBezTo>
                    <a:pt x="70" y="162"/>
                    <a:pt x="29" y="143"/>
                    <a:pt x="15" y="107"/>
                  </a:cubicBezTo>
                  <a:cubicBezTo>
                    <a:pt x="0" y="70"/>
                    <a:pt x="19" y="29"/>
                    <a:pt x="55" y="14"/>
                  </a:cubicBezTo>
                  <a:cubicBezTo>
                    <a:pt x="92" y="0"/>
                    <a:pt x="133" y="19"/>
                    <a:pt x="148" y="55"/>
                  </a:cubicBezTo>
                  <a:close/>
                </a:path>
              </a:pathLst>
            </a:custGeom>
            <a:solidFill>
              <a:srgbClr val="DB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91">
              <a:extLst>
                <a:ext uri="{FF2B5EF4-FFF2-40B4-BE49-F238E27FC236}">
                  <a16:creationId xmlns:a16="http://schemas.microsoft.com/office/drawing/2014/main" id="{2BE870B9-99AC-45C8-ABE4-DF8F0EE02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" y="2486"/>
              <a:ext cx="173" cy="142"/>
            </a:xfrm>
            <a:custGeom>
              <a:avLst/>
              <a:gdLst>
                <a:gd name="T0" fmla="*/ 65 w 98"/>
                <a:gd name="T1" fmla="*/ 80 h 80"/>
                <a:gd name="T2" fmla="*/ 10 w 98"/>
                <a:gd name="T3" fmla="*/ 29 h 80"/>
                <a:gd name="T4" fmla="*/ 47 w 98"/>
                <a:gd name="T5" fmla="*/ 32 h 80"/>
                <a:gd name="T6" fmla="*/ 71 w 98"/>
                <a:gd name="T7" fmla="*/ 6 h 80"/>
                <a:gd name="T8" fmla="*/ 65 w 98"/>
                <a:gd name="T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80">
                  <a:moveTo>
                    <a:pt x="65" y="80"/>
                  </a:moveTo>
                  <a:cubicBezTo>
                    <a:pt x="19" y="78"/>
                    <a:pt x="0" y="44"/>
                    <a:pt x="10" y="29"/>
                  </a:cubicBezTo>
                  <a:cubicBezTo>
                    <a:pt x="25" y="9"/>
                    <a:pt x="47" y="32"/>
                    <a:pt x="47" y="32"/>
                  </a:cubicBezTo>
                  <a:cubicBezTo>
                    <a:pt x="47" y="32"/>
                    <a:pt x="47" y="0"/>
                    <a:pt x="71" y="6"/>
                  </a:cubicBezTo>
                  <a:cubicBezTo>
                    <a:pt x="90" y="9"/>
                    <a:pt x="98" y="47"/>
                    <a:pt x="65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92">
              <a:extLst>
                <a:ext uri="{FF2B5EF4-FFF2-40B4-BE49-F238E27FC236}">
                  <a16:creationId xmlns:a16="http://schemas.microsoft.com/office/drawing/2014/main" id="{B8C72875-94C7-4FFA-8601-13233E6B4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" y="1645"/>
              <a:ext cx="177" cy="179"/>
            </a:xfrm>
            <a:custGeom>
              <a:avLst/>
              <a:gdLst>
                <a:gd name="T0" fmla="*/ 94 w 100"/>
                <a:gd name="T1" fmla="*/ 62 h 101"/>
                <a:gd name="T2" fmla="*/ 39 w 100"/>
                <a:gd name="T3" fmla="*/ 94 h 101"/>
                <a:gd name="T4" fmla="*/ 6 w 100"/>
                <a:gd name="T5" fmla="*/ 39 h 101"/>
                <a:gd name="T6" fmla="*/ 61 w 100"/>
                <a:gd name="T7" fmla="*/ 6 h 101"/>
                <a:gd name="T8" fmla="*/ 94 w 100"/>
                <a:gd name="T9" fmla="*/ 6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94" y="62"/>
                  </a:moveTo>
                  <a:cubicBezTo>
                    <a:pt x="88" y="86"/>
                    <a:pt x="63" y="101"/>
                    <a:pt x="39" y="94"/>
                  </a:cubicBezTo>
                  <a:cubicBezTo>
                    <a:pt x="14" y="88"/>
                    <a:pt x="0" y="63"/>
                    <a:pt x="6" y="39"/>
                  </a:cubicBezTo>
                  <a:cubicBezTo>
                    <a:pt x="12" y="15"/>
                    <a:pt x="37" y="0"/>
                    <a:pt x="61" y="6"/>
                  </a:cubicBezTo>
                  <a:cubicBezTo>
                    <a:pt x="86" y="12"/>
                    <a:pt x="100" y="37"/>
                    <a:pt x="94" y="62"/>
                  </a:cubicBezTo>
                  <a:close/>
                </a:path>
              </a:pathLst>
            </a:custGeom>
            <a:solidFill>
              <a:srgbClr val="DB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93">
              <a:extLst>
                <a:ext uri="{FF2B5EF4-FFF2-40B4-BE49-F238E27FC236}">
                  <a16:creationId xmlns:a16="http://schemas.microsoft.com/office/drawing/2014/main" id="{BB172844-92E6-44E0-AB19-EEE41B619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7" y="1688"/>
              <a:ext cx="110" cy="92"/>
            </a:xfrm>
            <a:custGeom>
              <a:avLst/>
              <a:gdLst>
                <a:gd name="T0" fmla="*/ 23 w 62"/>
                <a:gd name="T1" fmla="*/ 52 h 52"/>
                <a:gd name="T2" fmla="*/ 14 w 62"/>
                <a:gd name="T3" fmla="*/ 5 h 52"/>
                <a:gd name="T4" fmla="*/ 31 w 62"/>
                <a:gd name="T5" fmla="*/ 21 h 52"/>
                <a:gd name="T6" fmla="*/ 54 w 62"/>
                <a:gd name="T7" fmla="*/ 16 h 52"/>
                <a:gd name="T8" fmla="*/ 23 w 62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52">
                  <a:moveTo>
                    <a:pt x="23" y="52"/>
                  </a:moveTo>
                  <a:cubicBezTo>
                    <a:pt x="0" y="34"/>
                    <a:pt x="2" y="9"/>
                    <a:pt x="14" y="5"/>
                  </a:cubicBezTo>
                  <a:cubicBezTo>
                    <a:pt x="29" y="0"/>
                    <a:pt x="31" y="21"/>
                    <a:pt x="31" y="21"/>
                  </a:cubicBezTo>
                  <a:cubicBezTo>
                    <a:pt x="31" y="21"/>
                    <a:pt x="43" y="4"/>
                    <a:pt x="54" y="16"/>
                  </a:cubicBezTo>
                  <a:cubicBezTo>
                    <a:pt x="62" y="25"/>
                    <a:pt x="52" y="47"/>
                    <a:pt x="23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94">
              <a:extLst>
                <a:ext uri="{FF2B5EF4-FFF2-40B4-BE49-F238E27FC236}">
                  <a16:creationId xmlns:a16="http://schemas.microsoft.com/office/drawing/2014/main" id="{9DF47668-5B2A-4BAA-92A1-3E40C0681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9" y="893"/>
              <a:ext cx="178" cy="179"/>
            </a:xfrm>
            <a:custGeom>
              <a:avLst/>
              <a:gdLst>
                <a:gd name="T0" fmla="*/ 94 w 100"/>
                <a:gd name="T1" fmla="*/ 62 h 101"/>
                <a:gd name="T2" fmla="*/ 39 w 100"/>
                <a:gd name="T3" fmla="*/ 95 h 101"/>
                <a:gd name="T4" fmla="*/ 6 w 100"/>
                <a:gd name="T5" fmla="*/ 39 h 101"/>
                <a:gd name="T6" fmla="*/ 61 w 100"/>
                <a:gd name="T7" fmla="*/ 6 h 101"/>
                <a:gd name="T8" fmla="*/ 94 w 100"/>
                <a:gd name="T9" fmla="*/ 6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1">
                  <a:moveTo>
                    <a:pt x="94" y="62"/>
                  </a:moveTo>
                  <a:cubicBezTo>
                    <a:pt x="88" y="86"/>
                    <a:pt x="63" y="101"/>
                    <a:pt x="39" y="95"/>
                  </a:cubicBezTo>
                  <a:cubicBezTo>
                    <a:pt x="14" y="88"/>
                    <a:pt x="0" y="64"/>
                    <a:pt x="6" y="39"/>
                  </a:cubicBezTo>
                  <a:cubicBezTo>
                    <a:pt x="12" y="15"/>
                    <a:pt x="37" y="0"/>
                    <a:pt x="61" y="6"/>
                  </a:cubicBezTo>
                  <a:cubicBezTo>
                    <a:pt x="86" y="13"/>
                    <a:pt x="100" y="38"/>
                    <a:pt x="94" y="62"/>
                  </a:cubicBezTo>
                  <a:close/>
                </a:path>
              </a:pathLst>
            </a:custGeom>
            <a:solidFill>
              <a:srgbClr val="DB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95">
              <a:extLst>
                <a:ext uri="{FF2B5EF4-FFF2-40B4-BE49-F238E27FC236}">
                  <a16:creationId xmlns:a16="http://schemas.microsoft.com/office/drawing/2014/main" id="{24FF70B2-52D3-4716-99AF-32A753DD1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" y="936"/>
              <a:ext cx="110" cy="92"/>
            </a:xfrm>
            <a:custGeom>
              <a:avLst/>
              <a:gdLst>
                <a:gd name="T0" fmla="*/ 23 w 62"/>
                <a:gd name="T1" fmla="*/ 52 h 52"/>
                <a:gd name="T2" fmla="*/ 14 w 62"/>
                <a:gd name="T3" fmla="*/ 6 h 52"/>
                <a:gd name="T4" fmla="*/ 31 w 62"/>
                <a:gd name="T5" fmla="*/ 21 h 52"/>
                <a:gd name="T6" fmla="*/ 54 w 62"/>
                <a:gd name="T7" fmla="*/ 16 h 52"/>
                <a:gd name="T8" fmla="*/ 23 w 62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52">
                  <a:moveTo>
                    <a:pt x="23" y="52"/>
                  </a:moveTo>
                  <a:cubicBezTo>
                    <a:pt x="0" y="34"/>
                    <a:pt x="3" y="10"/>
                    <a:pt x="14" y="6"/>
                  </a:cubicBezTo>
                  <a:cubicBezTo>
                    <a:pt x="29" y="0"/>
                    <a:pt x="31" y="21"/>
                    <a:pt x="31" y="21"/>
                  </a:cubicBezTo>
                  <a:cubicBezTo>
                    <a:pt x="31" y="21"/>
                    <a:pt x="43" y="4"/>
                    <a:pt x="54" y="16"/>
                  </a:cubicBezTo>
                  <a:cubicBezTo>
                    <a:pt x="62" y="25"/>
                    <a:pt x="53" y="48"/>
                    <a:pt x="23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96">
              <a:extLst>
                <a:ext uri="{FF2B5EF4-FFF2-40B4-BE49-F238E27FC236}">
                  <a16:creationId xmlns:a16="http://schemas.microsoft.com/office/drawing/2014/main" id="{503BABEC-312C-49E3-ACE1-13CB8ED15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7" y="1335"/>
              <a:ext cx="165" cy="165"/>
            </a:xfrm>
            <a:custGeom>
              <a:avLst/>
              <a:gdLst>
                <a:gd name="T0" fmla="*/ 88 w 93"/>
                <a:gd name="T1" fmla="*/ 38 h 93"/>
                <a:gd name="T2" fmla="*/ 55 w 93"/>
                <a:gd name="T3" fmla="*/ 88 h 93"/>
                <a:gd name="T4" fmla="*/ 5 w 93"/>
                <a:gd name="T5" fmla="*/ 56 h 93"/>
                <a:gd name="T6" fmla="*/ 37 w 93"/>
                <a:gd name="T7" fmla="*/ 5 h 93"/>
                <a:gd name="T8" fmla="*/ 88 w 93"/>
                <a:gd name="T9" fmla="*/ 3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3">
                  <a:moveTo>
                    <a:pt x="88" y="38"/>
                  </a:moveTo>
                  <a:cubicBezTo>
                    <a:pt x="93" y="61"/>
                    <a:pt x="78" y="83"/>
                    <a:pt x="55" y="88"/>
                  </a:cubicBezTo>
                  <a:cubicBezTo>
                    <a:pt x="32" y="93"/>
                    <a:pt x="10" y="79"/>
                    <a:pt x="5" y="56"/>
                  </a:cubicBezTo>
                  <a:cubicBezTo>
                    <a:pt x="0" y="32"/>
                    <a:pt x="14" y="10"/>
                    <a:pt x="37" y="5"/>
                  </a:cubicBezTo>
                  <a:cubicBezTo>
                    <a:pt x="60" y="0"/>
                    <a:pt x="83" y="15"/>
                    <a:pt x="88" y="38"/>
                  </a:cubicBezTo>
                  <a:close/>
                </a:path>
              </a:pathLst>
            </a:custGeom>
            <a:solidFill>
              <a:srgbClr val="DB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97">
              <a:extLst>
                <a:ext uri="{FF2B5EF4-FFF2-40B4-BE49-F238E27FC236}">
                  <a16:creationId xmlns:a16="http://schemas.microsoft.com/office/drawing/2014/main" id="{18E725BF-1C1B-46E4-8D82-2FA4EF367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5" y="1374"/>
              <a:ext cx="103" cy="87"/>
            </a:xfrm>
            <a:custGeom>
              <a:avLst/>
              <a:gdLst>
                <a:gd name="T0" fmla="*/ 36 w 58"/>
                <a:gd name="T1" fmla="*/ 49 h 49"/>
                <a:gd name="T2" fmla="*/ 8 w 58"/>
                <a:gd name="T3" fmla="*/ 14 h 49"/>
                <a:gd name="T4" fmla="*/ 29 w 58"/>
                <a:gd name="T5" fmla="*/ 19 h 49"/>
                <a:gd name="T6" fmla="*/ 46 w 58"/>
                <a:gd name="T7" fmla="*/ 6 h 49"/>
                <a:gd name="T8" fmla="*/ 36 w 58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49">
                  <a:moveTo>
                    <a:pt x="36" y="49"/>
                  </a:moveTo>
                  <a:cubicBezTo>
                    <a:pt x="8" y="43"/>
                    <a:pt x="0" y="22"/>
                    <a:pt x="8" y="14"/>
                  </a:cubicBezTo>
                  <a:cubicBezTo>
                    <a:pt x="19" y="3"/>
                    <a:pt x="29" y="19"/>
                    <a:pt x="29" y="19"/>
                  </a:cubicBezTo>
                  <a:cubicBezTo>
                    <a:pt x="29" y="19"/>
                    <a:pt x="32" y="0"/>
                    <a:pt x="46" y="6"/>
                  </a:cubicBezTo>
                  <a:cubicBezTo>
                    <a:pt x="57" y="10"/>
                    <a:pt x="58" y="33"/>
                    <a:pt x="36" y="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98">
              <a:extLst>
                <a:ext uri="{FF2B5EF4-FFF2-40B4-BE49-F238E27FC236}">
                  <a16:creationId xmlns:a16="http://schemas.microsoft.com/office/drawing/2014/main" id="{B50CE116-0534-47D3-891F-04AC53EE7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6" y="1035"/>
              <a:ext cx="165" cy="167"/>
            </a:xfrm>
            <a:custGeom>
              <a:avLst/>
              <a:gdLst>
                <a:gd name="T0" fmla="*/ 88 w 93"/>
                <a:gd name="T1" fmla="*/ 38 h 94"/>
                <a:gd name="T2" fmla="*/ 55 w 93"/>
                <a:gd name="T3" fmla="*/ 89 h 94"/>
                <a:gd name="T4" fmla="*/ 4 w 93"/>
                <a:gd name="T5" fmla="*/ 56 h 94"/>
                <a:gd name="T6" fmla="*/ 37 w 93"/>
                <a:gd name="T7" fmla="*/ 5 h 94"/>
                <a:gd name="T8" fmla="*/ 88 w 93"/>
                <a:gd name="T9" fmla="*/ 3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4">
                  <a:moveTo>
                    <a:pt x="88" y="38"/>
                  </a:moveTo>
                  <a:cubicBezTo>
                    <a:pt x="93" y="61"/>
                    <a:pt x="78" y="84"/>
                    <a:pt x="55" y="89"/>
                  </a:cubicBezTo>
                  <a:cubicBezTo>
                    <a:pt x="32" y="94"/>
                    <a:pt x="9" y="79"/>
                    <a:pt x="4" y="56"/>
                  </a:cubicBezTo>
                  <a:cubicBezTo>
                    <a:pt x="0" y="33"/>
                    <a:pt x="14" y="10"/>
                    <a:pt x="37" y="5"/>
                  </a:cubicBezTo>
                  <a:cubicBezTo>
                    <a:pt x="60" y="0"/>
                    <a:pt x="83" y="15"/>
                    <a:pt x="88" y="38"/>
                  </a:cubicBezTo>
                  <a:close/>
                </a:path>
              </a:pathLst>
            </a:custGeom>
            <a:solidFill>
              <a:srgbClr val="DB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99">
              <a:extLst>
                <a:ext uri="{FF2B5EF4-FFF2-40B4-BE49-F238E27FC236}">
                  <a16:creationId xmlns:a16="http://schemas.microsoft.com/office/drawing/2014/main" id="{83B2891B-91B4-45DF-B6EC-CAE13A1B0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4" y="1076"/>
              <a:ext cx="103" cy="85"/>
            </a:xfrm>
            <a:custGeom>
              <a:avLst/>
              <a:gdLst>
                <a:gd name="T0" fmla="*/ 35 w 58"/>
                <a:gd name="T1" fmla="*/ 48 h 48"/>
                <a:gd name="T2" fmla="*/ 8 w 58"/>
                <a:gd name="T3" fmla="*/ 13 h 48"/>
                <a:gd name="T4" fmla="*/ 29 w 58"/>
                <a:gd name="T5" fmla="*/ 19 h 48"/>
                <a:gd name="T6" fmla="*/ 46 w 58"/>
                <a:gd name="T7" fmla="*/ 5 h 48"/>
                <a:gd name="T8" fmla="*/ 35 w 58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48">
                  <a:moveTo>
                    <a:pt x="35" y="48"/>
                  </a:moveTo>
                  <a:cubicBezTo>
                    <a:pt x="8" y="43"/>
                    <a:pt x="0" y="21"/>
                    <a:pt x="8" y="13"/>
                  </a:cubicBezTo>
                  <a:cubicBezTo>
                    <a:pt x="19" y="3"/>
                    <a:pt x="29" y="19"/>
                    <a:pt x="29" y="19"/>
                  </a:cubicBezTo>
                  <a:cubicBezTo>
                    <a:pt x="29" y="19"/>
                    <a:pt x="32" y="0"/>
                    <a:pt x="46" y="5"/>
                  </a:cubicBezTo>
                  <a:cubicBezTo>
                    <a:pt x="57" y="9"/>
                    <a:pt x="58" y="32"/>
                    <a:pt x="35" y="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00">
              <a:extLst>
                <a:ext uri="{FF2B5EF4-FFF2-40B4-BE49-F238E27FC236}">
                  <a16:creationId xmlns:a16="http://schemas.microsoft.com/office/drawing/2014/main" id="{B5F35DA5-1FF2-472E-BF70-E919BA472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7" y="1755"/>
              <a:ext cx="110" cy="135"/>
            </a:xfrm>
            <a:custGeom>
              <a:avLst/>
              <a:gdLst>
                <a:gd name="T0" fmla="*/ 18 w 62"/>
                <a:gd name="T1" fmla="*/ 76 h 76"/>
                <a:gd name="T2" fmla="*/ 12 w 62"/>
                <a:gd name="T3" fmla="*/ 76 h 76"/>
                <a:gd name="T4" fmla="*/ 11 w 62"/>
                <a:gd name="T5" fmla="*/ 75 h 76"/>
                <a:gd name="T6" fmla="*/ 1 w 62"/>
                <a:gd name="T7" fmla="*/ 49 h 76"/>
                <a:gd name="T8" fmla="*/ 1 w 62"/>
                <a:gd name="T9" fmla="*/ 48 h 76"/>
                <a:gd name="T10" fmla="*/ 8 w 62"/>
                <a:gd name="T11" fmla="*/ 27 h 76"/>
                <a:gd name="T12" fmla="*/ 5 w 62"/>
                <a:gd name="T13" fmla="*/ 6 h 76"/>
                <a:gd name="T14" fmla="*/ 6 w 62"/>
                <a:gd name="T15" fmla="*/ 2 h 76"/>
                <a:gd name="T16" fmla="*/ 12 w 62"/>
                <a:gd name="T17" fmla="*/ 1 h 76"/>
                <a:gd name="T18" fmla="*/ 20 w 62"/>
                <a:gd name="T19" fmla="*/ 11 h 76"/>
                <a:gd name="T20" fmla="*/ 23 w 62"/>
                <a:gd name="T21" fmla="*/ 21 h 76"/>
                <a:gd name="T22" fmla="*/ 24 w 62"/>
                <a:gd name="T23" fmla="*/ 29 h 76"/>
                <a:gd name="T24" fmla="*/ 26 w 62"/>
                <a:gd name="T25" fmla="*/ 28 h 76"/>
                <a:gd name="T26" fmla="*/ 48 w 62"/>
                <a:gd name="T27" fmla="*/ 20 h 76"/>
                <a:gd name="T28" fmla="*/ 54 w 62"/>
                <a:gd name="T29" fmla="*/ 21 h 76"/>
                <a:gd name="T30" fmla="*/ 53 w 62"/>
                <a:gd name="T31" fmla="*/ 28 h 76"/>
                <a:gd name="T32" fmla="*/ 52 w 62"/>
                <a:gd name="T33" fmla="*/ 29 h 76"/>
                <a:gd name="T34" fmla="*/ 54 w 62"/>
                <a:gd name="T35" fmla="*/ 30 h 76"/>
                <a:gd name="T36" fmla="*/ 56 w 62"/>
                <a:gd name="T37" fmla="*/ 38 h 76"/>
                <a:gd name="T38" fmla="*/ 54 w 62"/>
                <a:gd name="T39" fmla="*/ 40 h 76"/>
                <a:gd name="T40" fmla="*/ 57 w 62"/>
                <a:gd name="T41" fmla="*/ 41 h 76"/>
                <a:gd name="T42" fmla="*/ 57 w 62"/>
                <a:gd name="T43" fmla="*/ 49 h 76"/>
                <a:gd name="T44" fmla="*/ 56 w 62"/>
                <a:gd name="T45" fmla="*/ 50 h 76"/>
                <a:gd name="T46" fmla="*/ 57 w 62"/>
                <a:gd name="T47" fmla="*/ 51 h 76"/>
                <a:gd name="T48" fmla="*/ 60 w 62"/>
                <a:gd name="T49" fmla="*/ 59 h 76"/>
                <a:gd name="T50" fmla="*/ 59 w 62"/>
                <a:gd name="T51" fmla="*/ 60 h 76"/>
                <a:gd name="T52" fmla="*/ 55 w 62"/>
                <a:gd name="T53" fmla="*/ 62 h 76"/>
                <a:gd name="T54" fmla="*/ 22 w 62"/>
                <a:gd name="T55" fmla="*/ 76 h 76"/>
                <a:gd name="T56" fmla="*/ 18 w 62"/>
                <a:gd name="T5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2" h="76">
                  <a:moveTo>
                    <a:pt x="18" y="76"/>
                  </a:moveTo>
                  <a:cubicBezTo>
                    <a:pt x="16" y="76"/>
                    <a:pt x="14" y="75"/>
                    <a:pt x="12" y="76"/>
                  </a:cubicBezTo>
                  <a:cubicBezTo>
                    <a:pt x="11" y="76"/>
                    <a:pt x="11" y="75"/>
                    <a:pt x="11" y="75"/>
                  </a:cubicBezTo>
                  <a:cubicBezTo>
                    <a:pt x="7" y="66"/>
                    <a:pt x="4" y="58"/>
                    <a:pt x="1" y="49"/>
                  </a:cubicBezTo>
                  <a:cubicBezTo>
                    <a:pt x="1" y="49"/>
                    <a:pt x="0" y="48"/>
                    <a:pt x="1" y="48"/>
                  </a:cubicBezTo>
                  <a:cubicBezTo>
                    <a:pt x="6" y="42"/>
                    <a:pt x="6" y="34"/>
                    <a:pt x="8" y="27"/>
                  </a:cubicBezTo>
                  <a:cubicBezTo>
                    <a:pt x="10" y="19"/>
                    <a:pt x="9" y="13"/>
                    <a:pt x="5" y="6"/>
                  </a:cubicBezTo>
                  <a:cubicBezTo>
                    <a:pt x="4" y="4"/>
                    <a:pt x="5" y="3"/>
                    <a:pt x="6" y="2"/>
                  </a:cubicBezTo>
                  <a:cubicBezTo>
                    <a:pt x="8" y="0"/>
                    <a:pt x="11" y="0"/>
                    <a:pt x="12" y="1"/>
                  </a:cubicBezTo>
                  <a:cubicBezTo>
                    <a:pt x="15" y="4"/>
                    <a:pt x="18" y="7"/>
                    <a:pt x="20" y="11"/>
                  </a:cubicBezTo>
                  <a:cubicBezTo>
                    <a:pt x="22" y="14"/>
                    <a:pt x="22" y="18"/>
                    <a:pt x="23" y="21"/>
                  </a:cubicBezTo>
                  <a:cubicBezTo>
                    <a:pt x="23" y="24"/>
                    <a:pt x="24" y="26"/>
                    <a:pt x="24" y="29"/>
                  </a:cubicBezTo>
                  <a:cubicBezTo>
                    <a:pt x="25" y="29"/>
                    <a:pt x="25" y="28"/>
                    <a:pt x="26" y="28"/>
                  </a:cubicBezTo>
                  <a:cubicBezTo>
                    <a:pt x="33" y="25"/>
                    <a:pt x="40" y="22"/>
                    <a:pt x="48" y="20"/>
                  </a:cubicBezTo>
                  <a:cubicBezTo>
                    <a:pt x="51" y="18"/>
                    <a:pt x="52" y="19"/>
                    <a:pt x="54" y="21"/>
                  </a:cubicBezTo>
                  <a:cubicBezTo>
                    <a:pt x="55" y="23"/>
                    <a:pt x="55" y="26"/>
                    <a:pt x="53" y="28"/>
                  </a:cubicBezTo>
                  <a:cubicBezTo>
                    <a:pt x="53" y="28"/>
                    <a:pt x="51" y="29"/>
                    <a:pt x="52" y="29"/>
                  </a:cubicBezTo>
                  <a:cubicBezTo>
                    <a:pt x="52" y="30"/>
                    <a:pt x="53" y="30"/>
                    <a:pt x="54" y="30"/>
                  </a:cubicBezTo>
                  <a:cubicBezTo>
                    <a:pt x="57" y="31"/>
                    <a:pt x="58" y="35"/>
                    <a:pt x="56" y="38"/>
                  </a:cubicBezTo>
                  <a:cubicBezTo>
                    <a:pt x="55" y="39"/>
                    <a:pt x="54" y="39"/>
                    <a:pt x="54" y="40"/>
                  </a:cubicBezTo>
                  <a:cubicBezTo>
                    <a:pt x="54" y="41"/>
                    <a:pt x="56" y="41"/>
                    <a:pt x="57" y="41"/>
                  </a:cubicBezTo>
                  <a:cubicBezTo>
                    <a:pt x="59" y="42"/>
                    <a:pt x="60" y="46"/>
                    <a:pt x="57" y="49"/>
                  </a:cubicBezTo>
                  <a:cubicBezTo>
                    <a:pt x="57" y="50"/>
                    <a:pt x="57" y="50"/>
                    <a:pt x="56" y="50"/>
                  </a:cubicBezTo>
                  <a:cubicBezTo>
                    <a:pt x="56" y="51"/>
                    <a:pt x="56" y="51"/>
                    <a:pt x="57" y="51"/>
                  </a:cubicBezTo>
                  <a:cubicBezTo>
                    <a:pt x="61" y="52"/>
                    <a:pt x="62" y="55"/>
                    <a:pt x="60" y="59"/>
                  </a:cubicBezTo>
                  <a:cubicBezTo>
                    <a:pt x="59" y="60"/>
                    <a:pt x="59" y="60"/>
                    <a:pt x="59" y="60"/>
                  </a:cubicBezTo>
                  <a:cubicBezTo>
                    <a:pt x="58" y="61"/>
                    <a:pt x="57" y="62"/>
                    <a:pt x="55" y="62"/>
                  </a:cubicBezTo>
                  <a:cubicBezTo>
                    <a:pt x="44" y="67"/>
                    <a:pt x="33" y="71"/>
                    <a:pt x="22" y="76"/>
                  </a:cubicBezTo>
                  <a:cubicBezTo>
                    <a:pt x="21" y="76"/>
                    <a:pt x="20" y="76"/>
                    <a:pt x="18" y="76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01">
              <a:extLst>
                <a:ext uri="{FF2B5EF4-FFF2-40B4-BE49-F238E27FC236}">
                  <a16:creationId xmlns:a16="http://schemas.microsoft.com/office/drawing/2014/main" id="{EC8B0220-2E77-42C2-A64D-F65E3AD93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9" y="1839"/>
              <a:ext cx="66" cy="79"/>
            </a:xfrm>
            <a:custGeom>
              <a:avLst/>
              <a:gdLst>
                <a:gd name="T0" fmla="*/ 7 w 37"/>
                <a:gd name="T1" fmla="*/ 27 h 45"/>
                <a:gd name="T2" fmla="*/ 1 w 37"/>
                <a:gd name="T3" fmla="*/ 10 h 45"/>
                <a:gd name="T4" fmla="*/ 2 w 37"/>
                <a:gd name="T5" fmla="*/ 8 h 45"/>
                <a:gd name="T6" fmla="*/ 22 w 37"/>
                <a:gd name="T7" fmla="*/ 0 h 45"/>
                <a:gd name="T8" fmla="*/ 24 w 37"/>
                <a:gd name="T9" fmla="*/ 1 h 45"/>
                <a:gd name="T10" fmla="*/ 37 w 37"/>
                <a:gd name="T11" fmla="*/ 34 h 45"/>
                <a:gd name="T12" fmla="*/ 35 w 37"/>
                <a:gd name="T13" fmla="*/ 36 h 45"/>
                <a:gd name="T14" fmla="*/ 16 w 37"/>
                <a:gd name="T15" fmla="*/ 44 h 45"/>
                <a:gd name="T16" fmla="*/ 14 w 37"/>
                <a:gd name="T17" fmla="*/ 43 h 45"/>
                <a:gd name="T18" fmla="*/ 7 w 37"/>
                <a:gd name="T19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45">
                  <a:moveTo>
                    <a:pt x="7" y="27"/>
                  </a:moveTo>
                  <a:cubicBezTo>
                    <a:pt x="5" y="21"/>
                    <a:pt x="3" y="16"/>
                    <a:pt x="1" y="10"/>
                  </a:cubicBezTo>
                  <a:cubicBezTo>
                    <a:pt x="0" y="9"/>
                    <a:pt x="0" y="9"/>
                    <a:pt x="2" y="8"/>
                  </a:cubicBezTo>
                  <a:cubicBezTo>
                    <a:pt x="8" y="6"/>
                    <a:pt x="15" y="3"/>
                    <a:pt x="22" y="0"/>
                  </a:cubicBezTo>
                  <a:cubicBezTo>
                    <a:pt x="23" y="0"/>
                    <a:pt x="23" y="0"/>
                    <a:pt x="24" y="1"/>
                  </a:cubicBezTo>
                  <a:cubicBezTo>
                    <a:pt x="28" y="12"/>
                    <a:pt x="32" y="23"/>
                    <a:pt x="37" y="34"/>
                  </a:cubicBezTo>
                  <a:cubicBezTo>
                    <a:pt x="37" y="35"/>
                    <a:pt x="37" y="36"/>
                    <a:pt x="35" y="36"/>
                  </a:cubicBezTo>
                  <a:cubicBezTo>
                    <a:pt x="29" y="39"/>
                    <a:pt x="23" y="41"/>
                    <a:pt x="16" y="44"/>
                  </a:cubicBezTo>
                  <a:cubicBezTo>
                    <a:pt x="15" y="45"/>
                    <a:pt x="14" y="44"/>
                    <a:pt x="14" y="43"/>
                  </a:cubicBezTo>
                  <a:cubicBezTo>
                    <a:pt x="12" y="37"/>
                    <a:pt x="9" y="32"/>
                    <a:pt x="7" y="27"/>
                  </a:cubicBezTo>
                  <a:close/>
                </a:path>
              </a:pathLst>
            </a:custGeom>
            <a:solidFill>
              <a:srgbClr val="3D6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02">
              <a:extLst>
                <a:ext uri="{FF2B5EF4-FFF2-40B4-BE49-F238E27FC236}">
                  <a16:creationId xmlns:a16="http://schemas.microsoft.com/office/drawing/2014/main" id="{7F4C7A7F-2BBB-44E3-BDFA-CE162A495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1" y="2156"/>
              <a:ext cx="158" cy="186"/>
            </a:xfrm>
            <a:custGeom>
              <a:avLst/>
              <a:gdLst>
                <a:gd name="T0" fmla="*/ 8 w 89"/>
                <a:gd name="T1" fmla="*/ 89 h 105"/>
                <a:gd name="T2" fmla="*/ 1 w 89"/>
                <a:gd name="T3" fmla="*/ 84 h 105"/>
                <a:gd name="T4" fmla="*/ 0 w 89"/>
                <a:gd name="T5" fmla="*/ 82 h 105"/>
                <a:gd name="T6" fmla="*/ 10 w 89"/>
                <a:gd name="T7" fmla="*/ 46 h 105"/>
                <a:gd name="T8" fmla="*/ 11 w 89"/>
                <a:gd name="T9" fmla="*/ 45 h 105"/>
                <a:gd name="T10" fmla="*/ 36 w 89"/>
                <a:gd name="T11" fmla="*/ 29 h 105"/>
                <a:gd name="T12" fmla="*/ 49 w 89"/>
                <a:gd name="T13" fmla="*/ 4 h 105"/>
                <a:gd name="T14" fmla="*/ 54 w 89"/>
                <a:gd name="T15" fmla="*/ 0 h 105"/>
                <a:gd name="T16" fmla="*/ 60 w 89"/>
                <a:gd name="T17" fmla="*/ 4 h 105"/>
                <a:gd name="T18" fmla="*/ 61 w 89"/>
                <a:gd name="T19" fmla="*/ 21 h 105"/>
                <a:gd name="T20" fmla="*/ 56 w 89"/>
                <a:gd name="T21" fmla="*/ 34 h 105"/>
                <a:gd name="T22" fmla="*/ 51 w 89"/>
                <a:gd name="T23" fmla="*/ 43 h 105"/>
                <a:gd name="T24" fmla="*/ 54 w 89"/>
                <a:gd name="T25" fmla="*/ 44 h 105"/>
                <a:gd name="T26" fmla="*/ 83 w 89"/>
                <a:gd name="T27" fmla="*/ 52 h 105"/>
                <a:gd name="T28" fmla="*/ 89 w 89"/>
                <a:gd name="T29" fmla="*/ 58 h 105"/>
                <a:gd name="T30" fmla="*/ 83 w 89"/>
                <a:gd name="T31" fmla="*/ 65 h 105"/>
                <a:gd name="T32" fmla="*/ 80 w 89"/>
                <a:gd name="T33" fmla="*/ 66 h 105"/>
                <a:gd name="T34" fmla="*/ 82 w 89"/>
                <a:gd name="T35" fmla="*/ 68 h 105"/>
                <a:gd name="T36" fmla="*/ 78 w 89"/>
                <a:gd name="T37" fmla="*/ 78 h 105"/>
                <a:gd name="T38" fmla="*/ 74 w 89"/>
                <a:gd name="T39" fmla="*/ 79 h 105"/>
                <a:gd name="T40" fmla="*/ 76 w 89"/>
                <a:gd name="T41" fmla="*/ 82 h 105"/>
                <a:gd name="T42" fmla="*/ 70 w 89"/>
                <a:gd name="T43" fmla="*/ 91 h 105"/>
                <a:gd name="T44" fmla="*/ 69 w 89"/>
                <a:gd name="T45" fmla="*/ 92 h 105"/>
                <a:gd name="T46" fmla="*/ 68 w 89"/>
                <a:gd name="T47" fmla="*/ 93 h 105"/>
                <a:gd name="T48" fmla="*/ 65 w 89"/>
                <a:gd name="T49" fmla="*/ 103 h 105"/>
                <a:gd name="T50" fmla="*/ 64 w 89"/>
                <a:gd name="T51" fmla="*/ 104 h 105"/>
                <a:gd name="T52" fmla="*/ 58 w 89"/>
                <a:gd name="T53" fmla="*/ 104 h 105"/>
                <a:gd name="T54" fmla="*/ 11 w 89"/>
                <a:gd name="T55" fmla="*/ 91 h 105"/>
                <a:gd name="T56" fmla="*/ 8 w 89"/>
                <a:gd name="T57" fmla="*/ 8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" h="105">
                  <a:moveTo>
                    <a:pt x="8" y="89"/>
                  </a:moveTo>
                  <a:cubicBezTo>
                    <a:pt x="6" y="87"/>
                    <a:pt x="4" y="84"/>
                    <a:pt x="1" y="84"/>
                  </a:cubicBezTo>
                  <a:cubicBezTo>
                    <a:pt x="0" y="83"/>
                    <a:pt x="0" y="82"/>
                    <a:pt x="0" y="82"/>
                  </a:cubicBezTo>
                  <a:cubicBezTo>
                    <a:pt x="4" y="70"/>
                    <a:pt x="7" y="58"/>
                    <a:pt x="10" y="46"/>
                  </a:cubicBezTo>
                  <a:cubicBezTo>
                    <a:pt x="10" y="46"/>
                    <a:pt x="10" y="45"/>
                    <a:pt x="11" y="45"/>
                  </a:cubicBezTo>
                  <a:cubicBezTo>
                    <a:pt x="22" y="43"/>
                    <a:pt x="28" y="35"/>
                    <a:pt x="36" y="29"/>
                  </a:cubicBezTo>
                  <a:cubicBezTo>
                    <a:pt x="44" y="22"/>
                    <a:pt x="48" y="14"/>
                    <a:pt x="49" y="4"/>
                  </a:cubicBezTo>
                  <a:cubicBezTo>
                    <a:pt x="50" y="1"/>
                    <a:pt x="51" y="0"/>
                    <a:pt x="54" y="0"/>
                  </a:cubicBezTo>
                  <a:cubicBezTo>
                    <a:pt x="57" y="0"/>
                    <a:pt x="59" y="2"/>
                    <a:pt x="60" y="4"/>
                  </a:cubicBezTo>
                  <a:cubicBezTo>
                    <a:pt x="61" y="10"/>
                    <a:pt x="62" y="15"/>
                    <a:pt x="61" y="21"/>
                  </a:cubicBezTo>
                  <a:cubicBezTo>
                    <a:pt x="60" y="25"/>
                    <a:pt x="57" y="29"/>
                    <a:pt x="56" y="34"/>
                  </a:cubicBezTo>
                  <a:cubicBezTo>
                    <a:pt x="54" y="37"/>
                    <a:pt x="53" y="40"/>
                    <a:pt x="51" y="43"/>
                  </a:cubicBezTo>
                  <a:cubicBezTo>
                    <a:pt x="52" y="44"/>
                    <a:pt x="53" y="44"/>
                    <a:pt x="54" y="44"/>
                  </a:cubicBezTo>
                  <a:cubicBezTo>
                    <a:pt x="64" y="47"/>
                    <a:pt x="74" y="49"/>
                    <a:pt x="83" y="52"/>
                  </a:cubicBezTo>
                  <a:cubicBezTo>
                    <a:pt x="88" y="53"/>
                    <a:pt x="89" y="55"/>
                    <a:pt x="89" y="58"/>
                  </a:cubicBezTo>
                  <a:cubicBezTo>
                    <a:pt x="89" y="61"/>
                    <a:pt x="86" y="64"/>
                    <a:pt x="83" y="65"/>
                  </a:cubicBezTo>
                  <a:cubicBezTo>
                    <a:pt x="82" y="65"/>
                    <a:pt x="80" y="65"/>
                    <a:pt x="80" y="66"/>
                  </a:cubicBezTo>
                  <a:cubicBezTo>
                    <a:pt x="80" y="67"/>
                    <a:pt x="81" y="67"/>
                    <a:pt x="82" y="68"/>
                  </a:cubicBezTo>
                  <a:cubicBezTo>
                    <a:pt x="85" y="71"/>
                    <a:pt x="82" y="76"/>
                    <a:pt x="78" y="78"/>
                  </a:cubicBezTo>
                  <a:cubicBezTo>
                    <a:pt x="76" y="78"/>
                    <a:pt x="74" y="78"/>
                    <a:pt x="74" y="79"/>
                  </a:cubicBezTo>
                  <a:cubicBezTo>
                    <a:pt x="74" y="80"/>
                    <a:pt x="76" y="81"/>
                    <a:pt x="76" y="82"/>
                  </a:cubicBezTo>
                  <a:cubicBezTo>
                    <a:pt x="78" y="85"/>
                    <a:pt x="75" y="90"/>
                    <a:pt x="70" y="91"/>
                  </a:cubicBezTo>
                  <a:cubicBezTo>
                    <a:pt x="70" y="91"/>
                    <a:pt x="69" y="91"/>
                    <a:pt x="69" y="92"/>
                  </a:cubicBezTo>
                  <a:cubicBezTo>
                    <a:pt x="68" y="92"/>
                    <a:pt x="67" y="92"/>
                    <a:pt x="68" y="93"/>
                  </a:cubicBezTo>
                  <a:cubicBezTo>
                    <a:pt x="72" y="97"/>
                    <a:pt x="70" y="101"/>
                    <a:pt x="65" y="103"/>
                  </a:cubicBezTo>
                  <a:cubicBezTo>
                    <a:pt x="65" y="104"/>
                    <a:pt x="64" y="104"/>
                    <a:pt x="64" y="104"/>
                  </a:cubicBezTo>
                  <a:cubicBezTo>
                    <a:pt x="62" y="105"/>
                    <a:pt x="60" y="104"/>
                    <a:pt x="58" y="104"/>
                  </a:cubicBezTo>
                  <a:cubicBezTo>
                    <a:pt x="42" y="100"/>
                    <a:pt x="27" y="95"/>
                    <a:pt x="11" y="91"/>
                  </a:cubicBezTo>
                  <a:cubicBezTo>
                    <a:pt x="10" y="91"/>
                    <a:pt x="8" y="90"/>
                    <a:pt x="8" y="89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03">
              <a:extLst>
                <a:ext uri="{FF2B5EF4-FFF2-40B4-BE49-F238E27FC236}">
                  <a16:creationId xmlns:a16="http://schemas.microsoft.com/office/drawing/2014/main" id="{FB12C538-C3D3-4E73-A4E8-E53DDC0C7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4" y="2211"/>
              <a:ext cx="80" cy="105"/>
            </a:xfrm>
            <a:custGeom>
              <a:avLst/>
              <a:gdLst>
                <a:gd name="T0" fmla="*/ 7 w 45"/>
                <a:gd name="T1" fmla="*/ 25 h 59"/>
                <a:gd name="T2" fmla="*/ 13 w 45"/>
                <a:gd name="T3" fmla="*/ 3 h 59"/>
                <a:gd name="T4" fmla="*/ 16 w 45"/>
                <a:gd name="T5" fmla="*/ 1 h 59"/>
                <a:gd name="T6" fmla="*/ 43 w 45"/>
                <a:gd name="T7" fmla="*/ 8 h 59"/>
                <a:gd name="T8" fmla="*/ 44 w 45"/>
                <a:gd name="T9" fmla="*/ 11 h 59"/>
                <a:gd name="T10" fmla="*/ 32 w 45"/>
                <a:gd name="T11" fmla="*/ 56 h 59"/>
                <a:gd name="T12" fmla="*/ 29 w 45"/>
                <a:gd name="T13" fmla="*/ 58 h 59"/>
                <a:gd name="T14" fmla="*/ 3 w 45"/>
                <a:gd name="T15" fmla="*/ 51 h 59"/>
                <a:gd name="T16" fmla="*/ 1 w 45"/>
                <a:gd name="T17" fmla="*/ 48 h 59"/>
                <a:gd name="T18" fmla="*/ 7 w 45"/>
                <a:gd name="T19" fmla="*/ 2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59">
                  <a:moveTo>
                    <a:pt x="7" y="25"/>
                  </a:moveTo>
                  <a:cubicBezTo>
                    <a:pt x="9" y="18"/>
                    <a:pt x="11" y="10"/>
                    <a:pt x="13" y="3"/>
                  </a:cubicBezTo>
                  <a:cubicBezTo>
                    <a:pt x="13" y="1"/>
                    <a:pt x="14" y="0"/>
                    <a:pt x="16" y="1"/>
                  </a:cubicBezTo>
                  <a:cubicBezTo>
                    <a:pt x="25" y="4"/>
                    <a:pt x="34" y="6"/>
                    <a:pt x="43" y="8"/>
                  </a:cubicBezTo>
                  <a:cubicBezTo>
                    <a:pt x="45" y="9"/>
                    <a:pt x="45" y="10"/>
                    <a:pt x="44" y="11"/>
                  </a:cubicBezTo>
                  <a:cubicBezTo>
                    <a:pt x="40" y="26"/>
                    <a:pt x="36" y="41"/>
                    <a:pt x="32" y="56"/>
                  </a:cubicBezTo>
                  <a:cubicBezTo>
                    <a:pt x="32" y="58"/>
                    <a:pt x="31" y="59"/>
                    <a:pt x="29" y="58"/>
                  </a:cubicBezTo>
                  <a:cubicBezTo>
                    <a:pt x="20" y="56"/>
                    <a:pt x="11" y="53"/>
                    <a:pt x="3" y="51"/>
                  </a:cubicBezTo>
                  <a:cubicBezTo>
                    <a:pt x="0" y="50"/>
                    <a:pt x="0" y="49"/>
                    <a:pt x="1" y="48"/>
                  </a:cubicBezTo>
                  <a:cubicBezTo>
                    <a:pt x="3" y="40"/>
                    <a:pt x="5" y="33"/>
                    <a:pt x="7" y="25"/>
                  </a:cubicBezTo>
                  <a:close/>
                </a:path>
              </a:pathLst>
            </a:custGeom>
            <a:solidFill>
              <a:srgbClr val="3D6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04">
              <a:extLst>
                <a:ext uri="{FF2B5EF4-FFF2-40B4-BE49-F238E27FC236}">
                  <a16:creationId xmlns:a16="http://schemas.microsoft.com/office/drawing/2014/main" id="{DA45CB8D-B50A-4F6A-86E9-A2D26B09E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6" y="1227"/>
              <a:ext cx="160" cy="186"/>
            </a:xfrm>
            <a:custGeom>
              <a:avLst/>
              <a:gdLst>
                <a:gd name="T0" fmla="*/ 8 w 90"/>
                <a:gd name="T1" fmla="*/ 89 h 105"/>
                <a:gd name="T2" fmla="*/ 1 w 90"/>
                <a:gd name="T3" fmla="*/ 83 h 105"/>
                <a:gd name="T4" fmla="*/ 1 w 90"/>
                <a:gd name="T5" fmla="*/ 82 h 105"/>
                <a:gd name="T6" fmla="*/ 10 w 90"/>
                <a:gd name="T7" fmla="*/ 46 h 105"/>
                <a:gd name="T8" fmla="*/ 12 w 90"/>
                <a:gd name="T9" fmla="*/ 45 h 105"/>
                <a:gd name="T10" fmla="*/ 36 w 90"/>
                <a:gd name="T11" fmla="*/ 28 h 105"/>
                <a:gd name="T12" fmla="*/ 50 w 90"/>
                <a:gd name="T13" fmla="*/ 4 h 105"/>
                <a:gd name="T14" fmla="*/ 54 w 90"/>
                <a:gd name="T15" fmla="*/ 0 h 105"/>
                <a:gd name="T16" fmla="*/ 60 w 90"/>
                <a:gd name="T17" fmla="*/ 4 h 105"/>
                <a:gd name="T18" fmla="*/ 61 w 90"/>
                <a:gd name="T19" fmla="*/ 21 h 105"/>
                <a:gd name="T20" fmla="*/ 56 w 90"/>
                <a:gd name="T21" fmla="*/ 34 h 105"/>
                <a:gd name="T22" fmla="*/ 52 w 90"/>
                <a:gd name="T23" fmla="*/ 43 h 105"/>
                <a:gd name="T24" fmla="*/ 54 w 90"/>
                <a:gd name="T25" fmla="*/ 44 h 105"/>
                <a:gd name="T26" fmla="*/ 84 w 90"/>
                <a:gd name="T27" fmla="*/ 52 h 105"/>
                <a:gd name="T28" fmla="*/ 90 w 90"/>
                <a:gd name="T29" fmla="*/ 58 h 105"/>
                <a:gd name="T30" fmla="*/ 83 w 90"/>
                <a:gd name="T31" fmla="*/ 65 h 105"/>
                <a:gd name="T32" fmla="*/ 80 w 90"/>
                <a:gd name="T33" fmla="*/ 66 h 105"/>
                <a:gd name="T34" fmla="*/ 82 w 90"/>
                <a:gd name="T35" fmla="*/ 68 h 105"/>
                <a:gd name="T36" fmla="*/ 78 w 90"/>
                <a:gd name="T37" fmla="*/ 78 h 105"/>
                <a:gd name="T38" fmla="*/ 74 w 90"/>
                <a:gd name="T39" fmla="*/ 79 h 105"/>
                <a:gd name="T40" fmla="*/ 76 w 90"/>
                <a:gd name="T41" fmla="*/ 82 h 105"/>
                <a:gd name="T42" fmla="*/ 71 w 90"/>
                <a:gd name="T43" fmla="*/ 91 h 105"/>
                <a:gd name="T44" fmla="*/ 69 w 90"/>
                <a:gd name="T45" fmla="*/ 91 h 105"/>
                <a:gd name="T46" fmla="*/ 68 w 90"/>
                <a:gd name="T47" fmla="*/ 93 h 105"/>
                <a:gd name="T48" fmla="*/ 66 w 90"/>
                <a:gd name="T49" fmla="*/ 103 h 105"/>
                <a:gd name="T50" fmla="*/ 64 w 90"/>
                <a:gd name="T51" fmla="*/ 104 h 105"/>
                <a:gd name="T52" fmla="*/ 58 w 90"/>
                <a:gd name="T53" fmla="*/ 104 h 105"/>
                <a:gd name="T54" fmla="*/ 12 w 90"/>
                <a:gd name="T55" fmla="*/ 91 h 105"/>
                <a:gd name="T56" fmla="*/ 8 w 90"/>
                <a:gd name="T57" fmla="*/ 8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0" h="105">
                  <a:moveTo>
                    <a:pt x="8" y="89"/>
                  </a:moveTo>
                  <a:cubicBezTo>
                    <a:pt x="6" y="87"/>
                    <a:pt x="5" y="84"/>
                    <a:pt x="1" y="83"/>
                  </a:cubicBezTo>
                  <a:cubicBezTo>
                    <a:pt x="0" y="83"/>
                    <a:pt x="1" y="82"/>
                    <a:pt x="1" y="82"/>
                  </a:cubicBezTo>
                  <a:cubicBezTo>
                    <a:pt x="4" y="70"/>
                    <a:pt x="7" y="58"/>
                    <a:pt x="10" y="46"/>
                  </a:cubicBezTo>
                  <a:cubicBezTo>
                    <a:pt x="11" y="45"/>
                    <a:pt x="11" y="45"/>
                    <a:pt x="12" y="45"/>
                  </a:cubicBezTo>
                  <a:cubicBezTo>
                    <a:pt x="22" y="42"/>
                    <a:pt x="28" y="35"/>
                    <a:pt x="36" y="28"/>
                  </a:cubicBezTo>
                  <a:cubicBezTo>
                    <a:pt x="44" y="22"/>
                    <a:pt x="48" y="14"/>
                    <a:pt x="50" y="4"/>
                  </a:cubicBezTo>
                  <a:cubicBezTo>
                    <a:pt x="50" y="1"/>
                    <a:pt x="51" y="0"/>
                    <a:pt x="54" y="0"/>
                  </a:cubicBezTo>
                  <a:cubicBezTo>
                    <a:pt x="57" y="0"/>
                    <a:pt x="60" y="2"/>
                    <a:pt x="60" y="4"/>
                  </a:cubicBezTo>
                  <a:cubicBezTo>
                    <a:pt x="61" y="10"/>
                    <a:pt x="62" y="15"/>
                    <a:pt x="61" y="21"/>
                  </a:cubicBezTo>
                  <a:cubicBezTo>
                    <a:pt x="60" y="25"/>
                    <a:pt x="58" y="29"/>
                    <a:pt x="56" y="34"/>
                  </a:cubicBezTo>
                  <a:cubicBezTo>
                    <a:pt x="55" y="37"/>
                    <a:pt x="53" y="40"/>
                    <a:pt x="52" y="43"/>
                  </a:cubicBezTo>
                  <a:cubicBezTo>
                    <a:pt x="52" y="44"/>
                    <a:pt x="53" y="43"/>
                    <a:pt x="54" y="44"/>
                  </a:cubicBezTo>
                  <a:cubicBezTo>
                    <a:pt x="64" y="46"/>
                    <a:pt x="74" y="49"/>
                    <a:pt x="84" y="52"/>
                  </a:cubicBezTo>
                  <a:cubicBezTo>
                    <a:pt x="88" y="53"/>
                    <a:pt x="90" y="55"/>
                    <a:pt x="90" y="58"/>
                  </a:cubicBezTo>
                  <a:cubicBezTo>
                    <a:pt x="89" y="61"/>
                    <a:pt x="87" y="64"/>
                    <a:pt x="83" y="65"/>
                  </a:cubicBezTo>
                  <a:cubicBezTo>
                    <a:pt x="82" y="65"/>
                    <a:pt x="81" y="65"/>
                    <a:pt x="80" y="66"/>
                  </a:cubicBezTo>
                  <a:cubicBezTo>
                    <a:pt x="80" y="67"/>
                    <a:pt x="81" y="67"/>
                    <a:pt x="82" y="68"/>
                  </a:cubicBezTo>
                  <a:cubicBezTo>
                    <a:pt x="85" y="71"/>
                    <a:pt x="83" y="76"/>
                    <a:pt x="78" y="78"/>
                  </a:cubicBezTo>
                  <a:cubicBezTo>
                    <a:pt x="77" y="78"/>
                    <a:pt x="75" y="77"/>
                    <a:pt x="74" y="79"/>
                  </a:cubicBezTo>
                  <a:cubicBezTo>
                    <a:pt x="74" y="80"/>
                    <a:pt x="76" y="81"/>
                    <a:pt x="76" y="82"/>
                  </a:cubicBezTo>
                  <a:cubicBezTo>
                    <a:pt x="79" y="85"/>
                    <a:pt x="76" y="90"/>
                    <a:pt x="71" y="91"/>
                  </a:cubicBezTo>
                  <a:cubicBezTo>
                    <a:pt x="70" y="91"/>
                    <a:pt x="69" y="91"/>
                    <a:pt x="69" y="91"/>
                  </a:cubicBezTo>
                  <a:cubicBezTo>
                    <a:pt x="68" y="92"/>
                    <a:pt x="68" y="92"/>
                    <a:pt x="68" y="93"/>
                  </a:cubicBezTo>
                  <a:cubicBezTo>
                    <a:pt x="72" y="97"/>
                    <a:pt x="71" y="101"/>
                    <a:pt x="66" y="103"/>
                  </a:cubicBezTo>
                  <a:cubicBezTo>
                    <a:pt x="65" y="103"/>
                    <a:pt x="64" y="104"/>
                    <a:pt x="64" y="104"/>
                  </a:cubicBezTo>
                  <a:cubicBezTo>
                    <a:pt x="62" y="105"/>
                    <a:pt x="60" y="104"/>
                    <a:pt x="58" y="104"/>
                  </a:cubicBezTo>
                  <a:cubicBezTo>
                    <a:pt x="43" y="99"/>
                    <a:pt x="27" y="95"/>
                    <a:pt x="12" y="91"/>
                  </a:cubicBezTo>
                  <a:cubicBezTo>
                    <a:pt x="10" y="91"/>
                    <a:pt x="9" y="90"/>
                    <a:pt x="8" y="89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05">
              <a:extLst>
                <a:ext uri="{FF2B5EF4-FFF2-40B4-BE49-F238E27FC236}">
                  <a16:creationId xmlns:a16="http://schemas.microsoft.com/office/drawing/2014/main" id="{9B70489A-061E-4387-8EBE-E0DBFF1B0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0" y="1282"/>
              <a:ext cx="78" cy="103"/>
            </a:xfrm>
            <a:custGeom>
              <a:avLst/>
              <a:gdLst>
                <a:gd name="T0" fmla="*/ 6 w 44"/>
                <a:gd name="T1" fmla="*/ 25 h 58"/>
                <a:gd name="T2" fmla="*/ 12 w 44"/>
                <a:gd name="T3" fmla="*/ 3 h 58"/>
                <a:gd name="T4" fmla="*/ 15 w 44"/>
                <a:gd name="T5" fmla="*/ 1 h 58"/>
                <a:gd name="T6" fmla="*/ 42 w 44"/>
                <a:gd name="T7" fmla="*/ 8 h 58"/>
                <a:gd name="T8" fmla="*/ 44 w 44"/>
                <a:gd name="T9" fmla="*/ 11 h 58"/>
                <a:gd name="T10" fmla="*/ 31 w 44"/>
                <a:gd name="T11" fmla="*/ 56 h 58"/>
                <a:gd name="T12" fmla="*/ 28 w 44"/>
                <a:gd name="T13" fmla="*/ 58 h 58"/>
                <a:gd name="T14" fmla="*/ 2 w 44"/>
                <a:gd name="T15" fmla="*/ 51 h 58"/>
                <a:gd name="T16" fmla="*/ 0 w 44"/>
                <a:gd name="T17" fmla="*/ 47 h 58"/>
                <a:gd name="T18" fmla="*/ 6 w 44"/>
                <a:gd name="T19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58">
                  <a:moveTo>
                    <a:pt x="6" y="25"/>
                  </a:moveTo>
                  <a:cubicBezTo>
                    <a:pt x="8" y="18"/>
                    <a:pt x="10" y="10"/>
                    <a:pt x="12" y="3"/>
                  </a:cubicBezTo>
                  <a:cubicBezTo>
                    <a:pt x="13" y="1"/>
                    <a:pt x="13" y="0"/>
                    <a:pt x="15" y="1"/>
                  </a:cubicBezTo>
                  <a:cubicBezTo>
                    <a:pt x="24" y="3"/>
                    <a:pt x="33" y="6"/>
                    <a:pt x="42" y="8"/>
                  </a:cubicBezTo>
                  <a:cubicBezTo>
                    <a:pt x="44" y="9"/>
                    <a:pt x="44" y="9"/>
                    <a:pt x="44" y="11"/>
                  </a:cubicBezTo>
                  <a:cubicBezTo>
                    <a:pt x="40" y="26"/>
                    <a:pt x="35" y="41"/>
                    <a:pt x="31" y="56"/>
                  </a:cubicBezTo>
                  <a:cubicBezTo>
                    <a:pt x="31" y="58"/>
                    <a:pt x="30" y="58"/>
                    <a:pt x="28" y="58"/>
                  </a:cubicBezTo>
                  <a:cubicBezTo>
                    <a:pt x="20" y="55"/>
                    <a:pt x="11" y="53"/>
                    <a:pt x="2" y="51"/>
                  </a:cubicBezTo>
                  <a:cubicBezTo>
                    <a:pt x="0" y="50"/>
                    <a:pt x="0" y="49"/>
                    <a:pt x="0" y="47"/>
                  </a:cubicBezTo>
                  <a:cubicBezTo>
                    <a:pt x="2" y="40"/>
                    <a:pt x="4" y="32"/>
                    <a:pt x="6" y="25"/>
                  </a:cubicBezTo>
                  <a:close/>
                </a:path>
              </a:pathLst>
            </a:custGeom>
            <a:solidFill>
              <a:srgbClr val="3D6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06">
              <a:extLst>
                <a:ext uri="{FF2B5EF4-FFF2-40B4-BE49-F238E27FC236}">
                  <a16:creationId xmlns:a16="http://schemas.microsoft.com/office/drawing/2014/main" id="{408FBCCE-161E-485B-839A-EB6CF2AD3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5" y="2594"/>
              <a:ext cx="182" cy="227"/>
            </a:xfrm>
            <a:custGeom>
              <a:avLst/>
              <a:gdLst>
                <a:gd name="T0" fmla="*/ 15 w 102"/>
                <a:gd name="T1" fmla="*/ 127 h 128"/>
                <a:gd name="T2" fmla="*/ 5 w 102"/>
                <a:gd name="T3" fmla="*/ 123 h 128"/>
                <a:gd name="T4" fmla="*/ 3 w 102"/>
                <a:gd name="T5" fmla="*/ 121 h 128"/>
                <a:gd name="T6" fmla="*/ 1 w 102"/>
                <a:gd name="T7" fmla="*/ 74 h 128"/>
                <a:gd name="T8" fmla="*/ 2 w 102"/>
                <a:gd name="T9" fmla="*/ 72 h 128"/>
                <a:gd name="T10" fmla="*/ 24 w 102"/>
                <a:gd name="T11" fmla="*/ 43 h 128"/>
                <a:gd name="T12" fmla="*/ 31 w 102"/>
                <a:gd name="T13" fmla="*/ 7 h 128"/>
                <a:gd name="T14" fmla="*/ 35 w 102"/>
                <a:gd name="T15" fmla="*/ 1 h 128"/>
                <a:gd name="T16" fmla="*/ 44 w 102"/>
                <a:gd name="T17" fmla="*/ 3 h 128"/>
                <a:gd name="T18" fmla="*/ 52 w 102"/>
                <a:gd name="T19" fmla="*/ 23 h 128"/>
                <a:gd name="T20" fmla="*/ 51 w 102"/>
                <a:gd name="T21" fmla="*/ 41 h 128"/>
                <a:gd name="T22" fmla="*/ 49 w 102"/>
                <a:gd name="T23" fmla="*/ 53 h 128"/>
                <a:gd name="T24" fmla="*/ 52 w 102"/>
                <a:gd name="T25" fmla="*/ 54 h 128"/>
                <a:gd name="T26" fmla="*/ 92 w 102"/>
                <a:gd name="T27" fmla="*/ 51 h 128"/>
                <a:gd name="T28" fmla="*/ 101 w 102"/>
                <a:gd name="T29" fmla="*/ 56 h 128"/>
                <a:gd name="T30" fmla="*/ 96 w 102"/>
                <a:gd name="T31" fmla="*/ 68 h 128"/>
                <a:gd name="T32" fmla="*/ 93 w 102"/>
                <a:gd name="T33" fmla="*/ 70 h 128"/>
                <a:gd name="T34" fmla="*/ 96 w 102"/>
                <a:gd name="T35" fmla="*/ 71 h 128"/>
                <a:gd name="T36" fmla="*/ 95 w 102"/>
                <a:gd name="T37" fmla="*/ 85 h 128"/>
                <a:gd name="T38" fmla="*/ 91 w 102"/>
                <a:gd name="T39" fmla="*/ 88 h 128"/>
                <a:gd name="T40" fmla="*/ 95 w 102"/>
                <a:gd name="T41" fmla="*/ 90 h 128"/>
                <a:gd name="T42" fmla="*/ 92 w 102"/>
                <a:gd name="T43" fmla="*/ 104 h 128"/>
                <a:gd name="T44" fmla="*/ 90 w 102"/>
                <a:gd name="T45" fmla="*/ 105 h 128"/>
                <a:gd name="T46" fmla="*/ 90 w 102"/>
                <a:gd name="T47" fmla="*/ 107 h 128"/>
                <a:gd name="T48" fmla="*/ 90 w 102"/>
                <a:gd name="T49" fmla="*/ 121 h 128"/>
                <a:gd name="T50" fmla="*/ 89 w 102"/>
                <a:gd name="T51" fmla="*/ 122 h 128"/>
                <a:gd name="T52" fmla="*/ 82 w 102"/>
                <a:gd name="T53" fmla="*/ 124 h 128"/>
                <a:gd name="T54" fmla="*/ 20 w 102"/>
                <a:gd name="T55" fmla="*/ 128 h 128"/>
                <a:gd name="T56" fmla="*/ 15 w 102"/>
                <a:gd name="T57" fmla="*/ 12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2" h="128">
                  <a:moveTo>
                    <a:pt x="15" y="127"/>
                  </a:moveTo>
                  <a:cubicBezTo>
                    <a:pt x="12" y="125"/>
                    <a:pt x="9" y="122"/>
                    <a:pt x="5" y="123"/>
                  </a:cubicBezTo>
                  <a:cubicBezTo>
                    <a:pt x="3" y="123"/>
                    <a:pt x="3" y="122"/>
                    <a:pt x="3" y="121"/>
                  </a:cubicBezTo>
                  <a:cubicBezTo>
                    <a:pt x="2" y="105"/>
                    <a:pt x="1" y="90"/>
                    <a:pt x="1" y="74"/>
                  </a:cubicBezTo>
                  <a:cubicBezTo>
                    <a:pt x="0" y="73"/>
                    <a:pt x="0" y="72"/>
                    <a:pt x="2" y="72"/>
                  </a:cubicBezTo>
                  <a:cubicBezTo>
                    <a:pt x="13" y="65"/>
                    <a:pt x="18" y="53"/>
                    <a:pt x="24" y="43"/>
                  </a:cubicBezTo>
                  <a:cubicBezTo>
                    <a:pt x="31" y="31"/>
                    <a:pt x="33" y="20"/>
                    <a:pt x="31" y="7"/>
                  </a:cubicBezTo>
                  <a:cubicBezTo>
                    <a:pt x="30" y="3"/>
                    <a:pt x="32" y="2"/>
                    <a:pt x="35" y="1"/>
                  </a:cubicBezTo>
                  <a:cubicBezTo>
                    <a:pt x="39" y="0"/>
                    <a:pt x="42" y="1"/>
                    <a:pt x="44" y="3"/>
                  </a:cubicBezTo>
                  <a:cubicBezTo>
                    <a:pt x="47" y="9"/>
                    <a:pt x="50" y="16"/>
                    <a:pt x="52" y="23"/>
                  </a:cubicBezTo>
                  <a:cubicBezTo>
                    <a:pt x="53" y="29"/>
                    <a:pt x="51" y="35"/>
                    <a:pt x="51" y="41"/>
                  </a:cubicBezTo>
                  <a:cubicBezTo>
                    <a:pt x="50" y="45"/>
                    <a:pt x="50" y="49"/>
                    <a:pt x="49" y="53"/>
                  </a:cubicBezTo>
                  <a:cubicBezTo>
                    <a:pt x="50" y="54"/>
                    <a:pt x="51" y="54"/>
                    <a:pt x="52" y="54"/>
                  </a:cubicBezTo>
                  <a:cubicBezTo>
                    <a:pt x="65" y="53"/>
                    <a:pt x="79" y="52"/>
                    <a:pt x="92" y="51"/>
                  </a:cubicBezTo>
                  <a:cubicBezTo>
                    <a:pt x="97" y="51"/>
                    <a:pt x="100" y="52"/>
                    <a:pt x="101" y="56"/>
                  </a:cubicBezTo>
                  <a:cubicBezTo>
                    <a:pt x="102" y="61"/>
                    <a:pt x="100" y="65"/>
                    <a:pt x="96" y="68"/>
                  </a:cubicBezTo>
                  <a:cubicBezTo>
                    <a:pt x="95" y="68"/>
                    <a:pt x="93" y="68"/>
                    <a:pt x="93" y="70"/>
                  </a:cubicBezTo>
                  <a:cubicBezTo>
                    <a:pt x="93" y="71"/>
                    <a:pt x="95" y="71"/>
                    <a:pt x="96" y="71"/>
                  </a:cubicBezTo>
                  <a:cubicBezTo>
                    <a:pt x="101" y="74"/>
                    <a:pt x="100" y="81"/>
                    <a:pt x="95" y="85"/>
                  </a:cubicBezTo>
                  <a:cubicBezTo>
                    <a:pt x="94" y="86"/>
                    <a:pt x="91" y="86"/>
                    <a:pt x="91" y="88"/>
                  </a:cubicBezTo>
                  <a:cubicBezTo>
                    <a:pt x="91" y="90"/>
                    <a:pt x="94" y="89"/>
                    <a:pt x="95" y="90"/>
                  </a:cubicBezTo>
                  <a:cubicBezTo>
                    <a:pt x="99" y="94"/>
                    <a:pt x="97" y="101"/>
                    <a:pt x="92" y="104"/>
                  </a:cubicBezTo>
                  <a:cubicBezTo>
                    <a:pt x="91" y="105"/>
                    <a:pt x="90" y="105"/>
                    <a:pt x="90" y="105"/>
                  </a:cubicBezTo>
                  <a:cubicBezTo>
                    <a:pt x="89" y="106"/>
                    <a:pt x="88" y="106"/>
                    <a:pt x="90" y="107"/>
                  </a:cubicBezTo>
                  <a:cubicBezTo>
                    <a:pt x="96" y="111"/>
                    <a:pt x="96" y="117"/>
                    <a:pt x="90" y="121"/>
                  </a:cubicBezTo>
                  <a:cubicBezTo>
                    <a:pt x="90" y="121"/>
                    <a:pt x="89" y="122"/>
                    <a:pt x="89" y="122"/>
                  </a:cubicBezTo>
                  <a:cubicBezTo>
                    <a:pt x="87" y="124"/>
                    <a:pt x="84" y="124"/>
                    <a:pt x="82" y="124"/>
                  </a:cubicBezTo>
                  <a:cubicBezTo>
                    <a:pt x="61" y="125"/>
                    <a:pt x="41" y="127"/>
                    <a:pt x="20" y="128"/>
                  </a:cubicBezTo>
                  <a:cubicBezTo>
                    <a:pt x="18" y="128"/>
                    <a:pt x="16" y="128"/>
                    <a:pt x="15" y="127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7">
              <a:extLst>
                <a:ext uri="{FF2B5EF4-FFF2-40B4-BE49-F238E27FC236}">
                  <a16:creationId xmlns:a16="http://schemas.microsoft.com/office/drawing/2014/main" id="{1B6C21EC-8FA2-44D7-ACD5-8B6133C2C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2" y="2715"/>
              <a:ext cx="80" cy="120"/>
            </a:xfrm>
            <a:custGeom>
              <a:avLst/>
              <a:gdLst>
                <a:gd name="T0" fmla="*/ 2 w 45"/>
                <a:gd name="T1" fmla="*/ 35 h 68"/>
                <a:gd name="T2" fmla="*/ 0 w 45"/>
                <a:gd name="T3" fmla="*/ 5 h 68"/>
                <a:gd name="T4" fmla="*/ 2 w 45"/>
                <a:gd name="T5" fmla="*/ 2 h 68"/>
                <a:gd name="T6" fmla="*/ 39 w 45"/>
                <a:gd name="T7" fmla="*/ 0 h 68"/>
                <a:gd name="T8" fmla="*/ 41 w 45"/>
                <a:gd name="T9" fmla="*/ 3 h 68"/>
                <a:gd name="T10" fmla="*/ 45 w 45"/>
                <a:gd name="T11" fmla="*/ 62 h 68"/>
                <a:gd name="T12" fmla="*/ 42 w 45"/>
                <a:gd name="T13" fmla="*/ 66 h 68"/>
                <a:gd name="T14" fmla="*/ 7 w 45"/>
                <a:gd name="T15" fmla="*/ 68 h 68"/>
                <a:gd name="T16" fmla="*/ 3 w 45"/>
                <a:gd name="T17" fmla="*/ 64 h 68"/>
                <a:gd name="T18" fmla="*/ 2 w 45"/>
                <a:gd name="T19" fmla="*/ 3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68">
                  <a:moveTo>
                    <a:pt x="2" y="35"/>
                  </a:moveTo>
                  <a:cubicBezTo>
                    <a:pt x="1" y="25"/>
                    <a:pt x="1" y="15"/>
                    <a:pt x="0" y="5"/>
                  </a:cubicBezTo>
                  <a:cubicBezTo>
                    <a:pt x="0" y="3"/>
                    <a:pt x="0" y="2"/>
                    <a:pt x="2" y="2"/>
                  </a:cubicBezTo>
                  <a:cubicBezTo>
                    <a:pt x="15" y="1"/>
                    <a:pt x="27" y="1"/>
                    <a:pt x="39" y="0"/>
                  </a:cubicBezTo>
                  <a:cubicBezTo>
                    <a:pt x="41" y="0"/>
                    <a:pt x="41" y="1"/>
                    <a:pt x="41" y="3"/>
                  </a:cubicBezTo>
                  <a:cubicBezTo>
                    <a:pt x="42" y="22"/>
                    <a:pt x="44" y="42"/>
                    <a:pt x="45" y="62"/>
                  </a:cubicBezTo>
                  <a:cubicBezTo>
                    <a:pt x="45" y="65"/>
                    <a:pt x="44" y="65"/>
                    <a:pt x="42" y="66"/>
                  </a:cubicBezTo>
                  <a:cubicBezTo>
                    <a:pt x="30" y="66"/>
                    <a:pt x="19" y="67"/>
                    <a:pt x="7" y="68"/>
                  </a:cubicBezTo>
                  <a:cubicBezTo>
                    <a:pt x="4" y="68"/>
                    <a:pt x="4" y="67"/>
                    <a:pt x="3" y="64"/>
                  </a:cubicBezTo>
                  <a:cubicBezTo>
                    <a:pt x="3" y="54"/>
                    <a:pt x="2" y="45"/>
                    <a:pt x="2" y="35"/>
                  </a:cubicBezTo>
                  <a:close/>
                </a:path>
              </a:pathLst>
            </a:custGeom>
            <a:solidFill>
              <a:srgbClr val="3D6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08">
              <a:extLst>
                <a:ext uri="{FF2B5EF4-FFF2-40B4-BE49-F238E27FC236}">
                  <a16:creationId xmlns:a16="http://schemas.microsoft.com/office/drawing/2014/main" id="{2676E837-A8D0-4F27-88C2-2EDBDCD7B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7" y="980"/>
              <a:ext cx="181" cy="227"/>
            </a:xfrm>
            <a:custGeom>
              <a:avLst/>
              <a:gdLst>
                <a:gd name="T0" fmla="*/ 14 w 102"/>
                <a:gd name="T1" fmla="*/ 127 h 128"/>
                <a:gd name="T2" fmla="*/ 4 w 102"/>
                <a:gd name="T3" fmla="*/ 123 h 128"/>
                <a:gd name="T4" fmla="*/ 3 w 102"/>
                <a:gd name="T5" fmla="*/ 121 h 128"/>
                <a:gd name="T6" fmla="*/ 0 w 102"/>
                <a:gd name="T7" fmla="*/ 74 h 128"/>
                <a:gd name="T8" fmla="*/ 1 w 102"/>
                <a:gd name="T9" fmla="*/ 72 h 128"/>
                <a:gd name="T10" fmla="*/ 24 w 102"/>
                <a:gd name="T11" fmla="*/ 42 h 128"/>
                <a:gd name="T12" fmla="*/ 30 w 102"/>
                <a:gd name="T13" fmla="*/ 7 h 128"/>
                <a:gd name="T14" fmla="*/ 34 w 102"/>
                <a:gd name="T15" fmla="*/ 1 h 128"/>
                <a:gd name="T16" fmla="*/ 43 w 102"/>
                <a:gd name="T17" fmla="*/ 3 h 128"/>
                <a:gd name="T18" fmla="*/ 51 w 102"/>
                <a:gd name="T19" fmla="*/ 23 h 128"/>
                <a:gd name="T20" fmla="*/ 50 w 102"/>
                <a:gd name="T21" fmla="*/ 40 h 128"/>
                <a:gd name="T22" fmla="*/ 49 w 102"/>
                <a:gd name="T23" fmla="*/ 53 h 128"/>
                <a:gd name="T24" fmla="*/ 52 w 102"/>
                <a:gd name="T25" fmla="*/ 54 h 128"/>
                <a:gd name="T26" fmla="*/ 91 w 102"/>
                <a:gd name="T27" fmla="*/ 51 h 128"/>
                <a:gd name="T28" fmla="*/ 101 w 102"/>
                <a:gd name="T29" fmla="*/ 56 h 128"/>
                <a:gd name="T30" fmla="*/ 96 w 102"/>
                <a:gd name="T31" fmla="*/ 68 h 128"/>
                <a:gd name="T32" fmla="*/ 93 w 102"/>
                <a:gd name="T33" fmla="*/ 69 h 128"/>
                <a:gd name="T34" fmla="*/ 95 w 102"/>
                <a:gd name="T35" fmla="*/ 71 h 128"/>
                <a:gd name="T36" fmla="*/ 95 w 102"/>
                <a:gd name="T37" fmla="*/ 85 h 128"/>
                <a:gd name="T38" fmla="*/ 91 w 102"/>
                <a:gd name="T39" fmla="*/ 88 h 128"/>
                <a:gd name="T40" fmla="*/ 94 w 102"/>
                <a:gd name="T41" fmla="*/ 90 h 128"/>
                <a:gd name="T42" fmla="*/ 91 w 102"/>
                <a:gd name="T43" fmla="*/ 104 h 128"/>
                <a:gd name="T44" fmla="*/ 89 w 102"/>
                <a:gd name="T45" fmla="*/ 105 h 128"/>
                <a:gd name="T46" fmla="*/ 89 w 102"/>
                <a:gd name="T47" fmla="*/ 107 h 128"/>
                <a:gd name="T48" fmla="*/ 90 w 102"/>
                <a:gd name="T49" fmla="*/ 121 h 128"/>
                <a:gd name="T50" fmla="*/ 88 w 102"/>
                <a:gd name="T51" fmla="*/ 122 h 128"/>
                <a:gd name="T52" fmla="*/ 81 w 102"/>
                <a:gd name="T53" fmla="*/ 124 h 128"/>
                <a:gd name="T54" fmla="*/ 20 w 102"/>
                <a:gd name="T55" fmla="*/ 128 h 128"/>
                <a:gd name="T56" fmla="*/ 14 w 102"/>
                <a:gd name="T57" fmla="*/ 12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2" h="128">
                  <a:moveTo>
                    <a:pt x="14" y="127"/>
                  </a:moveTo>
                  <a:cubicBezTo>
                    <a:pt x="11" y="125"/>
                    <a:pt x="8" y="122"/>
                    <a:pt x="4" y="123"/>
                  </a:cubicBezTo>
                  <a:cubicBezTo>
                    <a:pt x="3" y="123"/>
                    <a:pt x="3" y="122"/>
                    <a:pt x="3" y="121"/>
                  </a:cubicBezTo>
                  <a:cubicBezTo>
                    <a:pt x="2" y="105"/>
                    <a:pt x="1" y="90"/>
                    <a:pt x="0" y="74"/>
                  </a:cubicBezTo>
                  <a:cubicBezTo>
                    <a:pt x="0" y="73"/>
                    <a:pt x="0" y="72"/>
                    <a:pt x="1" y="72"/>
                  </a:cubicBezTo>
                  <a:cubicBezTo>
                    <a:pt x="13" y="65"/>
                    <a:pt x="17" y="53"/>
                    <a:pt x="24" y="42"/>
                  </a:cubicBezTo>
                  <a:cubicBezTo>
                    <a:pt x="31" y="31"/>
                    <a:pt x="33" y="19"/>
                    <a:pt x="30" y="7"/>
                  </a:cubicBezTo>
                  <a:cubicBezTo>
                    <a:pt x="30" y="3"/>
                    <a:pt x="31" y="2"/>
                    <a:pt x="34" y="1"/>
                  </a:cubicBezTo>
                  <a:cubicBezTo>
                    <a:pt x="38" y="0"/>
                    <a:pt x="42" y="0"/>
                    <a:pt x="43" y="3"/>
                  </a:cubicBezTo>
                  <a:cubicBezTo>
                    <a:pt x="47" y="9"/>
                    <a:pt x="50" y="16"/>
                    <a:pt x="51" y="23"/>
                  </a:cubicBezTo>
                  <a:cubicBezTo>
                    <a:pt x="52" y="29"/>
                    <a:pt x="51" y="35"/>
                    <a:pt x="50" y="40"/>
                  </a:cubicBezTo>
                  <a:cubicBezTo>
                    <a:pt x="50" y="45"/>
                    <a:pt x="49" y="49"/>
                    <a:pt x="49" y="53"/>
                  </a:cubicBezTo>
                  <a:cubicBezTo>
                    <a:pt x="50" y="54"/>
                    <a:pt x="51" y="54"/>
                    <a:pt x="52" y="54"/>
                  </a:cubicBezTo>
                  <a:cubicBezTo>
                    <a:pt x="65" y="53"/>
                    <a:pt x="78" y="52"/>
                    <a:pt x="91" y="51"/>
                  </a:cubicBezTo>
                  <a:cubicBezTo>
                    <a:pt x="97" y="51"/>
                    <a:pt x="100" y="52"/>
                    <a:pt x="101" y="56"/>
                  </a:cubicBezTo>
                  <a:cubicBezTo>
                    <a:pt x="102" y="60"/>
                    <a:pt x="100" y="65"/>
                    <a:pt x="96" y="68"/>
                  </a:cubicBezTo>
                  <a:cubicBezTo>
                    <a:pt x="95" y="68"/>
                    <a:pt x="93" y="68"/>
                    <a:pt x="93" y="69"/>
                  </a:cubicBezTo>
                  <a:cubicBezTo>
                    <a:pt x="93" y="71"/>
                    <a:pt x="95" y="71"/>
                    <a:pt x="95" y="71"/>
                  </a:cubicBezTo>
                  <a:cubicBezTo>
                    <a:pt x="100" y="74"/>
                    <a:pt x="100" y="81"/>
                    <a:pt x="95" y="85"/>
                  </a:cubicBezTo>
                  <a:cubicBezTo>
                    <a:pt x="93" y="86"/>
                    <a:pt x="91" y="86"/>
                    <a:pt x="91" y="88"/>
                  </a:cubicBezTo>
                  <a:cubicBezTo>
                    <a:pt x="91" y="89"/>
                    <a:pt x="93" y="89"/>
                    <a:pt x="94" y="90"/>
                  </a:cubicBezTo>
                  <a:cubicBezTo>
                    <a:pt x="99" y="94"/>
                    <a:pt x="97" y="101"/>
                    <a:pt x="91" y="104"/>
                  </a:cubicBezTo>
                  <a:cubicBezTo>
                    <a:pt x="91" y="105"/>
                    <a:pt x="90" y="105"/>
                    <a:pt x="89" y="105"/>
                  </a:cubicBezTo>
                  <a:cubicBezTo>
                    <a:pt x="89" y="106"/>
                    <a:pt x="88" y="106"/>
                    <a:pt x="89" y="107"/>
                  </a:cubicBezTo>
                  <a:cubicBezTo>
                    <a:pt x="95" y="111"/>
                    <a:pt x="95" y="116"/>
                    <a:pt x="90" y="121"/>
                  </a:cubicBezTo>
                  <a:cubicBezTo>
                    <a:pt x="89" y="121"/>
                    <a:pt x="89" y="122"/>
                    <a:pt x="88" y="122"/>
                  </a:cubicBezTo>
                  <a:cubicBezTo>
                    <a:pt x="86" y="124"/>
                    <a:pt x="84" y="124"/>
                    <a:pt x="81" y="124"/>
                  </a:cubicBezTo>
                  <a:cubicBezTo>
                    <a:pt x="61" y="125"/>
                    <a:pt x="40" y="127"/>
                    <a:pt x="20" y="128"/>
                  </a:cubicBezTo>
                  <a:cubicBezTo>
                    <a:pt x="18" y="128"/>
                    <a:pt x="16" y="128"/>
                    <a:pt x="14" y="127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109">
              <a:extLst>
                <a:ext uri="{FF2B5EF4-FFF2-40B4-BE49-F238E27FC236}">
                  <a16:creationId xmlns:a16="http://schemas.microsoft.com/office/drawing/2014/main" id="{7E35D981-5089-4D52-BE99-34CBDB41B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4" y="1101"/>
              <a:ext cx="79" cy="120"/>
            </a:xfrm>
            <a:custGeom>
              <a:avLst/>
              <a:gdLst>
                <a:gd name="T0" fmla="*/ 1 w 45"/>
                <a:gd name="T1" fmla="*/ 35 h 68"/>
                <a:gd name="T2" fmla="*/ 0 w 45"/>
                <a:gd name="T3" fmla="*/ 5 h 68"/>
                <a:gd name="T4" fmla="*/ 2 w 45"/>
                <a:gd name="T5" fmla="*/ 2 h 68"/>
                <a:gd name="T6" fmla="*/ 38 w 45"/>
                <a:gd name="T7" fmla="*/ 0 h 68"/>
                <a:gd name="T8" fmla="*/ 41 w 45"/>
                <a:gd name="T9" fmla="*/ 3 h 68"/>
                <a:gd name="T10" fmla="*/ 44 w 45"/>
                <a:gd name="T11" fmla="*/ 62 h 68"/>
                <a:gd name="T12" fmla="*/ 41 w 45"/>
                <a:gd name="T13" fmla="*/ 65 h 68"/>
                <a:gd name="T14" fmla="*/ 7 w 45"/>
                <a:gd name="T15" fmla="*/ 67 h 68"/>
                <a:gd name="T16" fmla="*/ 3 w 45"/>
                <a:gd name="T17" fmla="*/ 64 h 68"/>
                <a:gd name="T18" fmla="*/ 1 w 45"/>
                <a:gd name="T19" fmla="*/ 3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68">
                  <a:moveTo>
                    <a:pt x="1" y="35"/>
                  </a:moveTo>
                  <a:cubicBezTo>
                    <a:pt x="1" y="25"/>
                    <a:pt x="0" y="15"/>
                    <a:pt x="0" y="5"/>
                  </a:cubicBezTo>
                  <a:cubicBezTo>
                    <a:pt x="0" y="3"/>
                    <a:pt x="0" y="2"/>
                    <a:pt x="2" y="2"/>
                  </a:cubicBezTo>
                  <a:cubicBezTo>
                    <a:pt x="14" y="1"/>
                    <a:pt x="26" y="1"/>
                    <a:pt x="38" y="0"/>
                  </a:cubicBezTo>
                  <a:cubicBezTo>
                    <a:pt x="41" y="0"/>
                    <a:pt x="41" y="0"/>
                    <a:pt x="41" y="3"/>
                  </a:cubicBezTo>
                  <a:cubicBezTo>
                    <a:pt x="42" y="22"/>
                    <a:pt x="43" y="42"/>
                    <a:pt x="44" y="62"/>
                  </a:cubicBezTo>
                  <a:cubicBezTo>
                    <a:pt x="45" y="65"/>
                    <a:pt x="44" y="65"/>
                    <a:pt x="41" y="65"/>
                  </a:cubicBezTo>
                  <a:cubicBezTo>
                    <a:pt x="30" y="66"/>
                    <a:pt x="18" y="67"/>
                    <a:pt x="7" y="67"/>
                  </a:cubicBezTo>
                  <a:cubicBezTo>
                    <a:pt x="4" y="68"/>
                    <a:pt x="3" y="67"/>
                    <a:pt x="3" y="64"/>
                  </a:cubicBezTo>
                  <a:cubicBezTo>
                    <a:pt x="3" y="54"/>
                    <a:pt x="2" y="44"/>
                    <a:pt x="1" y="35"/>
                  </a:cubicBezTo>
                  <a:close/>
                </a:path>
              </a:pathLst>
            </a:custGeom>
            <a:solidFill>
              <a:srgbClr val="3D6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110">
              <a:extLst>
                <a:ext uri="{FF2B5EF4-FFF2-40B4-BE49-F238E27FC236}">
                  <a16:creationId xmlns:a16="http://schemas.microsoft.com/office/drawing/2014/main" id="{E1967274-C22D-42DA-B895-D8FA22B8D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6" y="1652"/>
              <a:ext cx="94" cy="117"/>
            </a:xfrm>
            <a:custGeom>
              <a:avLst/>
              <a:gdLst>
                <a:gd name="T0" fmla="*/ 6 w 53"/>
                <a:gd name="T1" fmla="*/ 65 h 66"/>
                <a:gd name="T2" fmla="*/ 1 w 53"/>
                <a:gd name="T3" fmla="*/ 63 h 66"/>
                <a:gd name="T4" fmla="*/ 0 w 53"/>
                <a:gd name="T5" fmla="*/ 62 h 66"/>
                <a:gd name="T6" fmla="*/ 0 w 53"/>
                <a:gd name="T7" fmla="*/ 38 h 66"/>
                <a:gd name="T8" fmla="*/ 1 w 53"/>
                <a:gd name="T9" fmla="*/ 37 h 66"/>
                <a:gd name="T10" fmla="*/ 13 w 53"/>
                <a:gd name="T11" fmla="*/ 22 h 66"/>
                <a:gd name="T12" fmla="*/ 18 w 53"/>
                <a:gd name="T13" fmla="*/ 4 h 66"/>
                <a:gd name="T14" fmla="*/ 20 w 53"/>
                <a:gd name="T15" fmla="*/ 1 h 66"/>
                <a:gd name="T16" fmla="*/ 25 w 53"/>
                <a:gd name="T17" fmla="*/ 2 h 66"/>
                <a:gd name="T18" fmla="*/ 28 w 53"/>
                <a:gd name="T19" fmla="*/ 13 h 66"/>
                <a:gd name="T20" fmla="*/ 27 w 53"/>
                <a:gd name="T21" fmla="*/ 22 h 66"/>
                <a:gd name="T22" fmla="*/ 26 w 53"/>
                <a:gd name="T23" fmla="*/ 29 h 66"/>
                <a:gd name="T24" fmla="*/ 28 w 53"/>
                <a:gd name="T25" fmla="*/ 29 h 66"/>
                <a:gd name="T26" fmla="*/ 48 w 53"/>
                <a:gd name="T27" fmla="*/ 29 h 66"/>
                <a:gd name="T28" fmla="*/ 53 w 53"/>
                <a:gd name="T29" fmla="*/ 31 h 66"/>
                <a:gd name="T30" fmla="*/ 50 w 53"/>
                <a:gd name="T31" fmla="*/ 37 h 66"/>
                <a:gd name="T32" fmla="*/ 48 w 53"/>
                <a:gd name="T33" fmla="*/ 38 h 66"/>
                <a:gd name="T34" fmla="*/ 50 w 53"/>
                <a:gd name="T35" fmla="*/ 39 h 66"/>
                <a:gd name="T36" fmla="*/ 49 w 53"/>
                <a:gd name="T37" fmla="*/ 46 h 66"/>
                <a:gd name="T38" fmla="*/ 47 w 53"/>
                <a:gd name="T39" fmla="*/ 48 h 66"/>
                <a:gd name="T40" fmla="*/ 49 w 53"/>
                <a:gd name="T41" fmla="*/ 49 h 66"/>
                <a:gd name="T42" fmla="*/ 47 w 53"/>
                <a:gd name="T43" fmla="*/ 56 h 66"/>
                <a:gd name="T44" fmla="*/ 45 w 53"/>
                <a:gd name="T45" fmla="*/ 57 h 66"/>
                <a:gd name="T46" fmla="*/ 45 w 53"/>
                <a:gd name="T47" fmla="*/ 58 h 66"/>
                <a:gd name="T48" fmla="*/ 45 w 53"/>
                <a:gd name="T49" fmla="*/ 65 h 66"/>
                <a:gd name="T50" fmla="*/ 44 w 53"/>
                <a:gd name="T51" fmla="*/ 65 h 66"/>
                <a:gd name="T52" fmla="*/ 41 w 53"/>
                <a:gd name="T53" fmla="*/ 66 h 66"/>
                <a:gd name="T54" fmla="*/ 9 w 53"/>
                <a:gd name="T55" fmla="*/ 66 h 66"/>
                <a:gd name="T56" fmla="*/ 6 w 53"/>
                <a:gd name="T57" fmla="*/ 6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3" h="66">
                  <a:moveTo>
                    <a:pt x="6" y="65"/>
                  </a:moveTo>
                  <a:cubicBezTo>
                    <a:pt x="4" y="64"/>
                    <a:pt x="3" y="63"/>
                    <a:pt x="1" y="63"/>
                  </a:cubicBezTo>
                  <a:cubicBezTo>
                    <a:pt x="0" y="63"/>
                    <a:pt x="0" y="63"/>
                    <a:pt x="0" y="62"/>
                  </a:cubicBezTo>
                  <a:cubicBezTo>
                    <a:pt x="0" y="54"/>
                    <a:pt x="0" y="46"/>
                    <a:pt x="0" y="38"/>
                  </a:cubicBezTo>
                  <a:cubicBezTo>
                    <a:pt x="0" y="37"/>
                    <a:pt x="0" y="37"/>
                    <a:pt x="1" y="37"/>
                  </a:cubicBezTo>
                  <a:cubicBezTo>
                    <a:pt x="7" y="33"/>
                    <a:pt x="10" y="27"/>
                    <a:pt x="13" y="22"/>
                  </a:cubicBezTo>
                  <a:cubicBezTo>
                    <a:pt x="18" y="17"/>
                    <a:pt x="19" y="11"/>
                    <a:pt x="18" y="4"/>
                  </a:cubicBezTo>
                  <a:cubicBezTo>
                    <a:pt x="18" y="2"/>
                    <a:pt x="19" y="1"/>
                    <a:pt x="20" y="1"/>
                  </a:cubicBezTo>
                  <a:cubicBezTo>
                    <a:pt x="22" y="0"/>
                    <a:pt x="24" y="1"/>
                    <a:pt x="25" y="2"/>
                  </a:cubicBezTo>
                  <a:cubicBezTo>
                    <a:pt x="26" y="6"/>
                    <a:pt x="28" y="9"/>
                    <a:pt x="28" y="13"/>
                  </a:cubicBezTo>
                  <a:cubicBezTo>
                    <a:pt x="29" y="16"/>
                    <a:pt x="28" y="19"/>
                    <a:pt x="27" y="22"/>
                  </a:cubicBezTo>
                  <a:cubicBezTo>
                    <a:pt x="27" y="24"/>
                    <a:pt x="26" y="26"/>
                    <a:pt x="26" y="29"/>
                  </a:cubicBezTo>
                  <a:cubicBezTo>
                    <a:pt x="26" y="29"/>
                    <a:pt x="27" y="29"/>
                    <a:pt x="28" y="29"/>
                  </a:cubicBezTo>
                  <a:cubicBezTo>
                    <a:pt x="34" y="29"/>
                    <a:pt x="41" y="29"/>
                    <a:pt x="48" y="29"/>
                  </a:cubicBezTo>
                  <a:cubicBezTo>
                    <a:pt x="51" y="29"/>
                    <a:pt x="52" y="30"/>
                    <a:pt x="53" y="31"/>
                  </a:cubicBezTo>
                  <a:cubicBezTo>
                    <a:pt x="53" y="34"/>
                    <a:pt x="52" y="36"/>
                    <a:pt x="50" y="37"/>
                  </a:cubicBezTo>
                  <a:cubicBezTo>
                    <a:pt x="49" y="38"/>
                    <a:pt x="48" y="37"/>
                    <a:pt x="48" y="38"/>
                  </a:cubicBezTo>
                  <a:cubicBezTo>
                    <a:pt x="48" y="39"/>
                    <a:pt x="49" y="39"/>
                    <a:pt x="50" y="39"/>
                  </a:cubicBezTo>
                  <a:cubicBezTo>
                    <a:pt x="52" y="41"/>
                    <a:pt x="52" y="44"/>
                    <a:pt x="49" y="46"/>
                  </a:cubicBezTo>
                  <a:cubicBezTo>
                    <a:pt x="48" y="47"/>
                    <a:pt x="47" y="47"/>
                    <a:pt x="47" y="48"/>
                  </a:cubicBezTo>
                  <a:cubicBezTo>
                    <a:pt x="47" y="49"/>
                    <a:pt x="48" y="48"/>
                    <a:pt x="49" y="49"/>
                  </a:cubicBezTo>
                  <a:cubicBezTo>
                    <a:pt x="51" y="51"/>
                    <a:pt x="50" y="55"/>
                    <a:pt x="47" y="56"/>
                  </a:cubicBezTo>
                  <a:cubicBezTo>
                    <a:pt x="46" y="56"/>
                    <a:pt x="46" y="56"/>
                    <a:pt x="45" y="57"/>
                  </a:cubicBezTo>
                  <a:cubicBezTo>
                    <a:pt x="45" y="57"/>
                    <a:pt x="45" y="57"/>
                    <a:pt x="45" y="58"/>
                  </a:cubicBezTo>
                  <a:cubicBezTo>
                    <a:pt x="48" y="60"/>
                    <a:pt x="48" y="63"/>
                    <a:pt x="45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3" y="66"/>
                    <a:pt x="42" y="66"/>
                    <a:pt x="41" y="66"/>
                  </a:cubicBezTo>
                  <a:cubicBezTo>
                    <a:pt x="30" y="66"/>
                    <a:pt x="19" y="66"/>
                    <a:pt x="9" y="66"/>
                  </a:cubicBezTo>
                  <a:cubicBezTo>
                    <a:pt x="8" y="66"/>
                    <a:pt x="7" y="66"/>
                    <a:pt x="6" y="65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111">
              <a:extLst>
                <a:ext uri="{FF2B5EF4-FFF2-40B4-BE49-F238E27FC236}">
                  <a16:creationId xmlns:a16="http://schemas.microsoft.com/office/drawing/2014/main" id="{81111C79-AE26-4315-90C4-84C859CA0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4" y="1713"/>
              <a:ext cx="37" cy="60"/>
            </a:xfrm>
            <a:custGeom>
              <a:avLst/>
              <a:gdLst>
                <a:gd name="T0" fmla="*/ 0 w 21"/>
                <a:gd name="T1" fmla="*/ 17 h 34"/>
                <a:gd name="T2" fmla="*/ 0 w 21"/>
                <a:gd name="T3" fmla="*/ 2 h 34"/>
                <a:gd name="T4" fmla="*/ 1 w 21"/>
                <a:gd name="T5" fmla="*/ 0 h 34"/>
                <a:gd name="T6" fmla="*/ 20 w 21"/>
                <a:gd name="T7" fmla="*/ 0 h 34"/>
                <a:gd name="T8" fmla="*/ 21 w 21"/>
                <a:gd name="T9" fmla="*/ 2 h 34"/>
                <a:gd name="T10" fmla="*/ 21 w 21"/>
                <a:gd name="T11" fmla="*/ 33 h 34"/>
                <a:gd name="T12" fmla="*/ 19 w 21"/>
                <a:gd name="T13" fmla="*/ 34 h 34"/>
                <a:gd name="T14" fmla="*/ 1 w 21"/>
                <a:gd name="T15" fmla="*/ 34 h 34"/>
                <a:gd name="T16" fmla="*/ 0 w 21"/>
                <a:gd name="T17" fmla="*/ 33 h 34"/>
                <a:gd name="T18" fmla="*/ 0 w 21"/>
                <a:gd name="T1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4">
                  <a:moveTo>
                    <a:pt x="0" y="17"/>
                  </a:moveTo>
                  <a:cubicBezTo>
                    <a:pt x="0" y="12"/>
                    <a:pt x="0" y="7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7" y="0"/>
                    <a:pt x="14" y="0"/>
                    <a:pt x="20" y="0"/>
                  </a:cubicBezTo>
                  <a:cubicBezTo>
                    <a:pt x="21" y="0"/>
                    <a:pt x="21" y="1"/>
                    <a:pt x="21" y="2"/>
                  </a:cubicBezTo>
                  <a:cubicBezTo>
                    <a:pt x="21" y="12"/>
                    <a:pt x="21" y="22"/>
                    <a:pt x="21" y="33"/>
                  </a:cubicBezTo>
                  <a:cubicBezTo>
                    <a:pt x="21" y="34"/>
                    <a:pt x="21" y="34"/>
                    <a:pt x="19" y="34"/>
                  </a:cubicBezTo>
                  <a:cubicBezTo>
                    <a:pt x="13" y="34"/>
                    <a:pt x="7" y="34"/>
                    <a:pt x="1" y="34"/>
                  </a:cubicBezTo>
                  <a:cubicBezTo>
                    <a:pt x="0" y="34"/>
                    <a:pt x="0" y="34"/>
                    <a:pt x="0" y="33"/>
                  </a:cubicBezTo>
                  <a:cubicBezTo>
                    <a:pt x="0" y="27"/>
                    <a:pt x="0" y="22"/>
                    <a:pt x="0" y="17"/>
                  </a:cubicBezTo>
                  <a:close/>
                </a:path>
              </a:pathLst>
            </a:custGeom>
            <a:solidFill>
              <a:srgbClr val="3D6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Oval 112">
              <a:extLst>
                <a:ext uri="{FF2B5EF4-FFF2-40B4-BE49-F238E27FC236}">
                  <a16:creationId xmlns:a16="http://schemas.microsoft.com/office/drawing/2014/main" id="{7ECE9ECE-C883-43EF-9DB4-4512458FF4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4" y="2296"/>
              <a:ext cx="264" cy="263"/>
            </a:xfrm>
            <a:prstGeom prst="ellipse">
              <a:avLst/>
            </a:prstGeom>
            <a:solidFill>
              <a:srgbClr val="FFCD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113">
              <a:extLst>
                <a:ext uri="{FF2B5EF4-FFF2-40B4-BE49-F238E27FC236}">
                  <a16:creationId xmlns:a16="http://schemas.microsoft.com/office/drawing/2014/main" id="{86A0C89A-AA79-410A-9FC1-2968B67DA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3" y="2438"/>
              <a:ext cx="184" cy="92"/>
            </a:xfrm>
            <a:custGeom>
              <a:avLst/>
              <a:gdLst>
                <a:gd name="T0" fmla="*/ 104 w 104"/>
                <a:gd name="T1" fmla="*/ 0 h 52"/>
                <a:gd name="T2" fmla="*/ 93 w 104"/>
                <a:gd name="T3" fmla="*/ 33 h 52"/>
                <a:gd name="T4" fmla="*/ 52 w 104"/>
                <a:gd name="T5" fmla="*/ 52 h 52"/>
                <a:gd name="T6" fmla="*/ 12 w 104"/>
                <a:gd name="T7" fmla="*/ 33 h 52"/>
                <a:gd name="T8" fmla="*/ 0 w 104"/>
                <a:gd name="T9" fmla="*/ 0 h 52"/>
                <a:gd name="T10" fmla="*/ 104 w 104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52">
                  <a:moveTo>
                    <a:pt x="104" y="0"/>
                  </a:moveTo>
                  <a:cubicBezTo>
                    <a:pt x="104" y="13"/>
                    <a:pt x="100" y="24"/>
                    <a:pt x="93" y="33"/>
                  </a:cubicBezTo>
                  <a:cubicBezTo>
                    <a:pt x="83" y="45"/>
                    <a:pt x="69" y="52"/>
                    <a:pt x="52" y="52"/>
                  </a:cubicBezTo>
                  <a:cubicBezTo>
                    <a:pt x="36" y="52"/>
                    <a:pt x="22" y="45"/>
                    <a:pt x="12" y="33"/>
                  </a:cubicBezTo>
                  <a:cubicBezTo>
                    <a:pt x="5" y="24"/>
                    <a:pt x="0" y="13"/>
                    <a:pt x="0" y="0"/>
                  </a:cubicBezTo>
                  <a:lnTo>
                    <a:pt x="104" y="0"/>
                  </a:ln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114">
              <a:extLst>
                <a:ext uri="{FF2B5EF4-FFF2-40B4-BE49-F238E27FC236}">
                  <a16:creationId xmlns:a16="http://schemas.microsoft.com/office/drawing/2014/main" id="{CA91C8BF-CA39-4A03-ADA9-9D82D2C389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4" y="2463"/>
              <a:ext cx="144" cy="67"/>
            </a:xfrm>
            <a:custGeom>
              <a:avLst/>
              <a:gdLst>
                <a:gd name="T0" fmla="*/ 81 w 81"/>
                <a:gd name="T1" fmla="*/ 19 h 38"/>
                <a:gd name="T2" fmla="*/ 40 w 81"/>
                <a:gd name="T3" fmla="*/ 38 h 38"/>
                <a:gd name="T4" fmla="*/ 0 w 81"/>
                <a:gd name="T5" fmla="*/ 19 h 38"/>
                <a:gd name="T6" fmla="*/ 40 w 81"/>
                <a:gd name="T7" fmla="*/ 0 h 38"/>
                <a:gd name="T8" fmla="*/ 81 w 81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38">
                  <a:moveTo>
                    <a:pt x="81" y="19"/>
                  </a:moveTo>
                  <a:cubicBezTo>
                    <a:pt x="71" y="31"/>
                    <a:pt x="57" y="38"/>
                    <a:pt x="40" y="38"/>
                  </a:cubicBezTo>
                  <a:cubicBezTo>
                    <a:pt x="24" y="38"/>
                    <a:pt x="10" y="31"/>
                    <a:pt x="0" y="19"/>
                  </a:cubicBezTo>
                  <a:cubicBezTo>
                    <a:pt x="10" y="7"/>
                    <a:pt x="24" y="0"/>
                    <a:pt x="40" y="0"/>
                  </a:cubicBezTo>
                  <a:cubicBezTo>
                    <a:pt x="57" y="0"/>
                    <a:pt x="71" y="7"/>
                    <a:pt x="81" y="19"/>
                  </a:cubicBezTo>
                  <a:close/>
                </a:path>
              </a:pathLst>
            </a:custGeom>
            <a:solidFill>
              <a:srgbClr val="FFA1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115">
              <a:extLst>
                <a:ext uri="{FF2B5EF4-FFF2-40B4-BE49-F238E27FC236}">
                  <a16:creationId xmlns:a16="http://schemas.microsoft.com/office/drawing/2014/main" id="{ABE43A2F-854E-4C9E-9A94-FAADCFF86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1" y="2363"/>
              <a:ext cx="67" cy="59"/>
            </a:xfrm>
            <a:custGeom>
              <a:avLst/>
              <a:gdLst>
                <a:gd name="T0" fmla="*/ 38 w 38"/>
                <a:gd name="T1" fmla="*/ 21 h 33"/>
                <a:gd name="T2" fmla="*/ 38 w 38"/>
                <a:gd name="T3" fmla="*/ 21 h 33"/>
                <a:gd name="T4" fmla="*/ 37 w 38"/>
                <a:gd name="T5" fmla="*/ 24 h 33"/>
                <a:gd name="T6" fmla="*/ 36 w 38"/>
                <a:gd name="T7" fmla="*/ 24 h 33"/>
                <a:gd name="T8" fmla="*/ 35 w 38"/>
                <a:gd name="T9" fmla="*/ 24 h 33"/>
                <a:gd name="T10" fmla="*/ 5 w 38"/>
                <a:gd name="T11" fmla="*/ 32 h 33"/>
                <a:gd name="T12" fmla="*/ 4 w 38"/>
                <a:gd name="T13" fmla="*/ 26 h 33"/>
                <a:gd name="T14" fmla="*/ 27 w 38"/>
                <a:gd name="T15" fmla="*/ 20 h 33"/>
                <a:gd name="T16" fmla="*/ 6 w 38"/>
                <a:gd name="T17" fmla="*/ 8 h 33"/>
                <a:gd name="T18" fmla="*/ 9 w 38"/>
                <a:gd name="T19" fmla="*/ 2 h 33"/>
                <a:gd name="T20" fmla="*/ 36 w 38"/>
                <a:gd name="T21" fmla="*/ 18 h 33"/>
                <a:gd name="T22" fmla="*/ 38 w 38"/>
                <a:gd name="T23" fmla="*/ 19 h 33"/>
                <a:gd name="T24" fmla="*/ 38 w 38"/>
                <a:gd name="T25" fmla="*/ 19 h 33"/>
                <a:gd name="T26" fmla="*/ 38 w 38"/>
                <a:gd name="T27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33"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3"/>
                    <a:pt x="38" y="23"/>
                    <a:pt x="37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" y="33"/>
                    <a:pt x="0" y="27"/>
                    <a:pt x="4" y="26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2" y="6"/>
                    <a:pt x="6" y="0"/>
                    <a:pt x="9" y="2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7" y="18"/>
                    <a:pt x="37" y="18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20"/>
                    <a:pt x="38" y="20"/>
                    <a:pt x="38" y="21"/>
                  </a:cubicBez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116">
              <a:extLst>
                <a:ext uri="{FF2B5EF4-FFF2-40B4-BE49-F238E27FC236}">
                  <a16:creationId xmlns:a16="http://schemas.microsoft.com/office/drawing/2014/main" id="{ADA7AD71-6CE3-41F1-8797-E8EEDBC50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2" y="2363"/>
              <a:ext cx="69" cy="59"/>
            </a:xfrm>
            <a:custGeom>
              <a:avLst/>
              <a:gdLst>
                <a:gd name="T0" fmla="*/ 1 w 39"/>
                <a:gd name="T1" fmla="*/ 21 h 33"/>
                <a:gd name="T2" fmla="*/ 1 w 39"/>
                <a:gd name="T3" fmla="*/ 21 h 33"/>
                <a:gd name="T4" fmla="*/ 2 w 39"/>
                <a:gd name="T5" fmla="*/ 24 h 33"/>
                <a:gd name="T6" fmla="*/ 3 w 39"/>
                <a:gd name="T7" fmla="*/ 24 h 33"/>
                <a:gd name="T8" fmla="*/ 3 w 39"/>
                <a:gd name="T9" fmla="*/ 24 h 33"/>
                <a:gd name="T10" fmla="*/ 33 w 39"/>
                <a:gd name="T11" fmla="*/ 32 h 33"/>
                <a:gd name="T12" fmla="*/ 35 w 39"/>
                <a:gd name="T13" fmla="*/ 26 h 33"/>
                <a:gd name="T14" fmla="*/ 12 w 39"/>
                <a:gd name="T15" fmla="*/ 20 h 33"/>
                <a:gd name="T16" fmla="*/ 33 w 39"/>
                <a:gd name="T17" fmla="*/ 8 h 33"/>
                <a:gd name="T18" fmla="*/ 30 w 39"/>
                <a:gd name="T19" fmla="*/ 2 h 33"/>
                <a:gd name="T20" fmla="*/ 3 w 39"/>
                <a:gd name="T21" fmla="*/ 18 h 33"/>
                <a:gd name="T22" fmla="*/ 1 w 39"/>
                <a:gd name="T23" fmla="*/ 19 h 33"/>
                <a:gd name="T24" fmla="*/ 1 w 39"/>
                <a:gd name="T25" fmla="*/ 19 h 33"/>
                <a:gd name="T26" fmla="*/ 1 w 39"/>
                <a:gd name="T27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3">
                  <a:moveTo>
                    <a:pt x="1" y="21"/>
                  </a:moveTo>
                  <a:cubicBezTo>
                    <a:pt x="1" y="21"/>
                    <a:pt x="1" y="21"/>
                    <a:pt x="1" y="21"/>
                  </a:cubicBezTo>
                  <a:cubicBezTo>
                    <a:pt x="1" y="23"/>
                    <a:pt x="1" y="23"/>
                    <a:pt x="2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8" y="33"/>
                    <a:pt x="39" y="27"/>
                    <a:pt x="35" y="26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6" y="6"/>
                    <a:pt x="33" y="0"/>
                    <a:pt x="30" y="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" y="18"/>
                    <a:pt x="2" y="18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20"/>
                    <a:pt x="0" y="20"/>
                    <a:pt x="1" y="21"/>
                  </a:cubicBez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7">
              <a:extLst>
                <a:ext uri="{FF2B5EF4-FFF2-40B4-BE49-F238E27FC236}">
                  <a16:creationId xmlns:a16="http://schemas.microsoft.com/office/drawing/2014/main" id="{ED1AD3B9-1295-46E5-8402-3188F4A75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0" y="1853"/>
              <a:ext cx="201" cy="200"/>
            </a:xfrm>
            <a:custGeom>
              <a:avLst/>
              <a:gdLst>
                <a:gd name="T0" fmla="*/ 105 w 113"/>
                <a:gd name="T1" fmla="*/ 71 h 113"/>
                <a:gd name="T2" fmla="*/ 42 w 113"/>
                <a:gd name="T3" fmla="*/ 105 h 113"/>
                <a:gd name="T4" fmla="*/ 8 w 113"/>
                <a:gd name="T5" fmla="*/ 42 h 113"/>
                <a:gd name="T6" fmla="*/ 70 w 113"/>
                <a:gd name="T7" fmla="*/ 8 h 113"/>
                <a:gd name="T8" fmla="*/ 105 w 113"/>
                <a:gd name="T9" fmla="*/ 7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3">
                  <a:moveTo>
                    <a:pt x="105" y="71"/>
                  </a:moveTo>
                  <a:cubicBezTo>
                    <a:pt x="97" y="98"/>
                    <a:pt x="69" y="113"/>
                    <a:pt x="42" y="105"/>
                  </a:cubicBezTo>
                  <a:cubicBezTo>
                    <a:pt x="15" y="97"/>
                    <a:pt x="0" y="69"/>
                    <a:pt x="8" y="42"/>
                  </a:cubicBezTo>
                  <a:cubicBezTo>
                    <a:pt x="15" y="15"/>
                    <a:pt x="44" y="0"/>
                    <a:pt x="70" y="8"/>
                  </a:cubicBezTo>
                  <a:cubicBezTo>
                    <a:pt x="97" y="16"/>
                    <a:pt x="113" y="44"/>
                    <a:pt x="105" y="71"/>
                  </a:cubicBezTo>
                  <a:close/>
                </a:path>
              </a:pathLst>
            </a:custGeom>
            <a:solidFill>
              <a:srgbClr val="FFCD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8">
              <a:extLst>
                <a:ext uri="{FF2B5EF4-FFF2-40B4-BE49-F238E27FC236}">
                  <a16:creationId xmlns:a16="http://schemas.microsoft.com/office/drawing/2014/main" id="{F80D5ADF-6BDB-462B-95BF-81405FE95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" y="1943"/>
              <a:ext cx="126" cy="84"/>
            </a:xfrm>
            <a:custGeom>
              <a:avLst/>
              <a:gdLst>
                <a:gd name="T0" fmla="*/ 71 w 71"/>
                <a:gd name="T1" fmla="*/ 20 h 47"/>
                <a:gd name="T2" fmla="*/ 57 w 71"/>
                <a:gd name="T3" fmla="*/ 39 h 47"/>
                <a:gd name="T4" fmla="*/ 27 w 71"/>
                <a:gd name="T5" fmla="*/ 44 h 47"/>
                <a:gd name="T6" fmla="*/ 4 w 71"/>
                <a:gd name="T7" fmla="*/ 23 h 47"/>
                <a:gd name="T8" fmla="*/ 3 w 71"/>
                <a:gd name="T9" fmla="*/ 0 h 47"/>
                <a:gd name="T10" fmla="*/ 71 w 71"/>
                <a:gd name="T11" fmla="*/ 2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47">
                  <a:moveTo>
                    <a:pt x="71" y="20"/>
                  </a:moveTo>
                  <a:cubicBezTo>
                    <a:pt x="69" y="28"/>
                    <a:pt x="64" y="34"/>
                    <a:pt x="57" y="39"/>
                  </a:cubicBezTo>
                  <a:cubicBezTo>
                    <a:pt x="49" y="45"/>
                    <a:pt x="38" y="47"/>
                    <a:pt x="27" y="44"/>
                  </a:cubicBezTo>
                  <a:cubicBezTo>
                    <a:pt x="16" y="41"/>
                    <a:pt x="8" y="33"/>
                    <a:pt x="4" y="23"/>
                  </a:cubicBezTo>
                  <a:cubicBezTo>
                    <a:pt x="1" y="16"/>
                    <a:pt x="0" y="8"/>
                    <a:pt x="3" y="0"/>
                  </a:cubicBezTo>
                  <a:lnTo>
                    <a:pt x="71" y="20"/>
                  </a:ln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19">
              <a:extLst>
                <a:ext uri="{FF2B5EF4-FFF2-40B4-BE49-F238E27FC236}">
                  <a16:creationId xmlns:a16="http://schemas.microsoft.com/office/drawing/2014/main" id="{00FF51AA-39E0-44C8-B997-3BAEDEB6D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" y="1970"/>
              <a:ext cx="94" cy="57"/>
            </a:xfrm>
            <a:custGeom>
              <a:avLst/>
              <a:gdLst>
                <a:gd name="T0" fmla="*/ 53 w 53"/>
                <a:gd name="T1" fmla="*/ 24 h 32"/>
                <a:gd name="T2" fmla="*/ 23 w 53"/>
                <a:gd name="T3" fmla="*/ 29 h 32"/>
                <a:gd name="T4" fmla="*/ 0 w 53"/>
                <a:gd name="T5" fmla="*/ 8 h 32"/>
                <a:gd name="T6" fmla="*/ 30 w 53"/>
                <a:gd name="T7" fmla="*/ 4 h 32"/>
                <a:gd name="T8" fmla="*/ 53 w 53"/>
                <a:gd name="T9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2">
                  <a:moveTo>
                    <a:pt x="53" y="24"/>
                  </a:moveTo>
                  <a:cubicBezTo>
                    <a:pt x="45" y="30"/>
                    <a:pt x="34" y="32"/>
                    <a:pt x="23" y="29"/>
                  </a:cubicBezTo>
                  <a:cubicBezTo>
                    <a:pt x="12" y="26"/>
                    <a:pt x="4" y="18"/>
                    <a:pt x="0" y="8"/>
                  </a:cubicBezTo>
                  <a:cubicBezTo>
                    <a:pt x="9" y="3"/>
                    <a:pt x="20" y="0"/>
                    <a:pt x="30" y="4"/>
                  </a:cubicBezTo>
                  <a:cubicBezTo>
                    <a:pt x="41" y="7"/>
                    <a:pt x="49" y="14"/>
                    <a:pt x="53" y="24"/>
                  </a:cubicBezTo>
                  <a:close/>
                </a:path>
              </a:pathLst>
            </a:custGeom>
            <a:solidFill>
              <a:srgbClr val="FFA1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20">
              <a:extLst>
                <a:ext uri="{FF2B5EF4-FFF2-40B4-BE49-F238E27FC236}">
                  <a16:creationId xmlns:a16="http://schemas.microsoft.com/office/drawing/2014/main" id="{38DFF976-524E-45F6-8AED-6825675B6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1" y="1895"/>
              <a:ext cx="46" cy="38"/>
            </a:xfrm>
            <a:custGeom>
              <a:avLst/>
              <a:gdLst>
                <a:gd name="T0" fmla="*/ 26 w 26"/>
                <a:gd name="T1" fmla="*/ 20 h 21"/>
                <a:gd name="T2" fmla="*/ 26 w 26"/>
                <a:gd name="T3" fmla="*/ 20 h 21"/>
                <a:gd name="T4" fmla="*/ 24 w 26"/>
                <a:gd name="T5" fmla="*/ 21 h 21"/>
                <a:gd name="T6" fmla="*/ 24 w 26"/>
                <a:gd name="T7" fmla="*/ 21 h 21"/>
                <a:gd name="T8" fmla="*/ 24 w 26"/>
                <a:gd name="T9" fmla="*/ 21 h 21"/>
                <a:gd name="T10" fmla="*/ 2 w 26"/>
                <a:gd name="T11" fmla="*/ 21 h 21"/>
                <a:gd name="T12" fmla="*/ 2 w 26"/>
                <a:gd name="T13" fmla="*/ 17 h 21"/>
                <a:gd name="T14" fmla="*/ 19 w 26"/>
                <a:gd name="T15" fmla="*/ 17 h 21"/>
                <a:gd name="T16" fmla="*/ 7 w 26"/>
                <a:gd name="T17" fmla="*/ 5 h 21"/>
                <a:gd name="T18" fmla="*/ 11 w 26"/>
                <a:gd name="T19" fmla="*/ 2 h 21"/>
                <a:gd name="T20" fmla="*/ 25 w 26"/>
                <a:gd name="T21" fmla="*/ 17 h 21"/>
                <a:gd name="T22" fmla="*/ 26 w 26"/>
                <a:gd name="T23" fmla="*/ 18 h 21"/>
                <a:gd name="T24" fmla="*/ 26 w 26"/>
                <a:gd name="T25" fmla="*/ 18 h 21"/>
                <a:gd name="T26" fmla="*/ 26 w 26"/>
                <a:gd name="T2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1">
                  <a:moveTo>
                    <a:pt x="26" y="20"/>
                  </a:moveTo>
                  <a:cubicBezTo>
                    <a:pt x="26" y="20"/>
                    <a:pt x="26" y="20"/>
                    <a:pt x="26" y="20"/>
                  </a:cubicBezTo>
                  <a:cubicBezTo>
                    <a:pt x="26" y="21"/>
                    <a:pt x="25" y="21"/>
                    <a:pt x="24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1"/>
                    <a:pt x="0" y="16"/>
                    <a:pt x="2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3"/>
                    <a:pt x="9" y="0"/>
                    <a:pt x="11" y="2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9"/>
                    <a:pt x="26" y="19"/>
                    <a:pt x="26" y="20"/>
                  </a:cubicBez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21">
              <a:extLst>
                <a:ext uri="{FF2B5EF4-FFF2-40B4-BE49-F238E27FC236}">
                  <a16:creationId xmlns:a16="http://schemas.microsoft.com/office/drawing/2014/main" id="{2490099D-7782-49BE-B9BB-C3E90361F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3" y="1927"/>
              <a:ext cx="48" cy="41"/>
            </a:xfrm>
            <a:custGeom>
              <a:avLst/>
              <a:gdLst>
                <a:gd name="T0" fmla="*/ 0 w 27"/>
                <a:gd name="T1" fmla="*/ 8 h 23"/>
                <a:gd name="T2" fmla="*/ 0 w 27"/>
                <a:gd name="T3" fmla="*/ 8 h 23"/>
                <a:gd name="T4" fmla="*/ 1 w 27"/>
                <a:gd name="T5" fmla="*/ 10 h 23"/>
                <a:gd name="T6" fmla="*/ 1 w 27"/>
                <a:gd name="T7" fmla="*/ 10 h 23"/>
                <a:gd name="T8" fmla="*/ 1 w 27"/>
                <a:gd name="T9" fmla="*/ 10 h 23"/>
                <a:gd name="T10" fmla="*/ 19 w 27"/>
                <a:gd name="T11" fmla="*/ 21 h 23"/>
                <a:gd name="T12" fmla="*/ 22 w 27"/>
                <a:gd name="T13" fmla="*/ 18 h 23"/>
                <a:gd name="T14" fmla="*/ 8 w 27"/>
                <a:gd name="T15" fmla="*/ 9 h 23"/>
                <a:gd name="T16" fmla="*/ 24 w 27"/>
                <a:gd name="T17" fmla="*/ 5 h 23"/>
                <a:gd name="T18" fmla="*/ 23 w 27"/>
                <a:gd name="T19" fmla="*/ 1 h 23"/>
                <a:gd name="T20" fmla="*/ 2 w 27"/>
                <a:gd name="T21" fmla="*/ 6 h 23"/>
                <a:gd name="T22" fmla="*/ 1 w 27"/>
                <a:gd name="T23" fmla="*/ 6 h 23"/>
                <a:gd name="T24" fmla="*/ 1 w 27"/>
                <a:gd name="T25" fmla="*/ 6 h 23"/>
                <a:gd name="T26" fmla="*/ 0 w 27"/>
                <a:gd name="T27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23">
                  <a:moveTo>
                    <a:pt x="0" y="8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2" y="23"/>
                    <a:pt x="24" y="19"/>
                    <a:pt x="22" y="18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7" y="5"/>
                    <a:pt x="25" y="0"/>
                    <a:pt x="23" y="1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0" y="7"/>
                    <a:pt x="0" y="8"/>
                  </a:cubicBez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22">
              <a:extLst>
                <a:ext uri="{FF2B5EF4-FFF2-40B4-BE49-F238E27FC236}">
                  <a16:creationId xmlns:a16="http://schemas.microsoft.com/office/drawing/2014/main" id="{D0558329-70A1-4723-9018-EADFECE40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3" y="1053"/>
              <a:ext cx="192" cy="191"/>
            </a:xfrm>
            <a:custGeom>
              <a:avLst/>
              <a:gdLst>
                <a:gd name="T0" fmla="*/ 105 w 108"/>
                <a:gd name="T1" fmla="*/ 47 h 108"/>
                <a:gd name="T2" fmla="*/ 61 w 108"/>
                <a:gd name="T3" fmla="*/ 104 h 108"/>
                <a:gd name="T4" fmla="*/ 4 w 108"/>
                <a:gd name="T5" fmla="*/ 60 h 108"/>
                <a:gd name="T6" fmla="*/ 48 w 108"/>
                <a:gd name="T7" fmla="*/ 4 h 108"/>
                <a:gd name="T8" fmla="*/ 105 w 108"/>
                <a:gd name="T9" fmla="*/ 4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08">
                  <a:moveTo>
                    <a:pt x="105" y="47"/>
                  </a:moveTo>
                  <a:cubicBezTo>
                    <a:pt x="108" y="75"/>
                    <a:pt x="88" y="101"/>
                    <a:pt x="61" y="104"/>
                  </a:cubicBezTo>
                  <a:cubicBezTo>
                    <a:pt x="33" y="108"/>
                    <a:pt x="7" y="88"/>
                    <a:pt x="4" y="60"/>
                  </a:cubicBezTo>
                  <a:cubicBezTo>
                    <a:pt x="0" y="32"/>
                    <a:pt x="20" y="7"/>
                    <a:pt x="48" y="4"/>
                  </a:cubicBezTo>
                  <a:cubicBezTo>
                    <a:pt x="76" y="0"/>
                    <a:pt x="101" y="20"/>
                    <a:pt x="105" y="47"/>
                  </a:cubicBezTo>
                  <a:close/>
                </a:path>
              </a:pathLst>
            </a:custGeom>
            <a:solidFill>
              <a:srgbClr val="FFCD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123">
              <a:extLst>
                <a:ext uri="{FF2B5EF4-FFF2-40B4-BE49-F238E27FC236}">
                  <a16:creationId xmlns:a16="http://schemas.microsoft.com/office/drawing/2014/main" id="{4F7448C0-ECD5-4DCF-9C9C-25C17DE28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8" y="1149"/>
              <a:ext cx="126" cy="72"/>
            </a:xfrm>
            <a:custGeom>
              <a:avLst/>
              <a:gdLst>
                <a:gd name="T0" fmla="*/ 70 w 71"/>
                <a:gd name="T1" fmla="*/ 0 h 41"/>
                <a:gd name="T2" fmla="*/ 65 w 71"/>
                <a:gd name="T3" fmla="*/ 23 h 41"/>
                <a:gd name="T4" fmla="*/ 39 w 71"/>
                <a:gd name="T5" fmla="*/ 39 h 41"/>
                <a:gd name="T6" fmla="*/ 10 w 71"/>
                <a:gd name="T7" fmla="*/ 30 h 41"/>
                <a:gd name="T8" fmla="*/ 0 w 71"/>
                <a:gd name="T9" fmla="*/ 9 h 41"/>
                <a:gd name="T10" fmla="*/ 70 w 71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41">
                  <a:moveTo>
                    <a:pt x="70" y="0"/>
                  </a:moveTo>
                  <a:cubicBezTo>
                    <a:pt x="71" y="8"/>
                    <a:pt x="69" y="16"/>
                    <a:pt x="65" y="23"/>
                  </a:cubicBezTo>
                  <a:cubicBezTo>
                    <a:pt x="60" y="32"/>
                    <a:pt x="50" y="38"/>
                    <a:pt x="39" y="39"/>
                  </a:cubicBezTo>
                  <a:cubicBezTo>
                    <a:pt x="28" y="41"/>
                    <a:pt x="18" y="37"/>
                    <a:pt x="10" y="30"/>
                  </a:cubicBezTo>
                  <a:cubicBezTo>
                    <a:pt x="5" y="24"/>
                    <a:pt x="1" y="17"/>
                    <a:pt x="0" y="9"/>
                  </a:cubicBezTo>
                  <a:lnTo>
                    <a:pt x="70" y="0"/>
                  </a:ln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124">
              <a:extLst>
                <a:ext uri="{FF2B5EF4-FFF2-40B4-BE49-F238E27FC236}">
                  <a16:creationId xmlns:a16="http://schemas.microsoft.com/office/drawing/2014/main" id="{D0978E9B-1AD0-4B6E-BA06-7C5DE3584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6" y="1170"/>
              <a:ext cx="98" cy="51"/>
            </a:xfrm>
            <a:custGeom>
              <a:avLst/>
              <a:gdLst>
                <a:gd name="T0" fmla="*/ 55 w 55"/>
                <a:gd name="T1" fmla="*/ 11 h 29"/>
                <a:gd name="T2" fmla="*/ 29 w 55"/>
                <a:gd name="T3" fmla="*/ 27 h 29"/>
                <a:gd name="T4" fmla="*/ 0 w 55"/>
                <a:gd name="T5" fmla="*/ 18 h 29"/>
                <a:gd name="T6" fmla="*/ 26 w 55"/>
                <a:gd name="T7" fmla="*/ 1 h 29"/>
                <a:gd name="T8" fmla="*/ 55 w 55"/>
                <a:gd name="T9" fmla="*/ 1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29">
                  <a:moveTo>
                    <a:pt x="55" y="11"/>
                  </a:moveTo>
                  <a:cubicBezTo>
                    <a:pt x="50" y="20"/>
                    <a:pt x="40" y="26"/>
                    <a:pt x="29" y="27"/>
                  </a:cubicBezTo>
                  <a:cubicBezTo>
                    <a:pt x="18" y="29"/>
                    <a:pt x="8" y="25"/>
                    <a:pt x="0" y="18"/>
                  </a:cubicBezTo>
                  <a:cubicBezTo>
                    <a:pt x="6" y="9"/>
                    <a:pt x="15" y="3"/>
                    <a:pt x="26" y="1"/>
                  </a:cubicBezTo>
                  <a:cubicBezTo>
                    <a:pt x="37" y="0"/>
                    <a:pt x="48" y="4"/>
                    <a:pt x="55" y="11"/>
                  </a:cubicBezTo>
                  <a:close/>
                </a:path>
              </a:pathLst>
            </a:custGeom>
            <a:solidFill>
              <a:srgbClr val="FFA1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125">
              <a:extLst>
                <a:ext uri="{FF2B5EF4-FFF2-40B4-BE49-F238E27FC236}">
                  <a16:creationId xmlns:a16="http://schemas.microsoft.com/office/drawing/2014/main" id="{A32D84AC-D2E8-4077-98CB-E234F9E5E2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3" y="1113"/>
              <a:ext cx="46" cy="41"/>
            </a:xfrm>
            <a:custGeom>
              <a:avLst/>
              <a:gdLst>
                <a:gd name="T0" fmla="*/ 26 w 26"/>
                <a:gd name="T1" fmla="*/ 11 h 23"/>
                <a:gd name="T2" fmla="*/ 26 w 26"/>
                <a:gd name="T3" fmla="*/ 11 h 23"/>
                <a:gd name="T4" fmla="*/ 25 w 26"/>
                <a:gd name="T5" fmla="*/ 13 h 23"/>
                <a:gd name="T6" fmla="*/ 25 w 26"/>
                <a:gd name="T7" fmla="*/ 13 h 23"/>
                <a:gd name="T8" fmla="*/ 24 w 26"/>
                <a:gd name="T9" fmla="*/ 13 h 23"/>
                <a:gd name="T10" fmla="*/ 4 w 26"/>
                <a:gd name="T11" fmla="*/ 22 h 23"/>
                <a:gd name="T12" fmla="*/ 3 w 26"/>
                <a:gd name="T13" fmla="*/ 17 h 23"/>
                <a:gd name="T14" fmla="*/ 18 w 26"/>
                <a:gd name="T15" fmla="*/ 11 h 23"/>
                <a:gd name="T16" fmla="*/ 3 w 26"/>
                <a:gd name="T17" fmla="*/ 5 h 23"/>
                <a:gd name="T18" fmla="*/ 4 w 26"/>
                <a:gd name="T19" fmla="*/ 1 h 23"/>
                <a:gd name="T20" fmla="*/ 24 w 26"/>
                <a:gd name="T21" fmla="*/ 9 h 23"/>
                <a:gd name="T22" fmla="*/ 25 w 26"/>
                <a:gd name="T23" fmla="*/ 10 h 23"/>
                <a:gd name="T24" fmla="*/ 25 w 26"/>
                <a:gd name="T25" fmla="*/ 10 h 23"/>
                <a:gd name="T26" fmla="*/ 26 w 26"/>
                <a:gd name="T2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3">
                  <a:moveTo>
                    <a:pt x="26" y="11"/>
                  </a:moveTo>
                  <a:cubicBezTo>
                    <a:pt x="26" y="11"/>
                    <a:pt x="26" y="11"/>
                    <a:pt x="26" y="11"/>
                  </a:cubicBezTo>
                  <a:cubicBezTo>
                    <a:pt x="26" y="12"/>
                    <a:pt x="26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2" y="23"/>
                    <a:pt x="0" y="19"/>
                    <a:pt x="3" y="17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0" y="4"/>
                    <a:pt x="2" y="0"/>
                    <a:pt x="4" y="1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5" y="9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6" y="10"/>
                    <a:pt x="26" y="11"/>
                    <a:pt x="26" y="11"/>
                  </a:cubicBez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26">
              <a:extLst>
                <a:ext uri="{FF2B5EF4-FFF2-40B4-BE49-F238E27FC236}">
                  <a16:creationId xmlns:a16="http://schemas.microsoft.com/office/drawing/2014/main" id="{BDF5CA7C-687E-4F87-8097-22582F250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5" y="1099"/>
              <a:ext cx="48" cy="39"/>
            </a:xfrm>
            <a:custGeom>
              <a:avLst/>
              <a:gdLst>
                <a:gd name="T0" fmla="*/ 0 w 27"/>
                <a:gd name="T1" fmla="*/ 17 h 22"/>
                <a:gd name="T2" fmla="*/ 0 w 27"/>
                <a:gd name="T3" fmla="*/ 17 h 22"/>
                <a:gd name="T4" fmla="*/ 2 w 27"/>
                <a:gd name="T5" fmla="*/ 18 h 22"/>
                <a:gd name="T6" fmla="*/ 2 w 27"/>
                <a:gd name="T7" fmla="*/ 18 h 22"/>
                <a:gd name="T8" fmla="*/ 3 w 27"/>
                <a:gd name="T9" fmla="*/ 18 h 22"/>
                <a:gd name="T10" fmla="*/ 24 w 27"/>
                <a:gd name="T11" fmla="*/ 21 h 22"/>
                <a:gd name="T12" fmla="*/ 24 w 27"/>
                <a:gd name="T13" fmla="*/ 17 h 22"/>
                <a:gd name="T14" fmla="*/ 8 w 27"/>
                <a:gd name="T15" fmla="*/ 15 h 22"/>
                <a:gd name="T16" fmla="*/ 21 w 27"/>
                <a:gd name="T17" fmla="*/ 5 h 22"/>
                <a:gd name="T18" fmla="*/ 18 w 27"/>
                <a:gd name="T19" fmla="*/ 1 h 22"/>
                <a:gd name="T20" fmla="*/ 1 w 27"/>
                <a:gd name="T21" fmla="*/ 14 h 22"/>
                <a:gd name="T22" fmla="*/ 1 w 27"/>
                <a:gd name="T23" fmla="*/ 15 h 22"/>
                <a:gd name="T24" fmla="*/ 1 w 27"/>
                <a:gd name="T25" fmla="*/ 15 h 22"/>
                <a:gd name="T26" fmla="*/ 0 w 27"/>
                <a:gd name="T27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22">
                  <a:moveTo>
                    <a:pt x="0" y="17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1" y="18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6" y="22"/>
                    <a:pt x="27" y="17"/>
                    <a:pt x="24" y="17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3" y="3"/>
                    <a:pt x="21" y="0"/>
                    <a:pt x="18" y="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6"/>
                    <a:pt x="0" y="17"/>
                  </a:cubicBez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27">
              <a:extLst>
                <a:ext uri="{FF2B5EF4-FFF2-40B4-BE49-F238E27FC236}">
                  <a16:creationId xmlns:a16="http://schemas.microsoft.com/office/drawing/2014/main" id="{32550DCD-36F3-44D3-83B0-45F04CA4B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2" y="1516"/>
              <a:ext cx="133" cy="133"/>
            </a:xfrm>
            <a:custGeom>
              <a:avLst/>
              <a:gdLst>
                <a:gd name="T0" fmla="*/ 72 w 75"/>
                <a:gd name="T1" fmla="*/ 33 h 75"/>
                <a:gd name="T2" fmla="*/ 42 w 75"/>
                <a:gd name="T3" fmla="*/ 72 h 75"/>
                <a:gd name="T4" fmla="*/ 3 w 75"/>
                <a:gd name="T5" fmla="*/ 43 h 75"/>
                <a:gd name="T6" fmla="*/ 32 w 75"/>
                <a:gd name="T7" fmla="*/ 3 h 75"/>
                <a:gd name="T8" fmla="*/ 72 w 75"/>
                <a:gd name="T9" fmla="*/ 3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5">
                  <a:moveTo>
                    <a:pt x="72" y="33"/>
                  </a:moveTo>
                  <a:cubicBezTo>
                    <a:pt x="75" y="52"/>
                    <a:pt x="62" y="69"/>
                    <a:pt x="42" y="72"/>
                  </a:cubicBezTo>
                  <a:cubicBezTo>
                    <a:pt x="23" y="75"/>
                    <a:pt x="6" y="62"/>
                    <a:pt x="3" y="43"/>
                  </a:cubicBezTo>
                  <a:cubicBezTo>
                    <a:pt x="0" y="24"/>
                    <a:pt x="13" y="6"/>
                    <a:pt x="32" y="3"/>
                  </a:cubicBezTo>
                  <a:cubicBezTo>
                    <a:pt x="51" y="0"/>
                    <a:pt x="69" y="14"/>
                    <a:pt x="72" y="33"/>
                  </a:cubicBezTo>
                  <a:close/>
                </a:path>
              </a:pathLst>
            </a:custGeom>
            <a:solidFill>
              <a:srgbClr val="FFCD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8">
              <a:extLst>
                <a:ext uri="{FF2B5EF4-FFF2-40B4-BE49-F238E27FC236}">
                  <a16:creationId xmlns:a16="http://schemas.microsoft.com/office/drawing/2014/main" id="{4E35AA1F-34FB-4A34-8862-15C07AFD4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5" y="1581"/>
              <a:ext cx="88" cy="52"/>
            </a:xfrm>
            <a:custGeom>
              <a:avLst/>
              <a:gdLst>
                <a:gd name="T0" fmla="*/ 49 w 50"/>
                <a:gd name="T1" fmla="*/ 0 h 29"/>
                <a:gd name="T2" fmla="*/ 46 w 50"/>
                <a:gd name="T3" fmla="*/ 16 h 29"/>
                <a:gd name="T4" fmla="*/ 28 w 50"/>
                <a:gd name="T5" fmla="*/ 28 h 29"/>
                <a:gd name="T6" fmla="*/ 8 w 50"/>
                <a:gd name="T7" fmla="*/ 22 h 29"/>
                <a:gd name="T8" fmla="*/ 0 w 50"/>
                <a:gd name="T9" fmla="*/ 7 h 29"/>
                <a:gd name="T10" fmla="*/ 49 w 50"/>
                <a:gd name="T11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29">
                  <a:moveTo>
                    <a:pt x="49" y="0"/>
                  </a:moveTo>
                  <a:cubicBezTo>
                    <a:pt x="50" y="6"/>
                    <a:pt x="49" y="11"/>
                    <a:pt x="46" y="16"/>
                  </a:cubicBezTo>
                  <a:cubicBezTo>
                    <a:pt x="42" y="22"/>
                    <a:pt x="36" y="27"/>
                    <a:pt x="28" y="28"/>
                  </a:cubicBezTo>
                  <a:cubicBezTo>
                    <a:pt x="21" y="29"/>
                    <a:pt x="13" y="27"/>
                    <a:pt x="8" y="22"/>
                  </a:cubicBezTo>
                  <a:cubicBezTo>
                    <a:pt x="4" y="18"/>
                    <a:pt x="1" y="13"/>
                    <a:pt x="0" y="7"/>
                  </a:cubicBezTo>
                  <a:lnTo>
                    <a:pt x="49" y="0"/>
                  </a:ln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29">
              <a:extLst>
                <a:ext uri="{FF2B5EF4-FFF2-40B4-BE49-F238E27FC236}">
                  <a16:creationId xmlns:a16="http://schemas.microsoft.com/office/drawing/2014/main" id="{68CE70AB-9450-4D63-B3D4-7DD7402F2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9" y="1597"/>
              <a:ext cx="67" cy="36"/>
            </a:xfrm>
            <a:custGeom>
              <a:avLst/>
              <a:gdLst>
                <a:gd name="T0" fmla="*/ 38 w 38"/>
                <a:gd name="T1" fmla="*/ 7 h 20"/>
                <a:gd name="T2" fmla="*/ 20 w 38"/>
                <a:gd name="T3" fmla="*/ 19 h 20"/>
                <a:gd name="T4" fmla="*/ 0 w 38"/>
                <a:gd name="T5" fmla="*/ 13 h 20"/>
                <a:gd name="T6" fmla="*/ 18 w 38"/>
                <a:gd name="T7" fmla="*/ 1 h 20"/>
                <a:gd name="T8" fmla="*/ 38 w 38"/>
                <a:gd name="T9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38" y="7"/>
                  </a:moveTo>
                  <a:cubicBezTo>
                    <a:pt x="34" y="13"/>
                    <a:pt x="28" y="18"/>
                    <a:pt x="20" y="19"/>
                  </a:cubicBezTo>
                  <a:cubicBezTo>
                    <a:pt x="13" y="20"/>
                    <a:pt x="5" y="18"/>
                    <a:pt x="0" y="13"/>
                  </a:cubicBezTo>
                  <a:cubicBezTo>
                    <a:pt x="4" y="7"/>
                    <a:pt x="10" y="2"/>
                    <a:pt x="18" y="1"/>
                  </a:cubicBezTo>
                  <a:cubicBezTo>
                    <a:pt x="25" y="0"/>
                    <a:pt x="32" y="2"/>
                    <a:pt x="38" y="7"/>
                  </a:cubicBezTo>
                  <a:close/>
                </a:path>
              </a:pathLst>
            </a:custGeom>
            <a:solidFill>
              <a:srgbClr val="FFA1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30">
              <a:extLst>
                <a:ext uri="{FF2B5EF4-FFF2-40B4-BE49-F238E27FC236}">
                  <a16:creationId xmlns:a16="http://schemas.microsoft.com/office/drawing/2014/main" id="{7E87DB64-E27C-420B-906A-EDDC4E795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1" y="1560"/>
              <a:ext cx="32" cy="27"/>
            </a:xfrm>
            <a:custGeom>
              <a:avLst/>
              <a:gdLst>
                <a:gd name="T0" fmla="*/ 18 w 18"/>
                <a:gd name="T1" fmla="*/ 7 h 15"/>
                <a:gd name="T2" fmla="*/ 18 w 18"/>
                <a:gd name="T3" fmla="*/ 7 h 15"/>
                <a:gd name="T4" fmla="*/ 17 w 18"/>
                <a:gd name="T5" fmla="*/ 9 h 15"/>
                <a:gd name="T6" fmla="*/ 17 w 18"/>
                <a:gd name="T7" fmla="*/ 9 h 15"/>
                <a:gd name="T8" fmla="*/ 17 w 18"/>
                <a:gd name="T9" fmla="*/ 9 h 15"/>
                <a:gd name="T10" fmla="*/ 4 w 18"/>
                <a:gd name="T11" fmla="*/ 15 h 15"/>
                <a:gd name="T12" fmla="*/ 2 w 18"/>
                <a:gd name="T13" fmla="*/ 12 h 15"/>
                <a:gd name="T14" fmla="*/ 13 w 18"/>
                <a:gd name="T15" fmla="*/ 7 h 15"/>
                <a:gd name="T16" fmla="*/ 2 w 18"/>
                <a:gd name="T17" fmla="*/ 3 h 15"/>
                <a:gd name="T18" fmla="*/ 3 w 18"/>
                <a:gd name="T19" fmla="*/ 0 h 15"/>
                <a:gd name="T20" fmla="*/ 17 w 18"/>
                <a:gd name="T21" fmla="*/ 6 h 15"/>
                <a:gd name="T22" fmla="*/ 18 w 18"/>
                <a:gd name="T23" fmla="*/ 6 h 15"/>
                <a:gd name="T24" fmla="*/ 18 w 18"/>
                <a:gd name="T25" fmla="*/ 6 h 15"/>
                <a:gd name="T26" fmla="*/ 18 w 18"/>
                <a:gd name="T27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15">
                  <a:moveTo>
                    <a:pt x="18" y="7"/>
                  </a:moveTo>
                  <a:cubicBezTo>
                    <a:pt x="18" y="7"/>
                    <a:pt x="18" y="7"/>
                    <a:pt x="18" y="7"/>
                  </a:cubicBezTo>
                  <a:cubicBezTo>
                    <a:pt x="18" y="8"/>
                    <a:pt x="18" y="8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3"/>
                    <a:pt x="2" y="1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0" y="3"/>
                    <a:pt x="1" y="0"/>
                    <a:pt x="3" y="0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7"/>
                    <a:pt x="18" y="7"/>
                  </a:cubicBez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31">
              <a:extLst>
                <a:ext uri="{FF2B5EF4-FFF2-40B4-BE49-F238E27FC236}">
                  <a16:creationId xmlns:a16="http://schemas.microsoft.com/office/drawing/2014/main" id="{7B1F11C6-EFF6-4E7E-8557-5A9BE23DE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8" y="1548"/>
              <a:ext cx="34" cy="26"/>
            </a:xfrm>
            <a:custGeom>
              <a:avLst/>
              <a:gdLst>
                <a:gd name="T0" fmla="*/ 0 w 19"/>
                <a:gd name="T1" fmla="*/ 12 h 15"/>
                <a:gd name="T2" fmla="*/ 0 w 19"/>
                <a:gd name="T3" fmla="*/ 12 h 15"/>
                <a:gd name="T4" fmla="*/ 1 w 19"/>
                <a:gd name="T5" fmla="*/ 13 h 15"/>
                <a:gd name="T6" fmla="*/ 1 w 19"/>
                <a:gd name="T7" fmla="*/ 13 h 15"/>
                <a:gd name="T8" fmla="*/ 2 w 19"/>
                <a:gd name="T9" fmla="*/ 13 h 15"/>
                <a:gd name="T10" fmla="*/ 16 w 19"/>
                <a:gd name="T11" fmla="*/ 15 h 15"/>
                <a:gd name="T12" fmla="*/ 17 w 19"/>
                <a:gd name="T13" fmla="*/ 12 h 15"/>
                <a:gd name="T14" fmla="*/ 5 w 19"/>
                <a:gd name="T15" fmla="*/ 11 h 15"/>
                <a:gd name="T16" fmla="*/ 14 w 19"/>
                <a:gd name="T17" fmla="*/ 4 h 15"/>
                <a:gd name="T18" fmla="*/ 12 w 19"/>
                <a:gd name="T19" fmla="*/ 1 h 15"/>
                <a:gd name="T20" fmla="*/ 1 w 19"/>
                <a:gd name="T21" fmla="*/ 10 h 15"/>
                <a:gd name="T22" fmla="*/ 0 w 19"/>
                <a:gd name="T23" fmla="*/ 11 h 15"/>
                <a:gd name="T24" fmla="*/ 0 w 19"/>
                <a:gd name="T25" fmla="*/ 11 h 15"/>
                <a:gd name="T26" fmla="*/ 0 w 19"/>
                <a:gd name="T27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15">
                  <a:moveTo>
                    <a:pt x="0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8" y="15"/>
                    <a:pt x="19" y="12"/>
                    <a:pt x="17" y="1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6" y="2"/>
                    <a:pt x="14" y="0"/>
                    <a:pt x="12" y="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3D00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Rectangle: Rounded Corners 9">
            <a:extLst>
              <a:ext uri="{FF2B5EF4-FFF2-40B4-BE49-F238E27FC236}">
                <a16:creationId xmlns:a16="http://schemas.microsoft.com/office/drawing/2014/main" id="{D70475F9-9784-4966-A05A-BD308D1F4C86}"/>
              </a:ext>
            </a:extLst>
          </p:cNvPr>
          <p:cNvSpPr/>
          <p:nvPr/>
        </p:nvSpPr>
        <p:spPr>
          <a:xfrm>
            <a:off x="4235314" y="1679738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1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8" name="Rectangle: Rounded Corners 9">
            <a:extLst>
              <a:ext uri="{FF2B5EF4-FFF2-40B4-BE49-F238E27FC236}">
                <a16:creationId xmlns:a16="http://schemas.microsoft.com/office/drawing/2014/main" id="{5197BAF5-4EDA-49DF-BAA7-BD46E0BBA748}"/>
              </a:ext>
            </a:extLst>
          </p:cNvPr>
          <p:cNvSpPr/>
          <p:nvPr/>
        </p:nvSpPr>
        <p:spPr>
          <a:xfrm>
            <a:off x="4258946" y="3529032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2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13" name="Rectangle: Rounded Corners 9">
            <a:extLst>
              <a:ext uri="{FF2B5EF4-FFF2-40B4-BE49-F238E27FC236}">
                <a16:creationId xmlns:a16="http://schemas.microsoft.com/office/drawing/2014/main" id="{F948DE54-4EB3-4C2E-92E6-0DBA411FA6FC}"/>
              </a:ext>
            </a:extLst>
          </p:cNvPr>
          <p:cNvSpPr/>
          <p:nvPr/>
        </p:nvSpPr>
        <p:spPr>
          <a:xfrm>
            <a:off x="4268879" y="5257142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3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B4E2AF-099D-4212-BDA3-C9ACA60B5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2506" y="269394"/>
            <a:ext cx="11562862" cy="742950"/>
          </a:xfrm>
        </p:spPr>
        <p:txBody>
          <a:bodyPr>
            <a:normAutofit/>
          </a:bodyPr>
          <a:lstStyle/>
          <a:p>
            <a:r>
              <a:rPr lang="ru-RU" sz="3600" b="1" dirty="0">
                <a:latin typeface="Segoe UI" panose="020B0502040204020203" pitchFamily="34" charset="0"/>
                <a:cs typeface="Segoe UI" panose="020B0502040204020203" pitchFamily="34" charset="0"/>
              </a:rPr>
              <a:t>Полезные сервисы для </a:t>
            </a:r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подавателя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FD2B9A5-22FD-4ED1-BB72-EB132E05A663}"/>
              </a:ext>
            </a:extLst>
          </p:cNvPr>
          <p:cNvSpPr txBox="1"/>
          <p:nvPr/>
        </p:nvSpPr>
        <p:spPr>
          <a:xfrm>
            <a:off x="5391673" y="1563312"/>
            <a:ext cx="2131526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Сервисы для организации рабочего процесса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128970F-FFFF-424A-A11E-B18953EF8649}"/>
              </a:ext>
            </a:extLst>
          </p:cNvPr>
          <p:cNvSpPr txBox="1"/>
          <p:nvPr/>
        </p:nvSpPr>
        <p:spPr>
          <a:xfrm>
            <a:off x="5446950" y="3543901"/>
            <a:ext cx="213152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Образовательные платформы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F32A4C-0439-4EC5-854F-3811FD6D368A}"/>
              </a:ext>
            </a:extLst>
          </p:cNvPr>
          <p:cNvSpPr txBox="1"/>
          <p:nvPr/>
        </p:nvSpPr>
        <p:spPr>
          <a:xfrm>
            <a:off x="5456670" y="5283352"/>
            <a:ext cx="213152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Интересные ресурсы</a:t>
            </a:r>
            <a:endParaRPr lang="en-US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88764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73A7CE6-7D49-49E8-8BA4-1D8C83EC7131}"/>
              </a:ext>
            </a:extLst>
          </p:cNvPr>
          <p:cNvSpPr/>
          <p:nvPr/>
        </p:nvSpPr>
        <p:spPr>
          <a:xfrm>
            <a:off x="0" y="0"/>
            <a:ext cx="4880008" cy="6858000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9A6E10-591C-4B02-82AA-479EF78F6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037" y="347616"/>
            <a:ext cx="4215865" cy="678656"/>
          </a:xfrm>
        </p:spPr>
        <p:txBody>
          <a:bodyPr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DEOUROKI.NET</a:t>
            </a: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4220CCB-3AB9-4239-8B38-3DA9A8554954}"/>
              </a:ext>
            </a:extLst>
          </p:cNvPr>
          <p:cNvSpPr/>
          <p:nvPr/>
        </p:nvSpPr>
        <p:spPr>
          <a:xfrm>
            <a:off x="0" y="2604282"/>
            <a:ext cx="3754392" cy="4253718"/>
          </a:xfrm>
          <a:custGeom>
            <a:avLst/>
            <a:gdLst>
              <a:gd name="connsiteX0" fmla="*/ 0 w 3754392"/>
              <a:gd name="connsiteY0" fmla="*/ 0 h 4231726"/>
              <a:gd name="connsiteX1" fmla="*/ 72692 w 3754392"/>
              <a:gd name="connsiteY1" fmla="*/ 1838 h 4231726"/>
              <a:gd name="connsiteX2" fmla="*/ 3754392 w 3754392"/>
              <a:gd name="connsiteY2" fmla="*/ 3878225 h 4231726"/>
              <a:gd name="connsiteX3" fmla="*/ 3749341 w 3754392"/>
              <a:gd name="connsiteY3" fmla="*/ 4077963 h 4231726"/>
              <a:gd name="connsiteX4" fmla="*/ 3737650 w 3754392"/>
              <a:gd name="connsiteY4" fmla="*/ 4231726 h 4231726"/>
              <a:gd name="connsiteX5" fmla="*/ 0 w 3754392"/>
              <a:gd name="connsiteY5" fmla="*/ 4231726 h 4231726"/>
              <a:gd name="connsiteX6" fmla="*/ 0 w 3754392"/>
              <a:gd name="connsiteY6" fmla="*/ 0 h 4231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54392" h="4231726">
                <a:moveTo>
                  <a:pt x="0" y="0"/>
                </a:moveTo>
                <a:lnTo>
                  <a:pt x="72692" y="1838"/>
                </a:lnTo>
                <a:cubicBezTo>
                  <a:pt x="2123527" y="105794"/>
                  <a:pt x="3754392" y="1801555"/>
                  <a:pt x="3754392" y="3878225"/>
                </a:cubicBezTo>
                <a:cubicBezTo>
                  <a:pt x="3754392" y="3945214"/>
                  <a:pt x="3752695" y="4011807"/>
                  <a:pt x="3749341" y="4077963"/>
                </a:cubicBezTo>
                <a:lnTo>
                  <a:pt x="3737650" y="4231726"/>
                </a:lnTo>
                <a:lnTo>
                  <a:pt x="0" y="4231726"/>
                </a:lnTo>
                <a:lnTo>
                  <a:pt x="0" y="0"/>
                </a:lnTo>
                <a:close/>
              </a:path>
            </a:pathLst>
          </a:custGeom>
          <a:solidFill>
            <a:srgbClr val="2948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EEDB7BB-67BF-4F13-83AE-4F0395387D6B}"/>
              </a:ext>
            </a:extLst>
          </p:cNvPr>
          <p:cNvGrpSpPr/>
          <p:nvPr/>
        </p:nvGrpSpPr>
        <p:grpSpPr>
          <a:xfrm rot="1758132">
            <a:off x="3203491" y="2477768"/>
            <a:ext cx="649522" cy="574314"/>
            <a:chOff x="2191671" y="3790700"/>
            <a:chExt cx="904875" cy="8001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9ED76D1-DA3C-4272-A9B6-69392D513E9D}"/>
                </a:ext>
              </a:extLst>
            </p:cNvPr>
            <p:cNvSpPr/>
            <p:nvPr/>
          </p:nvSpPr>
          <p:spPr>
            <a:xfrm>
              <a:off x="2191671" y="3790700"/>
              <a:ext cx="904875" cy="800100"/>
            </a:xfrm>
            <a:custGeom>
              <a:avLst/>
              <a:gdLst>
                <a:gd name="connsiteX0" fmla="*/ 793807 w 904875"/>
                <a:gd name="connsiteY0" fmla="*/ 94576 h 800100"/>
                <a:gd name="connsiteX1" fmla="*/ 212305 w 904875"/>
                <a:gd name="connsiteY1" fmla="*/ 1708 h 800100"/>
                <a:gd name="connsiteX2" fmla="*/ 58858 w 904875"/>
                <a:gd name="connsiteY2" fmla="*/ 112864 h 800100"/>
                <a:gd name="connsiteX3" fmla="*/ 1708 w 904875"/>
                <a:gd name="connsiteY3" fmla="*/ 470623 h 800100"/>
                <a:gd name="connsiteX4" fmla="*/ 112864 w 904875"/>
                <a:gd name="connsiteY4" fmla="*/ 624071 h 800100"/>
                <a:gd name="connsiteX5" fmla="*/ 317938 w 904875"/>
                <a:gd name="connsiteY5" fmla="*/ 656837 h 800100"/>
                <a:gd name="connsiteX6" fmla="*/ 359657 w 904875"/>
                <a:gd name="connsiteY6" fmla="*/ 778662 h 800100"/>
                <a:gd name="connsiteX7" fmla="*/ 428237 w 904875"/>
                <a:gd name="connsiteY7" fmla="*/ 788282 h 800100"/>
                <a:gd name="connsiteX8" fmla="*/ 499770 w 904875"/>
                <a:gd name="connsiteY8" fmla="*/ 685888 h 800100"/>
                <a:gd name="connsiteX9" fmla="*/ 694366 w 904875"/>
                <a:gd name="connsiteY9" fmla="*/ 716940 h 800100"/>
                <a:gd name="connsiteX10" fmla="*/ 847813 w 904875"/>
                <a:gd name="connsiteY10" fmla="*/ 605783 h 800100"/>
                <a:gd name="connsiteX11" fmla="*/ 904963 w 904875"/>
                <a:gd name="connsiteY11" fmla="*/ 248024 h 800100"/>
                <a:gd name="connsiteX12" fmla="*/ 793807 w 904875"/>
                <a:gd name="connsiteY12" fmla="*/ 94576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4875" h="800100">
                  <a:moveTo>
                    <a:pt x="793807" y="94576"/>
                  </a:moveTo>
                  <a:lnTo>
                    <a:pt x="212305" y="1708"/>
                  </a:lnTo>
                  <a:cubicBezTo>
                    <a:pt x="139249" y="-10008"/>
                    <a:pt x="70573" y="39808"/>
                    <a:pt x="58858" y="112864"/>
                  </a:cubicBezTo>
                  <a:lnTo>
                    <a:pt x="1708" y="470623"/>
                  </a:lnTo>
                  <a:cubicBezTo>
                    <a:pt x="-10008" y="543680"/>
                    <a:pt x="39808" y="612355"/>
                    <a:pt x="112864" y="624071"/>
                  </a:cubicBezTo>
                  <a:lnTo>
                    <a:pt x="317938" y="656837"/>
                  </a:lnTo>
                  <a:lnTo>
                    <a:pt x="359657" y="778662"/>
                  </a:lnTo>
                  <a:cubicBezTo>
                    <a:pt x="369944" y="808761"/>
                    <a:pt x="410044" y="814381"/>
                    <a:pt x="428237" y="788282"/>
                  </a:cubicBezTo>
                  <a:lnTo>
                    <a:pt x="499770" y="685888"/>
                  </a:lnTo>
                  <a:lnTo>
                    <a:pt x="694366" y="716940"/>
                  </a:lnTo>
                  <a:cubicBezTo>
                    <a:pt x="767422" y="728560"/>
                    <a:pt x="836098" y="678840"/>
                    <a:pt x="847813" y="605783"/>
                  </a:cubicBezTo>
                  <a:lnTo>
                    <a:pt x="904963" y="248024"/>
                  </a:lnTo>
                  <a:cubicBezTo>
                    <a:pt x="916584" y="174967"/>
                    <a:pt x="866863" y="106292"/>
                    <a:pt x="793807" y="94576"/>
                  </a:cubicBezTo>
                  <a:close/>
                </a:path>
              </a:pathLst>
            </a:custGeom>
            <a:solidFill>
              <a:srgbClr val="F15268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98B0482-A803-4474-A1C9-5881DDEFC9B8}"/>
                </a:ext>
              </a:extLst>
            </p:cNvPr>
            <p:cNvSpPr/>
            <p:nvPr/>
          </p:nvSpPr>
          <p:spPr>
            <a:xfrm>
              <a:off x="2475277" y="3994502"/>
              <a:ext cx="361950" cy="314325"/>
            </a:xfrm>
            <a:custGeom>
              <a:avLst/>
              <a:gdLst>
                <a:gd name="connsiteX0" fmla="*/ 365802 w 361950"/>
                <a:gd name="connsiteY0" fmla="*/ 143853 h 314325"/>
                <a:gd name="connsiteX1" fmla="*/ 287506 w 361950"/>
                <a:gd name="connsiteY1" fmla="*/ 30791 h 314325"/>
                <a:gd name="connsiteX2" fmla="*/ 191113 w 361950"/>
                <a:gd name="connsiteY2" fmla="*/ 70796 h 314325"/>
                <a:gd name="connsiteX3" fmla="*/ 113103 w 361950"/>
                <a:gd name="connsiteY3" fmla="*/ 1550 h 314325"/>
                <a:gd name="connsiteX4" fmla="*/ 5376 w 361950"/>
                <a:gd name="connsiteY4" fmla="*/ 144615 h 314325"/>
                <a:gd name="connsiteX5" fmla="*/ 148346 w 361950"/>
                <a:gd name="connsiteY5" fmla="*/ 322066 h 314325"/>
                <a:gd name="connsiteX6" fmla="*/ 149584 w 361950"/>
                <a:gd name="connsiteY6" fmla="*/ 322256 h 314325"/>
                <a:gd name="connsiteX7" fmla="*/ 340846 w 361950"/>
                <a:gd name="connsiteY7" fmla="*/ 207290 h 314325"/>
                <a:gd name="connsiteX8" fmla="*/ 365802 w 361950"/>
                <a:gd name="connsiteY8" fmla="*/ 143853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950" h="314325">
                  <a:moveTo>
                    <a:pt x="365802" y="143853"/>
                  </a:moveTo>
                  <a:cubicBezTo>
                    <a:pt x="372469" y="92609"/>
                    <a:pt x="349323" y="41174"/>
                    <a:pt x="287506" y="30791"/>
                  </a:cubicBezTo>
                  <a:cubicBezTo>
                    <a:pt x="249120" y="24314"/>
                    <a:pt x="212354" y="41078"/>
                    <a:pt x="191113" y="70796"/>
                  </a:cubicBezTo>
                  <a:cubicBezTo>
                    <a:pt x="180731" y="35840"/>
                    <a:pt x="151489" y="7931"/>
                    <a:pt x="113103" y="1550"/>
                  </a:cubicBezTo>
                  <a:cubicBezTo>
                    <a:pt x="28426" y="-12643"/>
                    <a:pt x="-16151" y="73463"/>
                    <a:pt x="5376" y="144615"/>
                  </a:cubicBezTo>
                  <a:cubicBezTo>
                    <a:pt x="28140" y="219863"/>
                    <a:pt x="82528" y="280727"/>
                    <a:pt x="148346" y="322066"/>
                  </a:cubicBezTo>
                  <a:lnTo>
                    <a:pt x="149584" y="322256"/>
                  </a:lnTo>
                  <a:cubicBezTo>
                    <a:pt x="220926" y="305683"/>
                    <a:pt x="297222" y="268059"/>
                    <a:pt x="340846" y="207290"/>
                  </a:cubicBezTo>
                  <a:cubicBezTo>
                    <a:pt x="354276" y="188430"/>
                    <a:pt x="362849" y="166142"/>
                    <a:pt x="365802" y="143853"/>
                  </a:cubicBezTo>
                  <a:close/>
                </a:path>
              </a:pathLst>
            </a:custGeom>
            <a:solidFill>
              <a:srgbClr val="F4F5F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A5AA195-CBD7-40F4-813F-67FAA35AF518}"/>
              </a:ext>
            </a:extLst>
          </p:cNvPr>
          <p:cNvGrpSpPr/>
          <p:nvPr/>
        </p:nvGrpSpPr>
        <p:grpSpPr>
          <a:xfrm>
            <a:off x="2393742" y="2752970"/>
            <a:ext cx="676870" cy="594825"/>
            <a:chOff x="1492752" y="5127283"/>
            <a:chExt cx="942975" cy="828675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74D6DD8-F117-4588-B059-1BD9CFF1CB8E}"/>
                </a:ext>
              </a:extLst>
            </p:cNvPr>
            <p:cNvSpPr/>
            <p:nvPr/>
          </p:nvSpPr>
          <p:spPr>
            <a:xfrm>
              <a:off x="1492752" y="5127283"/>
              <a:ext cx="942975" cy="828675"/>
            </a:xfrm>
            <a:custGeom>
              <a:avLst/>
              <a:gdLst>
                <a:gd name="connsiteX0" fmla="*/ 628766 w 942975"/>
                <a:gd name="connsiteY0" fmla="*/ 9928 h 828675"/>
                <a:gd name="connsiteX1" fmla="*/ 83460 w 942975"/>
                <a:gd name="connsiteY1" fmla="*/ 232147 h 828675"/>
                <a:gd name="connsiteX2" fmla="*/ 9927 w 942975"/>
                <a:gd name="connsiteY2" fmla="*/ 406740 h 828675"/>
                <a:gd name="connsiteX3" fmla="*/ 146611 w 942975"/>
                <a:gd name="connsiteY3" fmla="*/ 742211 h 828675"/>
                <a:gd name="connsiteX4" fmla="*/ 321204 w 942975"/>
                <a:gd name="connsiteY4" fmla="*/ 815744 h 828675"/>
                <a:gd name="connsiteX5" fmla="*/ 513514 w 942975"/>
                <a:gd name="connsiteY5" fmla="*/ 737353 h 828675"/>
                <a:gd name="connsiteX6" fmla="*/ 612383 w 942975"/>
                <a:gd name="connsiteY6" fmla="*/ 819839 h 828675"/>
                <a:gd name="connsiteX7" fmla="*/ 676010 w 942975"/>
                <a:gd name="connsiteY7" fmla="*/ 792503 h 828675"/>
                <a:gd name="connsiteX8" fmla="*/ 684107 w 942975"/>
                <a:gd name="connsiteY8" fmla="*/ 667820 h 828675"/>
                <a:gd name="connsiteX9" fmla="*/ 866606 w 942975"/>
                <a:gd name="connsiteY9" fmla="*/ 593430 h 828675"/>
                <a:gd name="connsiteX10" fmla="*/ 940139 w 942975"/>
                <a:gd name="connsiteY10" fmla="*/ 418837 h 828675"/>
                <a:gd name="connsiteX11" fmla="*/ 803455 w 942975"/>
                <a:gd name="connsiteY11" fmla="*/ 83366 h 828675"/>
                <a:gd name="connsiteX12" fmla="*/ 628766 w 942975"/>
                <a:gd name="connsiteY12" fmla="*/ 9928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2975" h="828675">
                  <a:moveTo>
                    <a:pt x="628766" y="9928"/>
                  </a:moveTo>
                  <a:lnTo>
                    <a:pt x="83460" y="232147"/>
                  </a:lnTo>
                  <a:cubicBezTo>
                    <a:pt x="14975" y="260055"/>
                    <a:pt x="-17981" y="338255"/>
                    <a:pt x="9927" y="406740"/>
                  </a:cubicBezTo>
                  <a:lnTo>
                    <a:pt x="146611" y="742211"/>
                  </a:lnTo>
                  <a:cubicBezTo>
                    <a:pt x="174519" y="810695"/>
                    <a:pt x="252719" y="843652"/>
                    <a:pt x="321204" y="815744"/>
                  </a:cubicBezTo>
                  <a:lnTo>
                    <a:pt x="513514" y="737353"/>
                  </a:lnTo>
                  <a:lnTo>
                    <a:pt x="612383" y="819839"/>
                  </a:lnTo>
                  <a:cubicBezTo>
                    <a:pt x="636767" y="840223"/>
                    <a:pt x="673915" y="824221"/>
                    <a:pt x="676010" y="792503"/>
                  </a:cubicBezTo>
                  <a:lnTo>
                    <a:pt x="684107" y="667820"/>
                  </a:lnTo>
                  <a:lnTo>
                    <a:pt x="866606" y="593430"/>
                  </a:lnTo>
                  <a:cubicBezTo>
                    <a:pt x="935090" y="565522"/>
                    <a:pt x="968047" y="487321"/>
                    <a:pt x="940139" y="418837"/>
                  </a:cubicBezTo>
                  <a:lnTo>
                    <a:pt x="803455" y="83366"/>
                  </a:lnTo>
                  <a:cubicBezTo>
                    <a:pt x="775547" y="14977"/>
                    <a:pt x="697346" y="-17980"/>
                    <a:pt x="628766" y="9928"/>
                  </a:cubicBezTo>
                  <a:close/>
                </a:path>
              </a:pathLst>
            </a:custGeom>
            <a:solidFill>
              <a:srgbClr val="F15268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96BBD93-0E76-463E-82A8-F6999C20D84F}"/>
                </a:ext>
              </a:extLst>
            </p:cNvPr>
            <p:cNvSpPr/>
            <p:nvPr/>
          </p:nvSpPr>
          <p:spPr>
            <a:xfrm>
              <a:off x="1779694" y="5364712"/>
              <a:ext cx="352425" cy="323850"/>
            </a:xfrm>
            <a:custGeom>
              <a:avLst/>
              <a:gdLst>
                <a:gd name="connsiteX0" fmla="*/ 349635 w 352425"/>
                <a:gd name="connsiteY0" fmla="*/ 63774 h 323850"/>
                <a:gd name="connsiteX1" fmla="*/ 224000 w 352425"/>
                <a:gd name="connsiteY1" fmla="*/ 7767 h 323850"/>
                <a:gd name="connsiteX2" fmla="*/ 162373 w 352425"/>
                <a:gd name="connsiteY2" fmla="*/ 91968 h 323850"/>
                <a:gd name="connsiteX3" fmla="*/ 59694 w 352425"/>
                <a:gd name="connsiteY3" fmla="*/ 73204 h 323850"/>
                <a:gd name="connsiteX4" fmla="*/ 41787 w 352425"/>
                <a:gd name="connsiteY4" fmla="*/ 251417 h 323850"/>
                <a:gd name="connsiteX5" fmla="*/ 256004 w 352425"/>
                <a:gd name="connsiteY5" fmla="*/ 329046 h 323850"/>
                <a:gd name="connsiteX6" fmla="*/ 257242 w 352425"/>
                <a:gd name="connsiteY6" fmla="*/ 328569 h 323850"/>
                <a:gd name="connsiteX7" fmla="*/ 361065 w 352425"/>
                <a:gd name="connsiteY7" fmla="*/ 131116 h 323850"/>
                <a:gd name="connsiteX8" fmla="*/ 349635 w 352425"/>
                <a:gd name="connsiteY8" fmla="*/ 6377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425" h="323850">
                  <a:moveTo>
                    <a:pt x="349635" y="63774"/>
                  </a:moveTo>
                  <a:cubicBezTo>
                    <a:pt x="328775" y="16435"/>
                    <a:pt x="282293" y="-15474"/>
                    <a:pt x="224000" y="7767"/>
                  </a:cubicBezTo>
                  <a:cubicBezTo>
                    <a:pt x="187900" y="22150"/>
                    <a:pt x="165040" y="55583"/>
                    <a:pt x="162373" y="91968"/>
                  </a:cubicBezTo>
                  <a:cubicBezTo>
                    <a:pt x="135417" y="67489"/>
                    <a:pt x="95889" y="58821"/>
                    <a:pt x="59694" y="73204"/>
                  </a:cubicBezTo>
                  <a:cubicBezTo>
                    <a:pt x="-20031" y="104922"/>
                    <a:pt x="-13554" y="201696"/>
                    <a:pt x="41787" y="251417"/>
                  </a:cubicBezTo>
                  <a:cubicBezTo>
                    <a:pt x="100270" y="303995"/>
                    <a:pt x="178375" y="327807"/>
                    <a:pt x="256004" y="329046"/>
                  </a:cubicBezTo>
                  <a:lnTo>
                    <a:pt x="257242" y="328569"/>
                  </a:lnTo>
                  <a:cubicBezTo>
                    <a:pt x="309630" y="277325"/>
                    <a:pt x="355350" y="205697"/>
                    <a:pt x="361065" y="131116"/>
                  </a:cubicBezTo>
                  <a:cubicBezTo>
                    <a:pt x="362970" y="107875"/>
                    <a:pt x="358683" y="84348"/>
                    <a:pt x="349635" y="63774"/>
                  </a:cubicBezTo>
                  <a:close/>
                </a:path>
              </a:pathLst>
            </a:custGeom>
            <a:solidFill>
              <a:srgbClr val="F4F5F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A3EC4A5-CE10-43F2-8783-886524EB1AB2}"/>
              </a:ext>
            </a:extLst>
          </p:cNvPr>
          <p:cNvGrpSpPr/>
          <p:nvPr/>
        </p:nvGrpSpPr>
        <p:grpSpPr>
          <a:xfrm rot="2917994">
            <a:off x="3167304" y="3300520"/>
            <a:ext cx="594825" cy="526455"/>
            <a:chOff x="1644063" y="6099154"/>
            <a:chExt cx="828675" cy="733425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7EE3E34-A89E-4F6F-BBCB-66B5854AFA70}"/>
                </a:ext>
              </a:extLst>
            </p:cNvPr>
            <p:cNvSpPr/>
            <p:nvPr/>
          </p:nvSpPr>
          <p:spPr>
            <a:xfrm>
              <a:off x="1644063" y="6099154"/>
              <a:ext cx="828675" cy="733425"/>
            </a:xfrm>
            <a:custGeom>
              <a:avLst/>
              <a:gdLst>
                <a:gd name="connsiteX0" fmla="*/ 730581 w 828675"/>
                <a:gd name="connsiteY0" fmla="*/ 81167 h 733425"/>
                <a:gd name="connsiteX1" fmla="*/ 191371 w 828675"/>
                <a:gd name="connsiteY1" fmla="*/ 1347 h 733425"/>
                <a:gd name="connsiteX2" fmla="*/ 50496 w 828675"/>
                <a:gd name="connsiteY2" fmla="*/ 105836 h 733425"/>
                <a:gd name="connsiteX3" fmla="*/ 1347 w 828675"/>
                <a:gd name="connsiteY3" fmla="*/ 437497 h 733425"/>
                <a:gd name="connsiteX4" fmla="*/ 105836 w 828675"/>
                <a:gd name="connsiteY4" fmla="*/ 578372 h 733425"/>
                <a:gd name="connsiteX5" fmla="*/ 296051 w 828675"/>
                <a:gd name="connsiteY5" fmla="*/ 606566 h 733425"/>
                <a:gd name="connsiteX6" fmla="*/ 335960 w 828675"/>
                <a:gd name="connsiteY6" fmla="*/ 718865 h 733425"/>
                <a:gd name="connsiteX7" fmla="*/ 399492 w 828675"/>
                <a:gd name="connsiteY7" fmla="*/ 727057 h 733425"/>
                <a:gd name="connsiteX8" fmla="*/ 464643 w 828675"/>
                <a:gd name="connsiteY8" fmla="*/ 631521 h 733425"/>
                <a:gd name="connsiteX9" fmla="*/ 645047 w 828675"/>
                <a:gd name="connsiteY9" fmla="*/ 658286 h 733425"/>
                <a:gd name="connsiteX10" fmla="*/ 785921 w 828675"/>
                <a:gd name="connsiteY10" fmla="*/ 553797 h 733425"/>
                <a:gd name="connsiteX11" fmla="*/ 835070 w 828675"/>
                <a:gd name="connsiteY11" fmla="*/ 222137 h 733425"/>
                <a:gd name="connsiteX12" fmla="*/ 730581 w 828675"/>
                <a:gd name="connsiteY12" fmla="*/ 81167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8675" h="733425">
                  <a:moveTo>
                    <a:pt x="730581" y="81167"/>
                  </a:moveTo>
                  <a:lnTo>
                    <a:pt x="191371" y="1347"/>
                  </a:lnTo>
                  <a:cubicBezTo>
                    <a:pt x="123648" y="-8654"/>
                    <a:pt x="60593" y="38114"/>
                    <a:pt x="50496" y="105836"/>
                  </a:cubicBezTo>
                  <a:lnTo>
                    <a:pt x="1347" y="437497"/>
                  </a:lnTo>
                  <a:cubicBezTo>
                    <a:pt x="-8654" y="505220"/>
                    <a:pt x="38114" y="568275"/>
                    <a:pt x="105836" y="578372"/>
                  </a:cubicBezTo>
                  <a:lnTo>
                    <a:pt x="296051" y="606566"/>
                  </a:lnTo>
                  <a:lnTo>
                    <a:pt x="335960" y="718865"/>
                  </a:lnTo>
                  <a:cubicBezTo>
                    <a:pt x="345771" y="746583"/>
                    <a:pt x="382919" y="751346"/>
                    <a:pt x="399492" y="727057"/>
                  </a:cubicBezTo>
                  <a:lnTo>
                    <a:pt x="464643" y="631521"/>
                  </a:lnTo>
                  <a:lnTo>
                    <a:pt x="645047" y="658286"/>
                  </a:lnTo>
                  <a:cubicBezTo>
                    <a:pt x="712769" y="668288"/>
                    <a:pt x="775825" y="621520"/>
                    <a:pt x="785921" y="553797"/>
                  </a:cubicBezTo>
                  <a:lnTo>
                    <a:pt x="835070" y="222137"/>
                  </a:lnTo>
                  <a:cubicBezTo>
                    <a:pt x="845167" y="154223"/>
                    <a:pt x="798304" y="91168"/>
                    <a:pt x="730581" y="81167"/>
                  </a:cubicBezTo>
                  <a:close/>
                </a:path>
              </a:pathLst>
            </a:custGeom>
            <a:solidFill>
              <a:srgbClr val="F9F9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B1CB38F-1B02-446F-AAA7-0CDBAE0669BB}"/>
                </a:ext>
              </a:extLst>
            </p:cNvPr>
            <p:cNvSpPr/>
            <p:nvPr/>
          </p:nvSpPr>
          <p:spPr>
            <a:xfrm>
              <a:off x="1802950" y="6169087"/>
              <a:ext cx="514350" cy="514350"/>
            </a:xfrm>
            <a:custGeom>
              <a:avLst/>
              <a:gdLst>
                <a:gd name="connsiteX0" fmla="*/ 484072 w 514350"/>
                <a:gd name="connsiteY0" fmla="*/ 224981 h 514350"/>
                <a:gd name="connsiteX1" fmla="*/ 293201 w 514350"/>
                <a:gd name="connsiteY1" fmla="*/ 484072 h 514350"/>
                <a:gd name="connsiteX2" fmla="*/ 34110 w 514350"/>
                <a:gd name="connsiteY2" fmla="*/ 293201 h 514350"/>
                <a:gd name="connsiteX3" fmla="*/ 224981 w 514350"/>
                <a:gd name="connsiteY3" fmla="*/ 34110 h 514350"/>
                <a:gd name="connsiteX4" fmla="*/ 484072 w 514350"/>
                <a:gd name="connsiteY4" fmla="*/ 224981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50" h="514350">
                  <a:moveTo>
                    <a:pt x="484072" y="224981"/>
                  </a:moveTo>
                  <a:cubicBezTo>
                    <a:pt x="502910" y="349234"/>
                    <a:pt x="417455" y="465233"/>
                    <a:pt x="293201" y="484072"/>
                  </a:cubicBezTo>
                  <a:cubicBezTo>
                    <a:pt x="168948" y="502910"/>
                    <a:pt x="52949" y="417455"/>
                    <a:pt x="34110" y="293201"/>
                  </a:cubicBezTo>
                  <a:cubicBezTo>
                    <a:pt x="15272" y="168947"/>
                    <a:pt x="100727" y="52948"/>
                    <a:pt x="224981" y="34110"/>
                  </a:cubicBezTo>
                  <a:cubicBezTo>
                    <a:pt x="349234" y="15272"/>
                    <a:pt x="465233" y="100727"/>
                    <a:pt x="484072" y="224981"/>
                  </a:cubicBezTo>
                  <a:close/>
                </a:path>
              </a:pathLst>
            </a:custGeom>
            <a:solidFill>
              <a:srgbClr val="F2D46A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B58E91F0-CCD9-4F28-92FA-D949D94BA955}"/>
                </a:ext>
              </a:extLst>
            </p:cNvPr>
            <p:cNvSpPr/>
            <p:nvPr/>
          </p:nvSpPr>
          <p:spPr>
            <a:xfrm>
              <a:off x="1931922" y="6306813"/>
              <a:ext cx="57150" cy="66675"/>
            </a:xfrm>
            <a:custGeom>
              <a:avLst/>
              <a:gdLst>
                <a:gd name="connsiteX0" fmla="*/ 8763 w 57150"/>
                <a:gd name="connsiteY0" fmla="*/ 0 h 66675"/>
                <a:gd name="connsiteX1" fmla="*/ 61246 w 57150"/>
                <a:gd name="connsiteY1" fmla="*/ 39815 h 66675"/>
                <a:gd name="connsiteX2" fmla="*/ 0 w 57150"/>
                <a:gd name="connsiteY2" fmla="*/ 6734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66675">
                  <a:moveTo>
                    <a:pt x="8763" y="0"/>
                  </a:moveTo>
                  <a:lnTo>
                    <a:pt x="61246" y="39815"/>
                  </a:lnTo>
                  <a:lnTo>
                    <a:pt x="0" y="67342"/>
                  </a:lnTo>
                </a:path>
              </a:pathLst>
            </a:custGeom>
            <a:noFill/>
            <a:ln w="22337" cap="rnd">
              <a:solidFill>
                <a:srgbClr val="252935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5FC0443-7DE5-4A97-8986-FE08FFFE005F}"/>
                </a:ext>
              </a:extLst>
            </p:cNvPr>
            <p:cNvSpPr/>
            <p:nvPr/>
          </p:nvSpPr>
          <p:spPr>
            <a:xfrm>
              <a:off x="2152140" y="6338722"/>
              <a:ext cx="57150" cy="66675"/>
            </a:xfrm>
            <a:custGeom>
              <a:avLst/>
              <a:gdLst>
                <a:gd name="connsiteX0" fmla="*/ 52483 w 57150"/>
                <a:gd name="connsiteY0" fmla="*/ 67342 h 66675"/>
                <a:gd name="connsiteX1" fmla="*/ 0 w 57150"/>
                <a:gd name="connsiteY1" fmla="*/ 27432 h 66675"/>
                <a:gd name="connsiteX2" fmla="*/ 61246 w 57150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66675">
                  <a:moveTo>
                    <a:pt x="52483" y="67342"/>
                  </a:moveTo>
                  <a:lnTo>
                    <a:pt x="0" y="27432"/>
                  </a:lnTo>
                  <a:lnTo>
                    <a:pt x="61246" y="0"/>
                  </a:lnTo>
                </a:path>
              </a:pathLst>
            </a:custGeom>
            <a:noFill/>
            <a:ln w="22337" cap="rnd">
              <a:solidFill>
                <a:srgbClr val="252935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2EED3F2-E43F-41F4-9E5F-DC830E7D75C6}"/>
                </a:ext>
              </a:extLst>
            </p:cNvPr>
            <p:cNvSpPr/>
            <p:nvPr/>
          </p:nvSpPr>
          <p:spPr>
            <a:xfrm>
              <a:off x="1932208" y="6475709"/>
              <a:ext cx="238125" cy="95250"/>
            </a:xfrm>
            <a:custGeom>
              <a:avLst/>
              <a:gdLst>
                <a:gd name="connsiteX0" fmla="*/ 0 w 238125"/>
                <a:gd name="connsiteY0" fmla="*/ 18556 h 95250"/>
                <a:gd name="connsiteX1" fmla="*/ 112776 w 238125"/>
                <a:gd name="connsiteY1" fmla="*/ 97138 h 95250"/>
                <a:gd name="connsiteX2" fmla="*/ 240697 w 238125"/>
                <a:gd name="connsiteY2" fmla="*/ 46655 h 95250"/>
                <a:gd name="connsiteX3" fmla="*/ 123920 w 238125"/>
                <a:gd name="connsiteY3" fmla="*/ 2078 h 95250"/>
                <a:gd name="connsiteX4" fmla="*/ 0 w 238125"/>
                <a:gd name="connsiteY4" fmla="*/ 1855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125" h="95250">
                  <a:moveTo>
                    <a:pt x="0" y="18556"/>
                  </a:moveTo>
                  <a:cubicBezTo>
                    <a:pt x="21336" y="60466"/>
                    <a:pt x="62579" y="91232"/>
                    <a:pt x="112776" y="97138"/>
                  </a:cubicBezTo>
                  <a:cubicBezTo>
                    <a:pt x="162973" y="103043"/>
                    <a:pt x="210217" y="82565"/>
                    <a:pt x="240697" y="46655"/>
                  </a:cubicBezTo>
                  <a:cubicBezTo>
                    <a:pt x="216979" y="25224"/>
                    <a:pt x="174117" y="7984"/>
                    <a:pt x="123920" y="2078"/>
                  </a:cubicBezTo>
                  <a:cubicBezTo>
                    <a:pt x="73628" y="-3827"/>
                    <a:pt x="28003" y="3221"/>
                    <a:pt x="0" y="18556"/>
                  </a:cubicBezTo>
                  <a:close/>
                </a:path>
              </a:pathLst>
            </a:custGeom>
            <a:solidFill>
              <a:srgbClr val="DB3A63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70A5929-B762-414E-8079-8F679992661F}"/>
                </a:ext>
              </a:extLst>
            </p:cNvPr>
            <p:cNvSpPr/>
            <p:nvPr/>
          </p:nvSpPr>
          <p:spPr>
            <a:xfrm>
              <a:off x="1916368" y="6406254"/>
              <a:ext cx="285750" cy="114300"/>
            </a:xfrm>
            <a:custGeom>
              <a:avLst/>
              <a:gdLst>
                <a:gd name="connsiteX0" fmla="*/ 1647 w 285750"/>
                <a:gd name="connsiteY0" fmla="*/ 0 h 114300"/>
                <a:gd name="connsiteX1" fmla="*/ 980 w 285750"/>
                <a:gd name="connsiteY1" fmla="*/ 5048 h 114300"/>
                <a:gd name="connsiteX2" fmla="*/ 15839 w 285750"/>
                <a:gd name="connsiteY2" fmla="*/ 88011 h 114300"/>
                <a:gd name="connsiteX3" fmla="*/ 139759 w 285750"/>
                <a:gd name="connsiteY3" fmla="*/ 71533 h 114300"/>
                <a:gd name="connsiteX4" fmla="*/ 256536 w 285750"/>
                <a:gd name="connsiteY4" fmla="*/ 116110 h 114300"/>
                <a:gd name="connsiteX5" fmla="*/ 290159 w 285750"/>
                <a:gd name="connsiteY5" fmla="*/ 38862 h 114300"/>
                <a:gd name="connsiteX6" fmla="*/ 1647 w 285750"/>
                <a:gd name="connsiteY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0" h="114300">
                  <a:moveTo>
                    <a:pt x="1647" y="0"/>
                  </a:moveTo>
                  <a:cubicBezTo>
                    <a:pt x="1361" y="1715"/>
                    <a:pt x="1171" y="3429"/>
                    <a:pt x="980" y="5048"/>
                  </a:cubicBezTo>
                  <a:cubicBezTo>
                    <a:pt x="-2449" y="34671"/>
                    <a:pt x="3266" y="63246"/>
                    <a:pt x="15839" y="88011"/>
                  </a:cubicBezTo>
                  <a:cubicBezTo>
                    <a:pt x="43938" y="72676"/>
                    <a:pt x="89467" y="65627"/>
                    <a:pt x="139759" y="71533"/>
                  </a:cubicBezTo>
                  <a:cubicBezTo>
                    <a:pt x="189956" y="77438"/>
                    <a:pt x="232819" y="94679"/>
                    <a:pt x="256536" y="116110"/>
                  </a:cubicBezTo>
                  <a:cubicBezTo>
                    <a:pt x="274538" y="94964"/>
                    <a:pt x="286635" y="68485"/>
                    <a:pt x="290159" y="38862"/>
                  </a:cubicBezTo>
                  <a:lnTo>
                    <a:pt x="1647" y="0"/>
                  </a:lnTo>
                  <a:close/>
                </a:path>
              </a:pathLst>
            </a:custGeom>
            <a:solidFill>
              <a:srgbClr val="25293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9" name="Graphic 58">
            <a:extLst>
              <a:ext uri="{FF2B5EF4-FFF2-40B4-BE49-F238E27FC236}">
                <a16:creationId xmlns:a16="http://schemas.microsoft.com/office/drawing/2014/main" id="{EBD44257-EF71-4321-8011-620DDF2C01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50985" y="4959179"/>
            <a:ext cx="3595642" cy="1898822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8FBFD9DB-8811-4B4E-8EA9-236F786354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45899" y="1627880"/>
            <a:ext cx="2724150" cy="6096908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E74A2E9E-539F-41EF-B425-A92F32645B1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439041" y="5419405"/>
            <a:ext cx="2724150" cy="1438596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EB3DEA1A-F5E8-43BC-A8D6-1817351AA5E3}"/>
              </a:ext>
            </a:extLst>
          </p:cNvPr>
          <p:cNvGrpSpPr/>
          <p:nvPr/>
        </p:nvGrpSpPr>
        <p:grpSpPr>
          <a:xfrm rot="20887923">
            <a:off x="2497786" y="1981174"/>
            <a:ext cx="676870" cy="600722"/>
            <a:chOff x="212807" y="3831951"/>
            <a:chExt cx="1524000" cy="1352550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5B03640-D481-4060-A712-84B478E27F04}"/>
                </a:ext>
              </a:extLst>
            </p:cNvPr>
            <p:cNvSpPr/>
            <p:nvPr/>
          </p:nvSpPr>
          <p:spPr>
            <a:xfrm>
              <a:off x="212807" y="3831951"/>
              <a:ext cx="1524000" cy="1352550"/>
            </a:xfrm>
            <a:custGeom>
              <a:avLst/>
              <a:gdLst>
                <a:gd name="connsiteX0" fmla="*/ 1319952 w 1524000"/>
                <a:gd name="connsiteY0" fmla="*/ 95799 h 1352550"/>
                <a:gd name="connsiteX1" fmla="*/ 310493 w 1524000"/>
                <a:gd name="connsiteY1" fmla="*/ 1025 h 1352550"/>
                <a:gd name="connsiteX2" fmla="*/ 59318 w 1524000"/>
                <a:gd name="connsiteY2" fmla="*/ 209147 h 1352550"/>
                <a:gd name="connsiteX3" fmla="*/ 1025 w 1524000"/>
                <a:gd name="connsiteY3" fmla="*/ 830081 h 1352550"/>
                <a:gd name="connsiteX4" fmla="*/ 209147 w 1524000"/>
                <a:gd name="connsiteY4" fmla="*/ 1081256 h 1352550"/>
                <a:gd name="connsiteX5" fmla="*/ 565191 w 1524000"/>
                <a:gd name="connsiteY5" fmla="*/ 1114688 h 1352550"/>
                <a:gd name="connsiteX6" fmla="*/ 650440 w 1524000"/>
                <a:gd name="connsiteY6" fmla="*/ 1319381 h 1352550"/>
                <a:gd name="connsiteX7" fmla="*/ 769312 w 1524000"/>
                <a:gd name="connsiteY7" fmla="*/ 1328334 h 1352550"/>
                <a:gd name="connsiteX8" fmla="*/ 880850 w 1524000"/>
                <a:gd name="connsiteY8" fmla="*/ 1144311 h 1352550"/>
                <a:gd name="connsiteX9" fmla="*/ 1218606 w 1524000"/>
                <a:gd name="connsiteY9" fmla="*/ 1176029 h 1352550"/>
                <a:gd name="connsiteX10" fmla="*/ 1469780 w 1524000"/>
                <a:gd name="connsiteY10" fmla="*/ 967908 h 1352550"/>
                <a:gd name="connsiteX11" fmla="*/ 1528073 w 1524000"/>
                <a:gd name="connsiteY11" fmla="*/ 346973 h 1352550"/>
                <a:gd name="connsiteX12" fmla="*/ 1319952 w 1524000"/>
                <a:gd name="connsiteY12" fmla="*/ 95799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24000" h="1352550">
                  <a:moveTo>
                    <a:pt x="1319952" y="95799"/>
                  </a:moveTo>
                  <a:lnTo>
                    <a:pt x="310493" y="1025"/>
                  </a:lnTo>
                  <a:cubicBezTo>
                    <a:pt x="183620" y="-10881"/>
                    <a:pt x="71225" y="82274"/>
                    <a:pt x="59318" y="209147"/>
                  </a:cubicBezTo>
                  <a:lnTo>
                    <a:pt x="1025" y="830081"/>
                  </a:lnTo>
                  <a:cubicBezTo>
                    <a:pt x="-10881" y="956954"/>
                    <a:pt x="82274" y="1069349"/>
                    <a:pt x="209147" y="1081256"/>
                  </a:cubicBezTo>
                  <a:lnTo>
                    <a:pt x="565191" y="1114688"/>
                  </a:lnTo>
                  <a:lnTo>
                    <a:pt x="650440" y="1319381"/>
                  </a:lnTo>
                  <a:cubicBezTo>
                    <a:pt x="671490" y="1369863"/>
                    <a:pt x="740927" y="1375102"/>
                    <a:pt x="769312" y="1328334"/>
                  </a:cubicBezTo>
                  <a:lnTo>
                    <a:pt x="880850" y="1144311"/>
                  </a:lnTo>
                  <a:lnTo>
                    <a:pt x="1218606" y="1176029"/>
                  </a:lnTo>
                  <a:cubicBezTo>
                    <a:pt x="1345384" y="1187936"/>
                    <a:pt x="1457874" y="1094781"/>
                    <a:pt x="1469780" y="967908"/>
                  </a:cubicBezTo>
                  <a:lnTo>
                    <a:pt x="1528073" y="346973"/>
                  </a:lnTo>
                  <a:cubicBezTo>
                    <a:pt x="1539980" y="220100"/>
                    <a:pt x="1446825" y="107705"/>
                    <a:pt x="1319952" y="95799"/>
                  </a:cubicBezTo>
                  <a:close/>
                </a:path>
              </a:pathLst>
            </a:custGeom>
            <a:solidFill>
              <a:srgbClr val="407FFE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342E5D2-7FE6-4D72-BF64-D125C447AAAE}"/>
                </a:ext>
              </a:extLst>
            </p:cNvPr>
            <p:cNvSpPr/>
            <p:nvPr/>
          </p:nvSpPr>
          <p:spPr>
            <a:xfrm>
              <a:off x="863273" y="4091775"/>
              <a:ext cx="495300" cy="590550"/>
            </a:xfrm>
            <a:custGeom>
              <a:avLst/>
              <a:gdLst>
                <a:gd name="connsiteX0" fmla="*/ 65316 w 495300"/>
                <a:gd name="connsiteY0" fmla="*/ 570448 h 590550"/>
                <a:gd name="connsiteX1" fmla="*/ 350304 w 495300"/>
                <a:gd name="connsiteY1" fmla="*/ 596546 h 590550"/>
                <a:gd name="connsiteX2" fmla="*/ 356972 w 495300"/>
                <a:gd name="connsiteY2" fmla="*/ 595879 h 590550"/>
                <a:gd name="connsiteX3" fmla="*/ 400596 w 495300"/>
                <a:gd name="connsiteY3" fmla="*/ 566447 h 590550"/>
                <a:gd name="connsiteX4" fmla="*/ 402977 w 495300"/>
                <a:gd name="connsiteY4" fmla="*/ 528728 h 590550"/>
                <a:gd name="connsiteX5" fmla="*/ 402977 w 495300"/>
                <a:gd name="connsiteY5" fmla="*/ 528728 h 590550"/>
                <a:gd name="connsiteX6" fmla="*/ 411359 w 495300"/>
                <a:gd name="connsiteY6" fmla="*/ 507964 h 590550"/>
                <a:gd name="connsiteX7" fmla="*/ 411359 w 495300"/>
                <a:gd name="connsiteY7" fmla="*/ 507964 h 590550"/>
                <a:gd name="connsiteX8" fmla="*/ 435362 w 495300"/>
                <a:gd name="connsiteY8" fmla="*/ 445194 h 590550"/>
                <a:gd name="connsiteX9" fmla="*/ 435362 w 495300"/>
                <a:gd name="connsiteY9" fmla="*/ 445194 h 590550"/>
                <a:gd name="connsiteX10" fmla="*/ 442982 w 495300"/>
                <a:gd name="connsiteY10" fmla="*/ 423572 h 590550"/>
                <a:gd name="connsiteX11" fmla="*/ 442982 w 495300"/>
                <a:gd name="connsiteY11" fmla="*/ 423572 h 590550"/>
                <a:gd name="connsiteX12" fmla="*/ 462318 w 495300"/>
                <a:gd name="connsiteY12" fmla="*/ 365374 h 590550"/>
                <a:gd name="connsiteX13" fmla="*/ 462318 w 495300"/>
                <a:gd name="connsiteY13" fmla="*/ 365374 h 590550"/>
                <a:gd name="connsiteX14" fmla="*/ 470510 w 495300"/>
                <a:gd name="connsiteY14" fmla="*/ 342991 h 590550"/>
                <a:gd name="connsiteX15" fmla="*/ 470510 w 495300"/>
                <a:gd name="connsiteY15" fmla="*/ 342991 h 590550"/>
                <a:gd name="connsiteX16" fmla="*/ 497275 w 495300"/>
                <a:gd name="connsiteY16" fmla="*/ 301843 h 590550"/>
                <a:gd name="connsiteX17" fmla="*/ 449173 w 495300"/>
                <a:gd name="connsiteY17" fmla="*/ 274887 h 590550"/>
                <a:gd name="connsiteX18" fmla="*/ 259435 w 495300"/>
                <a:gd name="connsiteY18" fmla="*/ 255837 h 590550"/>
                <a:gd name="connsiteX19" fmla="*/ 245053 w 495300"/>
                <a:gd name="connsiteY19" fmla="*/ 230786 h 590550"/>
                <a:gd name="connsiteX20" fmla="*/ 245053 w 495300"/>
                <a:gd name="connsiteY20" fmla="*/ 230786 h 590550"/>
                <a:gd name="connsiteX21" fmla="*/ 274009 w 495300"/>
                <a:gd name="connsiteY21" fmla="*/ 104199 h 590550"/>
                <a:gd name="connsiteX22" fmla="*/ 249625 w 495300"/>
                <a:gd name="connsiteY22" fmla="*/ 15045 h 590550"/>
                <a:gd name="connsiteX23" fmla="*/ 243910 w 495300"/>
                <a:gd name="connsiteY23" fmla="*/ 7425 h 590550"/>
                <a:gd name="connsiteX24" fmla="*/ 233623 w 495300"/>
                <a:gd name="connsiteY24" fmla="*/ 1710 h 590550"/>
                <a:gd name="connsiteX25" fmla="*/ 207334 w 495300"/>
                <a:gd name="connsiteY25" fmla="*/ 3520 h 590550"/>
                <a:gd name="connsiteX26" fmla="*/ 197047 w 495300"/>
                <a:gd name="connsiteY26" fmla="*/ 18093 h 590550"/>
                <a:gd name="connsiteX27" fmla="*/ 189427 w 495300"/>
                <a:gd name="connsiteY27" fmla="*/ 101722 h 590550"/>
                <a:gd name="connsiteX28" fmla="*/ 188093 w 495300"/>
                <a:gd name="connsiteY28" fmla="*/ 104580 h 590550"/>
                <a:gd name="connsiteX29" fmla="*/ 67983 w 495300"/>
                <a:gd name="connsiteY29" fmla="*/ 270315 h 590550"/>
                <a:gd name="connsiteX30" fmla="*/ 65887 w 495300"/>
                <a:gd name="connsiteY30" fmla="*/ 272506 h 590550"/>
                <a:gd name="connsiteX31" fmla="*/ 29121 w 495300"/>
                <a:gd name="connsiteY31" fmla="*/ 291270 h 590550"/>
                <a:gd name="connsiteX32" fmla="*/ 21025 w 495300"/>
                <a:gd name="connsiteY32" fmla="*/ 293365 h 590550"/>
                <a:gd name="connsiteX33" fmla="*/ 70 w 495300"/>
                <a:gd name="connsiteY33" fmla="*/ 522156 h 590550"/>
                <a:gd name="connsiteX34" fmla="*/ 16167 w 495300"/>
                <a:gd name="connsiteY34" fmla="*/ 541492 h 590550"/>
                <a:gd name="connsiteX35" fmla="*/ 16167 w 495300"/>
                <a:gd name="connsiteY35" fmla="*/ 541492 h 590550"/>
                <a:gd name="connsiteX36" fmla="*/ 24835 w 495300"/>
                <a:gd name="connsiteY36" fmla="*/ 544635 h 590550"/>
                <a:gd name="connsiteX37" fmla="*/ 56648 w 495300"/>
                <a:gd name="connsiteY37" fmla="*/ 567114 h 590550"/>
                <a:gd name="connsiteX38" fmla="*/ 65316 w 495300"/>
                <a:gd name="connsiteY38" fmla="*/ 570448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95300" h="590550">
                  <a:moveTo>
                    <a:pt x="65316" y="570448"/>
                  </a:moveTo>
                  <a:lnTo>
                    <a:pt x="350304" y="596546"/>
                  </a:lnTo>
                  <a:cubicBezTo>
                    <a:pt x="352590" y="596737"/>
                    <a:pt x="354781" y="596546"/>
                    <a:pt x="356972" y="595879"/>
                  </a:cubicBezTo>
                  <a:cubicBezTo>
                    <a:pt x="367544" y="592641"/>
                    <a:pt x="390309" y="583973"/>
                    <a:pt x="400596" y="566447"/>
                  </a:cubicBezTo>
                  <a:cubicBezTo>
                    <a:pt x="406787" y="555970"/>
                    <a:pt x="407549" y="543587"/>
                    <a:pt x="402977" y="528728"/>
                  </a:cubicBezTo>
                  <a:lnTo>
                    <a:pt x="402977" y="528728"/>
                  </a:lnTo>
                  <a:cubicBezTo>
                    <a:pt x="400501" y="520727"/>
                    <a:pt x="404025" y="512059"/>
                    <a:pt x="411359" y="507964"/>
                  </a:cubicBezTo>
                  <a:lnTo>
                    <a:pt x="411359" y="507964"/>
                  </a:lnTo>
                  <a:cubicBezTo>
                    <a:pt x="415264" y="505678"/>
                    <a:pt x="450221" y="484532"/>
                    <a:pt x="435362" y="445194"/>
                  </a:cubicBezTo>
                  <a:lnTo>
                    <a:pt x="435362" y="445194"/>
                  </a:lnTo>
                  <a:cubicBezTo>
                    <a:pt x="432314" y="437098"/>
                    <a:pt x="435553" y="427954"/>
                    <a:pt x="442982" y="423572"/>
                  </a:cubicBezTo>
                  <a:lnTo>
                    <a:pt x="442982" y="423572"/>
                  </a:lnTo>
                  <a:cubicBezTo>
                    <a:pt x="446411" y="421477"/>
                    <a:pt x="476986" y="401665"/>
                    <a:pt x="462318" y="365374"/>
                  </a:cubicBezTo>
                  <a:lnTo>
                    <a:pt x="462318" y="365374"/>
                  </a:lnTo>
                  <a:cubicBezTo>
                    <a:pt x="458889" y="356897"/>
                    <a:pt x="462413" y="347277"/>
                    <a:pt x="470510" y="342991"/>
                  </a:cubicBezTo>
                  <a:lnTo>
                    <a:pt x="470510" y="342991"/>
                  </a:lnTo>
                  <a:cubicBezTo>
                    <a:pt x="470700" y="342895"/>
                    <a:pt x="499275" y="327084"/>
                    <a:pt x="497275" y="301843"/>
                  </a:cubicBezTo>
                  <a:cubicBezTo>
                    <a:pt x="495751" y="282983"/>
                    <a:pt x="458984" y="275839"/>
                    <a:pt x="449173" y="274887"/>
                  </a:cubicBezTo>
                  <a:lnTo>
                    <a:pt x="259435" y="255837"/>
                  </a:lnTo>
                  <a:cubicBezTo>
                    <a:pt x="247339" y="254599"/>
                    <a:pt x="240004" y="241835"/>
                    <a:pt x="245053" y="230786"/>
                  </a:cubicBezTo>
                  <a:lnTo>
                    <a:pt x="245053" y="230786"/>
                  </a:lnTo>
                  <a:cubicBezTo>
                    <a:pt x="255149" y="208688"/>
                    <a:pt x="280010" y="142966"/>
                    <a:pt x="274009" y="104199"/>
                  </a:cubicBezTo>
                  <a:cubicBezTo>
                    <a:pt x="268008" y="65432"/>
                    <a:pt x="255149" y="29332"/>
                    <a:pt x="249625" y="15045"/>
                  </a:cubicBezTo>
                  <a:cubicBezTo>
                    <a:pt x="248482" y="11997"/>
                    <a:pt x="246481" y="9425"/>
                    <a:pt x="243910" y="7425"/>
                  </a:cubicBezTo>
                  <a:cubicBezTo>
                    <a:pt x="241338" y="5425"/>
                    <a:pt x="237814" y="3234"/>
                    <a:pt x="233623" y="1710"/>
                  </a:cubicBezTo>
                  <a:cubicBezTo>
                    <a:pt x="225526" y="-1052"/>
                    <a:pt x="216668" y="-481"/>
                    <a:pt x="207334" y="3520"/>
                  </a:cubicBezTo>
                  <a:cubicBezTo>
                    <a:pt x="201523" y="5996"/>
                    <a:pt x="197618" y="11806"/>
                    <a:pt x="197047" y="18093"/>
                  </a:cubicBezTo>
                  <a:lnTo>
                    <a:pt x="189427" y="101722"/>
                  </a:lnTo>
                  <a:lnTo>
                    <a:pt x="188093" y="104580"/>
                  </a:lnTo>
                  <a:cubicBezTo>
                    <a:pt x="186569" y="107818"/>
                    <a:pt x="149803" y="184304"/>
                    <a:pt x="67983" y="270315"/>
                  </a:cubicBezTo>
                  <a:lnTo>
                    <a:pt x="65887" y="272506"/>
                  </a:lnTo>
                  <a:lnTo>
                    <a:pt x="29121" y="291270"/>
                  </a:lnTo>
                  <a:lnTo>
                    <a:pt x="21025" y="293365"/>
                  </a:lnTo>
                  <a:lnTo>
                    <a:pt x="70" y="522156"/>
                  </a:lnTo>
                  <a:cubicBezTo>
                    <a:pt x="-788" y="531967"/>
                    <a:pt x="6356" y="540539"/>
                    <a:pt x="16167" y="541492"/>
                  </a:cubicBezTo>
                  <a:lnTo>
                    <a:pt x="16167" y="541492"/>
                  </a:lnTo>
                  <a:cubicBezTo>
                    <a:pt x="19310" y="541777"/>
                    <a:pt x="22263" y="542825"/>
                    <a:pt x="24835" y="544635"/>
                  </a:cubicBezTo>
                  <a:lnTo>
                    <a:pt x="56648" y="567114"/>
                  </a:lnTo>
                  <a:cubicBezTo>
                    <a:pt x="59315" y="569019"/>
                    <a:pt x="62268" y="570162"/>
                    <a:pt x="65316" y="570448"/>
                  </a:cubicBezTo>
                  <a:close/>
                </a:path>
              </a:pathLst>
            </a:custGeom>
            <a:solidFill>
              <a:srgbClr val="EDF4F6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C8EF0A1-DE42-40E8-A1A1-B83680C36382}"/>
                </a:ext>
              </a:extLst>
            </p:cNvPr>
            <p:cNvSpPr/>
            <p:nvPr/>
          </p:nvSpPr>
          <p:spPr>
            <a:xfrm>
              <a:off x="642458" y="4346659"/>
              <a:ext cx="200025" cy="323850"/>
            </a:xfrm>
            <a:custGeom>
              <a:avLst/>
              <a:gdLst>
                <a:gd name="connsiteX0" fmla="*/ 0 w 200025"/>
                <a:gd name="connsiteY0" fmla="*/ 308801 h 323850"/>
                <a:gd name="connsiteX1" fmla="*/ 180118 w 200025"/>
                <a:gd name="connsiteY1" fmla="*/ 325279 h 323850"/>
                <a:gd name="connsiteX2" fmla="*/ 192976 w 200025"/>
                <a:gd name="connsiteY2" fmla="*/ 184690 h 323850"/>
                <a:gd name="connsiteX3" fmla="*/ 208407 w 200025"/>
                <a:gd name="connsiteY3" fmla="*/ 16478 h 323850"/>
                <a:gd name="connsiteX4" fmla="*/ 28289 w 200025"/>
                <a:gd name="connsiteY4" fmla="*/ 0 h 323850"/>
                <a:gd name="connsiteX5" fmla="*/ 0 w 200025"/>
                <a:gd name="connsiteY5" fmla="*/ 30880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025" h="323850">
                  <a:moveTo>
                    <a:pt x="0" y="308801"/>
                  </a:moveTo>
                  <a:lnTo>
                    <a:pt x="180118" y="325279"/>
                  </a:lnTo>
                  <a:lnTo>
                    <a:pt x="192976" y="184690"/>
                  </a:lnTo>
                  <a:lnTo>
                    <a:pt x="208407" y="16478"/>
                  </a:lnTo>
                  <a:lnTo>
                    <a:pt x="28289" y="0"/>
                  </a:lnTo>
                  <a:lnTo>
                    <a:pt x="0" y="308801"/>
                  </a:lnTo>
                  <a:close/>
                </a:path>
              </a:pathLst>
            </a:custGeom>
            <a:solidFill>
              <a:srgbClr val="EDF4F6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F013860-7EEE-4E13-8709-CB3A84DBEE71}"/>
              </a:ext>
            </a:extLst>
          </p:cNvPr>
          <p:cNvSpPr/>
          <p:nvPr/>
        </p:nvSpPr>
        <p:spPr>
          <a:xfrm>
            <a:off x="4364902" y="1096812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ED345FC-28B5-40DD-83E6-12D1C049D463}"/>
              </a:ext>
            </a:extLst>
          </p:cNvPr>
          <p:cNvSpPr/>
          <p:nvPr/>
        </p:nvSpPr>
        <p:spPr>
          <a:xfrm>
            <a:off x="4364902" y="2198654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AF20AAF-F8B5-4C59-9A71-18C6B30FEC0E}"/>
              </a:ext>
            </a:extLst>
          </p:cNvPr>
          <p:cNvSpPr/>
          <p:nvPr/>
        </p:nvSpPr>
        <p:spPr>
          <a:xfrm>
            <a:off x="4364902" y="3300497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6319277-F970-44A6-96A5-8EE1BA9AEBF2}"/>
              </a:ext>
            </a:extLst>
          </p:cNvPr>
          <p:cNvSpPr/>
          <p:nvPr/>
        </p:nvSpPr>
        <p:spPr>
          <a:xfrm>
            <a:off x="4364902" y="4402339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EE53B54-DAC5-4221-AE62-FDC577B1151A}"/>
              </a:ext>
            </a:extLst>
          </p:cNvPr>
          <p:cNvSpPr/>
          <p:nvPr/>
        </p:nvSpPr>
        <p:spPr>
          <a:xfrm>
            <a:off x="4491974" y="1214532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87625EB-742E-47F7-BB87-75EC1A279AE0}"/>
              </a:ext>
            </a:extLst>
          </p:cNvPr>
          <p:cNvSpPr/>
          <p:nvPr/>
        </p:nvSpPr>
        <p:spPr>
          <a:xfrm>
            <a:off x="4491974" y="2316373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DE09517-3ABE-4E7B-84D4-2172C044FB16}"/>
              </a:ext>
            </a:extLst>
          </p:cNvPr>
          <p:cNvSpPr/>
          <p:nvPr/>
        </p:nvSpPr>
        <p:spPr>
          <a:xfrm>
            <a:off x="4491974" y="3418216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710F99D-5217-431B-B42B-F6686867D9DA}"/>
              </a:ext>
            </a:extLst>
          </p:cNvPr>
          <p:cNvSpPr/>
          <p:nvPr/>
        </p:nvSpPr>
        <p:spPr>
          <a:xfrm>
            <a:off x="4491974" y="4520058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+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EE5E422-C473-4435-B1D8-63A2D916BA8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66343" y="5029227"/>
            <a:ext cx="2028825" cy="352425"/>
          </a:xfrm>
          <a:prstGeom prst="rect">
            <a:avLst/>
          </a:prstGeom>
        </p:spPr>
      </p:pic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5E4F3A72-09A7-42E4-A426-94C587FF4DBC}"/>
              </a:ext>
            </a:extLst>
          </p:cNvPr>
          <p:cNvGrpSpPr/>
          <p:nvPr/>
        </p:nvGrpSpPr>
        <p:grpSpPr>
          <a:xfrm>
            <a:off x="5759520" y="1186742"/>
            <a:ext cx="6082764" cy="562594"/>
            <a:chOff x="5695984" y="437547"/>
            <a:chExt cx="6082764" cy="56259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3A3055C-9921-4FC6-B563-D2BE977AD415}"/>
                </a:ext>
              </a:extLst>
            </p:cNvPr>
            <p:cNvSpPr txBox="1"/>
            <p:nvPr/>
          </p:nvSpPr>
          <p:spPr>
            <a:xfrm>
              <a:off x="5695984" y="692364"/>
              <a:ext cx="6082764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Удобная работа через личные кабинеты учителя и ученика.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A75CA4B-9138-4633-9633-305720455662}"/>
                </a:ext>
              </a:extLst>
            </p:cNvPr>
            <p:cNvSpPr txBox="1"/>
            <p:nvPr/>
          </p:nvSpPr>
          <p:spPr>
            <a:xfrm>
              <a:off x="5695984" y="437547"/>
              <a:ext cx="6082764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4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Управление классами</a:t>
              </a: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221B9D45-AFAD-44D3-A41F-1848A3C363FB}"/>
              </a:ext>
            </a:extLst>
          </p:cNvPr>
          <p:cNvGrpSpPr/>
          <p:nvPr/>
        </p:nvGrpSpPr>
        <p:grpSpPr>
          <a:xfrm>
            <a:off x="5757127" y="2285664"/>
            <a:ext cx="6082764" cy="778037"/>
            <a:chOff x="5695984" y="437547"/>
            <a:chExt cx="6082764" cy="778037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629F3E15-0AAA-4167-8E05-97D889050BA4}"/>
                </a:ext>
              </a:extLst>
            </p:cNvPr>
            <p:cNvSpPr txBox="1"/>
            <p:nvPr/>
          </p:nvSpPr>
          <p:spPr>
            <a:xfrm>
              <a:off x="5695984" y="692364"/>
              <a:ext cx="6082764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Онлайн-платформа содержит более 7000 готовых видеоуроков и конспектов. 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27F7C166-939B-4EC0-B73B-B2EA080A64D2}"/>
                </a:ext>
              </a:extLst>
            </p:cNvPr>
            <p:cNvSpPr txBox="1"/>
            <p:nvPr/>
          </p:nvSpPr>
          <p:spPr>
            <a:xfrm>
              <a:off x="5695984" y="437547"/>
              <a:ext cx="6082764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4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Изучение нового</a:t>
              </a:r>
            </a:p>
          </p:txBody>
        </p:sp>
      </p:grpSp>
      <p:grpSp>
        <p:nvGrpSpPr>
          <p:cNvPr id="96" name="Группа 95">
            <a:extLst>
              <a:ext uri="{FF2B5EF4-FFF2-40B4-BE49-F238E27FC236}">
                <a16:creationId xmlns:a16="http://schemas.microsoft.com/office/drawing/2014/main" id="{9505BEF4-8D7F-4A1A-A5C8-16D7ACAB55F0}"/>
              </a:ext>
            </a:extLst>
          </p:cNvPr>
          <p:cNvGrpSpPr/>
          <p:nvPr/>
        </p:nvGrpSpPr>
        <p:grpSpPr>
          <a:xfrm>
            <a:off x="5757127" y="3471949"/>
            <a:ext cx="6082764" cy="562594"/>
            <a:chOff x="5695984" y="437547"/>
            <a:chExt cx="6082764" cy="56259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207A3CA7-9C10-44E7-9B03-D54EEA04406B}"/>
                </a:ext>
              </a:extLst>
            </p:cNvPr>
            <p:cNvSpPr txBox="1"/>
            <p:nvPr/>
          </p:nvSpPr>
          <p:spPr>
            <a:xfrm>
              <a:off x="5695984" y="692364"/>
              <a:ext cx="6082764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Поможет удалённо организовать практическую работу.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459AE421-D502-4EBF-A42A-62F8D638DD54}"/>
                </a:ext>
              </a:extLst>
            </p:cNvPr>
            <p:cNvSpPr txBox="1"/>
            <p:nvPr/>
          </p:nvSpPr>
          <p:spPr>
            <a:xfrm>
              <a:off x="5695984" y="437547"/>
              <a:ext cx="6082764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4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Закрепление материала</a:t>
              </a:r>
            </a:p>
          </p:txBody>
        </p:sp>
      </p:grp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AA3B0681-ED76-4EAA-BF5E-0097AFE1F64B}"/>
              </a:ext>
            </a:extLst>
          </p:cNvPr>
          <p:cNvGrpSpPr/>
          <p:nvPr/>
        </p:nvGrpSpPr>
        <p:grpSpPr>
          <a:xfrm>
            <a:off x="5757127" y="4478133"/>
            <a:ext cx="6082764" cy="778037"/>
            <a:chOff x="5695984" y="437547"/>
            <a:chExt cx="6082764" cy="778037"/>
          </a:xfrm>
        </p:grpSpPr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59236B6F-8FF7-4398-B0F8-3DD903EBF81B}"/>
                </a:ext>
              </a:extLst>
            </p:cNvPr>
            <p:cNvSpPr txBox="1"/>
            <p:nvPr/>
          </p:nvSpPr>
          <p:spPr>
            <a:xfrm>
              <a:off x="5695984" y="692364"/>
              <a:ext cx="6082764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400" dirty="0">
                  <a:latin typeface="Segoe UI" panose="020B0502040204020203" pitchFamily="34" charset="0"/>
                  <a:cs typeface="Segoe UI" panose="020B0502040204020203" pitchFamily="34" charset="0"/>
                </a:rPr>
                <a:t>Автоматическая проверка заданий: результат видят и учитель, и ученик.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5FDF68B6-6AAE-4C9F-81AB-D02F7FF9A567}"/>
                </a:ext>
              </a:extLst>
            </p:cNvPr>
            <p:cNvSpPr txBox="1"/>
            <p:nvPr/>
          </p:nvSpPr>
          <p:spPr>
            <a:xfrm>
              <a:off x="5695984" y="437547"/>
              <a:ext cx="6082764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just"/>
              <a:r>
                <a:rPr lang="ru-RU" sz="14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Контроль знаний</a:t>
              </a:r>
            </a:p>
          </p:txBody>
        </p:sp>
      </p:grpSp>
      <p:sp>
        <p:nvSpPr>
          <p:cNvPr id="56" name="Rectangle: Rounded Corners 6">
            <a:extLst>
              <a:ext uri="{FF2B5EF4-FFF2-40B4-BE49-F238E27FC236}">
                <a16:creationId xmlns:a16="http://schemas.microsoft.com/office/drawing/2014/main" id="{11774880-D6D1-4F75-85AF-8405C146FE4B}"/>
              </a:ext>
            </a:extLst>
          </p:cNvPr>
          <p:cNvSpPr/>
          <p:nvPr/>
        </p:nvSpPr>
        <p:spPr>
          <a:xfrm>
            <a:off x="4364902" y="5482050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: Rounded Corners 16">
            <a:extLst>
              <a:ext uri="{FF2B5EF4-FFF2-40B4-BE49-F238E27FC236}">
                <a16:creationId xmlns:a16="http://schemas.microsoft.com/office/drawing/2014/main" id="{C069E38C-6FED-4713-A18E-66E17F422D98}"/>
              </a:ext>
            </a:extLst>
          </p:cNvPr>
          <p:cNvSpPr/>
          <p:nvPr/>
        </p:nvSpPr>
        <p:spPr>
          <a:xfrm>
            <a:off x="4491974" y="5599769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FFC000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-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8406F18-9883-414F-883C-19C149D052DA}"/>
              </a:ext>
            </a:extLst>
          </p:cNvPr>
          <p:cNvSpPr txBox="1"/>
          <p:nvPr/>
        </p:nvSpPr>
        <p:spPr>
          <a:xfrm>
            <a:off x="5757127" y="5812661"/>
            <a:ext cx="6082764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Контент платный.</a:t>
            </a:r>
          </a:p>
        </p:txBody>
      </p:sp>
    </p:spTree>
    <p:extLst>
      <p:ext uri="{BB962C8B-B14F-4D97-AF65-F5344CB8AC3E}">
        <p14:creationId xmlns:p14="http://schemas.microsoft.com/office/powerpoint/2010/main" val="20900407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A45055C3-44B5-5C44-969E-C8249F2EF2A1}"/>
              </a:ext>
            </a:extLst>
          </p:cNvPr>
          <p:cNvSpPr/>
          <p:nvPr/>
        </p:nvSpPr>
        <p:spPr>
          <a:xfrm>
            <a:off x="0" y="-33251"/>
            <a:ext cx="12192000" cy="68912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Freeform 535">
            <a:extLst>
              <a:ext uri="{FF2B5EF4-FFF2-40B4-BE49-F238E27FC236}">
                <a16:creationId xmlns:a16="http://schemas.microsoft.com/office/drawing/2014/main" id="{E27E0049-8FAF-E544-8B70-8C6B628AA424}"/>
              </a:ext>
            </a:extLst>
          </p:cNvPr>
          <p:cNvSpPr>
            <a:spLocks/>
          </p:cNvSpPr>
          <p:nvPr/>
        </p:nvSpPr>
        <p:spPr bwMode="auto">
          <a:xfrm>
            <a:off x="7961124" y="-33252"/>
            <a:ext cx="4244944" cy="3911154"/>
          </a:xfrm>
          <a:custGeom>
            <a:avLst/>
            <a:gdLst>
              <a:gd name="T0" fmla="*/ 2 w 2342"/>
              <a:gd name="T1" fmla="*/ 11 h 2156"/>
              <a:gd name="T2" fmla="*/ 3 w 2342"/>
              <a:gd name="T3" fmla="*/ 61 h 2156"/>
              <a:gd name="T4" fmla="*/ 16 w 2342"/>
              <a:gd name="T5" fmla="*/ 132 h 2156"/>
              <a:gd name="T6" fmla="*/ 49 w 2342"/>
              <a:gd name="T7" fmla="*/ 215 h 2156"/>
              <a:gd name="T8" fmla="*/ 102 w 2342"/>
              <a:gd name="T9" fmla="*/ 306 h 2156"/>
              <a:gd name="T10" fmla="*/ 183 w 2342"/>
              <a:gd name="T11" fmla="*/ 396 h 2156"/>
              <a:gd name="T12" fmla="*/ 235 w 2342"/>
              <a:gd name="T13" fmla="*/ 439 h 2156"/>
              <a:gd name="T14" fmla="*/ 295 w 2342"/>
              <a:gd name="T15" fmla="*/ 480 h 2156"/>
              <a:gd name="T16" fmla="*/ 364 w 2342"/>
              <a:gd name="T17" fmla="*/ 517 h 2156"/>
              <a:gd name="T18" fmla="*/ 442 w 2342"/>
              <a:gd name="T19" fmla="*/ 550 h 2156"/>
              <a:gd name="T20" fmla="*/ 530 w 2342"/>
              <a:gd name="T21" fmla="*/ 579 h 2156"/>
              <a:gd name="T22" fmla="*/ 629 w 2342"/>
              <a:gd name="T23" fmla="*/ 601 h 2156"/>
              <a:gd name="T24" fmla="*/ 739 w 2342"/>
              <a:gd name="T25" fmla="*/ 616 h 2156"/>
              <a:gd name="T26" fmla="*/ 861 w 2342"/>
              <a:gd name="T27" fmla="*/ 625 h 2156"/>
              <a:gd name="T28" fmla="*/ 996 w 2342"/>
              <a:gd name="T29" fmla="*/ 624 h 2156"/>
              <a:gd name="T30" fmla="*/ 1142 w 2342"/>
              <a:gd name="T31" fmla="*/ 614 h 2156"/>
              <a:gd name="T32" fmla="*/ 1247 w 2342"/>
              <a:gd name="T33" fmla="*/ 602 h 2156"/>
              <a:gd name="T34" fmla="*/ 1300 w 2342"/>
              <a:gd name="T35" fmla="*/ 601 h 2156"/>
              <a:gd name="T36" fmla="*/ 1354 w 2342"/>
              <a:gd name="T37" fmla="*/ 608 h 2156"/>
              <a:gd name="T38" fmla="*/ 1404 w 2342"/>
              <a:gd name="T39" fmla="*/ 625 h 2156"/>
              <a:gd name="T40" fmla="*/ 1454 w 2342"/>
              <a:gd name="T41" fmla="*/ 649 h 2156"/>
              <a:gd name="T42" fmla="*/ 1501 w 2342"/>
              <a:gd name="T43" fmla="*/ 681 h 2156"/>
              <a:gd name="T44" fmla="*/ 1544 w 2342"/>
              <a:gd name="T45" fmla="*/ 717 h 2156"/>
              <a:gd name="T46" fmla="*/ 1616 w 2342"/>
              <a:gd name="T47" fmla="*/ 805 h 2156"/>
              <a:gd name="T48" fmla="*/ 1644 w 2342"/>
              <a:gd name="T49" fmla="*/ 853 h 2156"/>
              <a:gd name="T50" fmla="*/ 1666 w 2342"/>
              <a:gd name="T51" fmla="*/ 904 h 2156"/>
              <a:gd name="T52" fmla="*/ 1675 w 2342"/>
              <a:gd name="T53" fmla="*/ 939 h 2156"/>
              <a:gd name="T54" fmla="*/ 1684 w 2342"/>
              <a:gd name="T55" fmla="*/ 994 h 2156"/>
              <a:gd name="T56" fmla="*/ 1684 w 2342"/>
              <a:gd name="T57" fmla="*/ 1047 h 2156"/>
              <a:gd name="T58" fmla="*/ 1667 w 2342"/>
              <a:gd name="T59" fmla="*/ 1156 h 2156"/>
              <a:gd name="T60" fmla="*/ 1622 w 2342"/>
              <a:gd name="T61" fmla="*/ 1300 h 2156"/>
              <a:gd name="T62" fmla="*/ 1591 w 2342"/>
              <a:gd name="T63" fmla="*/ 1409 h 2156"/>
              <a:gd name="T64" fmla="*/ 1573 w 2342"/>
              <a:gd name="T65" fmla="*/ 1520 h 2156"/>
              <a:gd name="T66" fmla="*/ 1574 w 2342"/>
              <a:gd name="T67" fmla="*/ 1583 h 2156"/>
              <a:gd name="T68" fmla="*/ 1591 w 2342"/>
              <a:gd name="T69" fmla="*/ 1677 h 2156"/>
              <a:gd name="T70" fmla="*/ 1626 w 2342"/>
              <a:gd name="T71" fmla="*/ 1765 h 2156"/>
              <a:gd name="T72" fmla="*/ 1674 w 2342"/>
              <a:gd name="T73" fmla="*/ 1849 h 2156"/>
              <a:gd name="T74" fmla="*/ 1736 w 2342"/>
              <a:gd name="T75" fmla="*/ 1922 h 2156"/>
              <a:gd name="T76" fmla="*/ 1783 w 2342"/>
              <a:gd name="T77" fmla="*/ 1966 h 2156"/>
              <a:gd name="T78" fmla="*/ 1860 w 2342"/>
              <a:gd name="T79" fmla="*/ 2022 h 2156"/>
              <a:gd name="T80" fmla="*/ 1945 w 2342"/>
              <a:gd name="T81" fmla="*/ 2068 h 2156"/>
              <a:gd name="T82" fmla="*/ 2033 w 2342"/>
              <a:gd name="T83" fmla="*/ 2103 h 2156"/>
              <a:gd name="T84" fmla="*/ 2126 w 2342"/>
              <a:gd name="T85" fmla="*/ 2129 h 2156"/>
              <a:gd name="T86" fmla="*/ 2221 w 2342"/>
              <a:gd name="T87" fmla="*/ 2146 h 2156"/>
              <a:gd name="T88" fmla="*/ 2297 w 2342"/>
              <a:gd name="T89" fmla="*/ 2155 h 2156"/>
              <a:gd name="T90" fmla="*/ 4 w 2342"/>
              <a:gd name="T91" fmla="*/ 0 h 2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342" h="2156">
                <a:moveTo>
                  <a:pt x="4" y="0"/>
                </a:moveTo>
                <a:lnTo>
                  <a:pt x="4" y="0"/>
                </a:lnTo>
                <a:lnTo>
                  <a:pt x="2" y="11"/>
                </a:lnTo>
                <a:lnTo>
                  <a:pt x="0" y="25"/>
                </a:lnTo>
                <a:lnTo>
                  <a:pt x="2" y="42"/>
                </a:lnTo>
                <a:lnTo>
                  <a:pt x="3" y="61"/>
                </a:lnTo>
                <a:lnTo>
                  <a:pt x="5" y="82"/>
                </a:lnTo>
                <a:lnTo>
                  <a:pt x="10" y="106"/>
                </a:lnTo>
                <a:lnTo>
                  <a:pt x="16" y="132"/>
                </a:lnTo>
                <a:lnTo>
                  <a:pt x="25" y="158"/>
                </a:lnTo>
                <a:lnTo>
                  <a:pt x="35" y="186"/>
                </a:lnTo>
                <a:lnTo>
                  <a:pt x="49" y="215"/>
                </a:lnTo>
                <a:lnTo>
                  <a:pt x="63" y="244"/>
                </a:lnTo>
                <a:lnTo>
                  <a:pt x="81" y="274"/>
                </a:lnTo>
                <a:lnTo>
                  <a:pt x="102" y="306"/>
                </a:lnTo>
                <a:lnTo>
                  <a:pt x="126" y="336"/>
                </a:lnTo>
                <a:lnTo>
                  <a:pt x="153" y="366"/>
                </a:lnTo>
                <a:lnTo>
                  <a:pt x="183" y="396"/>
                </a:lnTo>
                <a:lnTo>
                  <a:pt x="200" y="411"/>
                </a:lnTo>
                <a:lnTo>
                  <a:pt x="217" y="425"/>
                </a:lnTo>
                <a:lnTo>
                  <a:pt x="235" y="439"/>
                </a:lnTo>
                <a:lnTo>
                  <a:pt x="254" y="453"/>
                </a:lnTo>
                <a:lnTo>
                  <a:pt x="274" y="467"/>
                </a:lnTo>
                <a:lnTo>
                  <a:pt x="295" y="480"/>
                </a:lnTo>
                <a:lnTo>
                  <a:pt x="317" y="493"/>
                </a:lnTo>
                <a:lnTo>
                  <a:pt x="340" y="505"/>
                </a:lnTo>
                <a:lnTo>
                  <a:pt x="364" y="517"/>
                </a:lnTo>
                <a:lnTo>
                  <a:pt x="389" y="528"/>
                </a:lnTo>
                <a:lnTo>
                  <a:pt x="415" y="540"/>
                </a:lnTo>
                <a:lnTo>
                  <a:pt x="442" y="550"/>
                </a:lnTo>
                <a:lnTo>
                  <a:pt x="471" y="561"/>
                </a:lnTo>
                <a:lnTo>
                  <a:pt x="500" y="569"/>
                </a:lnTo>
                <a:lnTo>
                  <a:pt x="530" y="579"/>
                </a:lnTo>
                <a:lnTo>
                  <a:pt x="563" y="586"/>
                </a:lnTo>
                <a:lnTo>
                  <a:pt x="595" y="594"/>
                </a:lnTo>
                <a:lnTo>
                  <a:pt x="629" y="601"/>
                </a:lnTo>
                <a:lnTo>
                  <a:pt x="666" y="607"/>
                </a:lnTo>
                <a:lnTo>
                  <a:pt x="702" y="612"/>
                </a:lnTo>
                <a:lnTo>
                  <a:pt x="739" y="616"/>
                </a:lnTo>
                <a:lnTo>
                  <a:pt x="779" y="620"/>
                </a:lnTo>
                <a:lnTo>
                  <a:pt x="819" y="623"/>
                </a:lnTo>
                <a:lnTo>
                  <a:pt x="861" y="625"/>
                </a:lnTo>
                <a:lnTo>
                  <a:pt x="905" y="625"/>
                </a:lnTo>
                <a:lnTo>
                  <a:pt x="950" y="625"/>
                </a:lnTo>
                <a:lnTo>
                  <a:pt x="996" y="624"/>
                </a:lnTo>
                <a:lnTo>
                  <a:pt x="1043" y="623"/>
                </a:lnTo>
                <a:lnTo>
                  <a:pt x="1091" y="619"/>
                </a:lnTo>
                <a:lnTo>
                  <a:pt x="1142" y="614"/>
                </a:lnTo>
                <a:lnTo>
                  <a:pt x="1194" y="609"/>
                </a:lnTo>
                <a:lnTo>
                  <a:pt x="1247" y="602"/>
                </a:lnTo>
                <a:lnTo>
                  <a:pt x="1247" y="602"/>
                </a:lnTo>
                <a:lnTo>
                  <a:pt x="1265" y="601"/>
                </a:lnTo>
                <a:lnTo>
                  <a:pt x="1282" y="600"/>
                </a:lnTo>
                <a:lnTo>
                  <a:pt x="1300" y="601"/>
                </a:lnTo>
                <a:lnTo>
                  <a:pt x="1319" y="602"/>
                </a:lnTo>
                <a:lnTo>
                  <a:pt x="1336" y="604"/>
                </a:lnTo>
                <a:lnTo>
                  <a:pt x="1354" y="608"/>
                </a:lnTo>
                <a:lnTo>
                  <a:pt x="1371" y="613"/>
                </a:lnTo>
                <a:lnTo>
                  <a:pt x="1388" y="619"/>
                </a:lnTo>
                <a:lnTo>
                  <a:pt x="1404" y="625"/>
                </a:lnTo>
                <a:lnTo>
                  <a:pt x="1421" y="632"/>
                </a:lnTo>
                <a:lnTo>
                  <a:pt x="1438" y="641"/>
                </a:lnTo>
                <a:lnTo>
                  <a:pt x="1454" y="649"/>
                </a:lnTo>
                <a:lnTo>
                  <a:pt x="1470" y="659"/>
                </a:lnTo>
                <a:lnTo>
                  <a:pt x="1485" y="670"/>
                </a:lnTo>
                <a:lnTo>
                  <a:pt x="1501" y="681"/>
                </a:lnTo>
                <a:lnTo>
                  <a:pt x="1516" y="691"/>
                </a:lnTo>
                <a:lnTo>
                  <a:pt x="1530" y="705"/>
                </a:lnTo>
                <a:lnTo>
                  <a:pt x="1544" y="717"/>
                </a:lnTo>
                <a:lnTo>
                  <a:pt x="1570" y="745"/>
                </a:lnTo>
                <a:lnTo>
                  <a:pt x="1594" y="774"/>
                </a:lnTo>
                <a:lnTo>
                  <a:pt x="1616" y="805"/>
                </a:lnTo>
                <a:lnTo>
                  <a:pt x="1626" y="821"/>
                </a:lnTo>
                <a:lnTo>
                  <a:pt x="1635" y="837"/>
                </a:lnTo>
                <a:lnTo>
                  <a:pt x="1644" y="853"/>
                </a:lnTo>
                <a:lnTo>
                  <a:pt x="1652" y="870"/>
                </a:lnTo>
                <a:lnTo>
                  <a:pt x="1658" y="887"/>
                </a:lnTo>
                <a:lnTo>
                  <a:pt x="1666" y="904"/>
                </a:lnTo>
                <a:lnTo>
                  <a:pt x="1671" y="922"/>
                </a:lnTo>
                <a:lnTo>
                  <a:pt x="1675" y="939"/>
                </a:lnTo>
                <a:lnTo>
                  <a:pt x="1675" y="939"/>
                </a:lnTo>
                <a:lnTo>
                  <a:pt x="1679" y="957"/>
                </a:lnTo>
                <a:lnTo>
                  <a:pt x="1681" y="976"/>
                </a:lnTo>
                <a:lnTo>
                  <a:pt x="1684" y="994"/>
                </a:lnTo>
                <a:lnTo>
                  <a:pt x="1685" y="1012"/>
                </a:lnTo>
                <a:lnTo>
                  <a:pt x="1685" y="1030"/>
                </a:lnTo>
                <a:lnTo>
                  <a:pt x="1684" y="1047"/>
                </a:lnTo>
                <a:lnTo>
                  <a:pt x="1680" y="1083"/>
                </a:lnTo>
                <a:lnTo>
                  <a:pt x="1674" y="1120"/>
                </a:lnTo>
                <a:lnTo>
                  <a:pt x="1667" y="1156"/>
                </a:lnTo>
                <a:lnTo>
                  <a:pt x="1657" y="1191"/>
                </a:lnTo>
                <a:lnTo>
                  <a:pt x="1646" y="1227"/>
                </a:lnTo>
                <a:lnTo>
                  <a:pt x="1622" y="1300"/>
                </a:lnTo>
                <a:lnTo>
                  <a:pt x="1611" y="1336"/>
                </a:lnTo>
                <a:lnTo>
                  <a:pt x="1600" y="1372"/>
                </a:lnTo>
                <a:lnTo>
                  <a:pt x="1591" y="1409"/>
                </a:lnTo>
                <a:lnTo>
                  <a:pt x="1582" y="1446"/>
                </a:lnTo>
                <a:lnTo>
                  <a:pt x="1576" y="1482"/>
                </a:lnTo>
                <a:lnTo>
                  <a:pt x="1573" y="1520"/>
                </a:lnTo>
                <a:lnTo>
                  <a:pt x="1573" y="1520"/>
                </a:lnTo>
                <a:lnTo>
                  <a:pt x="1573" y="1551"/>
                </a:lnTo>
                <a:lnTo>
                  <a:pt x="1574" y="1583"/>
                </a:lnTo>
                <a:lnTo>
                  <a:pt x="1577" y="1614"/>
                </a:lnTo>
                <a:lnTo>
                  <a:pt x="1583" y="1646"/>
                </a:lnTo>
                <a:lnTo>
                  <a:pt x="1591" y="1677"/>
                </a:lnTo>
                <a:lnTo>
                  <a:pt x="1600" y="1707"/>
                </a:lnTo>
                <a:lnTo>
                  <a:pt x="1612" y="1736"/>
                </a:lnTo>
                <a:lnTo>
                  <a:pt x="1626" y="1765"/>
                </a:lnTo>
                <a:lnTo>
                  <a:pt x="1640" y="1794"/>
                </a:lnTo>
                <a:lnTo>
                  <a:pt x="1656" y="1822"/>
                </a:lnTo>
                <a:lnTo>
                  <a:pt x="1674" y="1849"/>
                </a:lnTo>
                <a:lnTo>
                  <a:pt x="1693" y="1874"/>
                </a:lnTo>
                <a:lnTo>
                  <a:pt x="1714" y="1898"/>
                </a:lnTo>
                <a:lnTo>
                  <a:pt x="1736" y="1922"/>
                </a:lnTo>
                <a:lnTo>
                  <a:pt x="1759" y="1945"/>
                </a:lnTo>
                <a:lnTo>
                  <a:pt x="1783" y="1966"/>
                </a:lnTo>
                <a:lnTo>
                  <a:pt x="1783" y="1966"/>
                </a:lnTo>
                <a:lnTo>
                  <a:pt x="1808" y="1985"/>
                </a:lnTo>
                <a:lnTo>
                  <a:pt x="1834" y="2005"/>
                </a:lnTo>
                <a:lnTo>
                  <a:pt x="1860" y="2022"/>
                </a:lnTo>
                <a:lnTo>
                  <a:pt x="1888" y="2039"/>
                </a:lnTo>
                <a:lnTo>
                  <a:pt x="1916" y="2053"/>
                </a:lnTo>
                <a:lnTo>
                  <a:pt x="1945" y="2068"/>
                </a:lnTo>
                <a:lnTo>
                  <a:pt x="1974" y="2080"/>
                </a:lnTo>
                <a:lnTo>
                  <a:pt x="2003" y="2092"/>
                </a:lnTo>
                <a:lnTo>
                  <a:pt x="2033" y="2103"/>
                </a:lnTo>
                <a:lnTo>
                  <a:pt x="2064" y="2112"/>
                </a:lnTo>
                <a:lnTo>
                  <a:pt x="2095" y="2121"/>
                </a:lnTo>
                <a:lnTo>
                  <a:pt x="2126" y="2129"/>
                </a:lnTo>
                <a:lnTo>
                  <a:pt x="2158" y="2135"/>
                </a:lnTo>
                <a:lnTo>
                  <a:pt x="2189" y="2141"/>
                </a:lnTo>
                <a:lnTo>
                  <a:pt x="2221" y="2146"/>
                </a:lnTo>
                <a:lnTo>
                  <a:pt x="2252" y="2151"/>
                </a:lnTo>
                <a:lnTo>
                  <a:pt x="2252" y="2151"/>
                </a:lnTo>
                <a:lnTo>
                  <a:pt x="2297" y="2155"/>
                </a:lnTo>
                <a:lnTo>
                  <a:pt x="2342" y="2156"/>
                </a:lnTo>
                <a:lnTo>
                  <a:pt x="2342" y="0"/>
                </a:lnTo>
                <a:lnTo>
                  <a:pt x="4" y="0"/>
                </a:lnTo>
                <a:close/>
              </a:path>
            </a:pathLst>
          </a:custGeom>
          <a:gradFill flip="none" rotWithShape="1">
            <a:gsLst>
              <a:gs pos="42000">
                <a:srgbClr val="F4AAA6"/>
              </a:gs>
              <a:gs pos="0">
                <a:schemeClr val="accent1"/>
              </a:gs>
              <a:gs pos="100000">
                <a:schemeClr val="accent4">
                  <a:lumMod val="40000"/>
                  <a:lumOff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 579">
            <a:extLst>
              <a:ext uri="{FF2B5EF4-FFF2-40B4-BE49-F238E27FC236}">
                <a16:creationId xmlns:a16="http://schemas.microsoft.com/office/drawing/2014/main" id="{BA87F963-1B81-2E41-80B5-67054CBF1707}"/>
              </a:ext>
            </a:extLst>
          </p:cNvPr>
          <p:cNvSpPr>
            <a:spLocks/>
          </p:cNvSpPr>
          <p:nvPr/>
        </p:nvSpPr>
        <p:spPr bwMode="auto">
          <a:xfrm flipH="1">
            <a:off x="-14751" y="-50513"/>
            <a:ext cx="7688955" cy="6908514"/>
          </a:xfrm>
          <a:custGeom>
            <a:avLst/>
            <a:gdLst>
              <a:gd name="T0" fmla="*/ 3290 w 3332"/>
              <a:gd name="T1" fmla="*/ 2991 h 2992"/>
              <a:gd name="T2" fmla="*/ 3316 w 3332"/>
              <a:gd name="T3" fmla="*/ 2976 h 2992"/>
              <a:gd name="T4" fmla="*/ 3331 w 3332"/>
              <a:gd name="T5" fmla="*/ 2950 h 2992"/>
              <a:gd name="T6" fmla="*/ 3332 w 3332"/>
              <a:gd name="T7" fmla="*/ 0 h 2992"/>
              <a:gd name="T8" fmla="*/ 3313 w 3332"/>
              <a:gd name="T9" fmla="*/ 97 h 2992"/>
              <a:gd name="T10" fmla="*/ 3288 w 3332"/>
              <a:gd name="T11" fmla="*/ 183 h 2992"/>
              <a:gd name="T12" fmla="*/ 3259 w 3332"/>
              <a:gd name="T13" fmla="*/ 258 h 2992"/>
              <a:gd name="T14" fmla="*/ 3226 w 3332"/>
              <a:gd name="T15" fmla="*/ 323 h 2992"/>
              <a:gd name="T16" fmla="*/ 3188 w 3332"/>
              <a:gd name="T17" fmla="*/ 379 h 2992"/>
              <a:gd name="T18" fmla="*/ 3148 w 3332"/>
              <a:gd name="T19" fmla="*/ 427 h 2992"/>
              <a:gd name="T20" fmla="*/ 3103 w 3332"/>
              <a:gd name="T21" fmla="*/ 468 h 2992"/>
              <a:gd name="T22" fmla="*/ 3056 w 3332"/>
              <a:gd name="T23" fmla="*/ 504 h 2992"/>
              <a:gd name="T24" fmla="*/ 2953 w 3332"/>
              <a:gd name="T25" fmla="*/ 556 h 2992"/>
              <a:gd name="T26" fmla="*/ 2843 w 3332"/>
              <a:gd name="T27" fmla="*/ 591 h 2992"/>
              <a:gd name="T28" fmla="*/ 2686 w 3332"/>
              <a:gd name="T29" fmla="*/ 623 h 2992"/>
              <a:gd name="T30" fmla="*/ 2485 w 3332"/>
              <a:gd name="T31" fmla="*/ 661 h 2992"/>
              <a:gd name="T32" fmla="*/ 2367 w 3332"/>
              <a:gd name="T33" fmla="*/ 693 h 2992"/>
              <a:gd name="T34" fmla="*/ 2290 w 3332"/>
              <a:gd name="T35" fmla="*/ 722 h 2992"/>
              <a:gd name="T36" fmla="*/ 2182 w 3332"/>
              <a:gd name="T37" fmla="*/ 776 h 2992"/>
              <a:gd name="T38" fmla="*/ 2081 w 3332"/>
              <a:gd name="T39" fmla="*/ 836 h 2992"/>
              <a:gd name="T40" fmla="*/ 1990 w 3332"/>
              <a:gd name="T41" fmla="*/ 907 h 2992"/>
              <a:gd name="T42" fmla="*/ 1904 w 3332"/>
              <a:gd name="T43" fmla="*/ 988 h 2992"/>
              <a:gd name="T44" fmla="*/ 1821 w 3332"/>
              <a:gd name="T45" fmla="*/ 1083 h 2992"/>
              <a:gd name="T46" fmla="*/ 1743 w 3332"/>
              <a:gd name="T47" fmla="*/ 1192 h 2992"/>
              <a:gd name="T48" fmla="*/ 1667 w 3332"/>
              <a:gd name="T49" fmla="*/ 1316 h 2992"/>
              <a:gd name="T50" fmla="*/ 1589 w 3332"/>
              <a:gd name="T51" fmla="*/ 1459 h 2992"/>
              <a:gd name="T52" fmla="*/ 1483 w 3332"/>
              <a:gd name="T53" fmla="*/ 1679 h 2992"/>
              <a:gd name="T54" fmla="*/ 1370 w 3332"/>
              <a:gd name="T55" fmla="*/ 1936 h 2992"/>
              <a:gd name="T56" fmla="*/ 1327 w 3332"/>
              <a:gd name="T57" fmla="*/ 2024 h 2992"/>
              <a:gd name="T58" fmla="*/ 1293 w 3332"/>
              <a:gd name="T59" fmla="*/ 2076 h 2992"/>
              <a:gd name="T60" fmla="*/ 1258 w 3332"/>
              <a:gd name="T61" fmla="*/ 2119 h 2992"/>
              <a:gd name="T62" fmla="*/ 1220 w 3332"/>
              <a:gd name="T63" fmla="*/ 2154 h 2992"/>
              <a:gd name="T64" fmla="*/ 1183 w 3332"/>
              <a:gd name="T65" fmla="*/ 2181 h 2992"/>
              <a:gd name="T66" fmla="*/ 1130 w 3332"/>
              <a:gd name="T67" fmla="*/ 2205 h 2992"/>
              <a:gd name="T68" fmla="*/ 1046 w 3332"/>
              <a:gd name="T69" fmla="*/ 2224 h 2992"/>
              <a:gd name="T70" fmla="*/ 959 w 3332"/>
              <a:gd name="T71" fmla="*/ 2225 h 2992"/>
              <a:gd name="T72" fmla="*/ 839 w 3332"/>
              <a:gd name="T73" fmla="*/ 2213 h 2992"/>
              <a:gd name="T74" fmla="*/ 716 w 3332"/>
              <a:gd name="T75" fmla="*/ 2201 h 2992"/>
              <a:gd name="T76" fmla="*/ 624 w 3332"/>
              <a:gd name="T77" fmla="*/ 2201 h 2992"/>
              <a:gd name="T78" fmla="*/ 531 w 3332"/>
              <a:gd name="T79" fmla="*/ 2218 h 2992"/>
              <a:gd name="T80" fmla="*/ 471 w 3332"/>
              <a:gd name="T81" fmla="*/ 2240 h 2992"/>
              <a:gd name="T82" fmla="*/ 373 w 3332"/>
              <a:gd name="T83" fmla="*/ 2294 h 2992"/>
              <a:gd name="T84" fmla="*/ 289 w 3332"/>
              <a:gd name="T85" fmla="*/ 2355 h 2992"/>
              <a:gd name="T86" fmla="*/ 218 w 3332"/>
              <a:gd name="T87" fmla="*/ 2421 h 2992"/>
              <a:gd name="T88" fmla="*/ 160 w 3332"/>
              <a:gd name="T89" fmla="*/ 2491 h 2992"/>
              <a:gd name="T90" fmla="*/ 111 w 3332"/>
              <a:gd name="T91" fmla="*/ 2566 h 2992"/>
              <a:gd name="T92" fmla="*/ 74 w 3332"/>
              <a:gd name="T93" fmla="*/ 2643 h 2992"/>
              <a:gd name="T94" fmla="*/ 46 w 3332"/>
              <a:gd name="T95" fmla="*/ 2720 h 2992"/>
              <a:gd name="T96" fmla="*/ 24 w 3332"/>
              <a:gd name="T97" fmla="*/ 2797 h 2992"/>
              <a:gd name="T98" fmla="*/ 4 w 3332"/>
              <a:gd name="T99" fmla="*/ 2945 h 2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332" h="2992">
                <a:moveTo>
                  <a:pt x="3279" y="2992"/>
                </a:moveTo>
                <a:lnTo>
                  <a:pt x="3279" y="2992"/>
                </a:lnTo>
                <a:lnTo>
                  <a:pt x="3290" y="2991"/>
                </a:lnTo>
                <a:lnTo>
                  <a:pt x="3299" y="2987"/>
                </a:lnTo>
                <a:lnTo>
                  <a:pt x="3309" y="2982"/>
                </a:lnTo>
                <a:lnTo>
                  <a:pt x="3316" y="2976"/>
                </a:lnTo>
                <a:lnTo>
                  <a:pt x="3324" y="2969"/>
                </a:lnTo>
                <a:lnTo>
                  <a:pt x="3328" y="2959"/>
                </a:lnTo>
                <a:lnTo>
                  <a:pt x="3331" y="2950"/>
                </a:lnTo>
                <a:lnTo>
                  <a:pt x="3332" y="2939"/>
                </a:lnTo>
                <a:lnTo>
                  <a:pt x="3332" y="0"/>
                </a:lnTo>
                <a:lnTo>
                  <a:pt x="3332" y="0"/>
                </a:lnTo>
                <a:lnTo>
                  <a:pt x="3326" y="34"/>
                </a:lnTo>
                <a:lnTo>
                  <a:pt x="3320" y="66"/>
                </a:lnTo>
                <a:lnTo>
                  <a:pt x="3313" y="97"/>
                </a:lnTo>
                <a:lnTo>
                  <a:pt x="3305" y="126"/>
                </a:lnTo>
                <a:lnTo>
                  <a:pt x="3297" y="155"/>
                </a:lnTo>
                <a:lnTo>
                  <a:pt x="3288" y="183"/>
                </a:lnTo>
                <a:lnTo>
                  <a:pt x="3279" y="208"/>
                </a:lnTo>
                <a:lnTo>
                  <a:pt x="3269" y="234"/>
                </a:lnTo>
                <a:lnTo>
                  <a:pt x="3259" y="258"/>
                </a:lnTo>
                <a:lnTo>
                  <a:pt x="3249" y="281"/>
                </a:lnTo>
                <a:lnTo>
                  <a:pt x="3238" y="303"/>
                </a:lnTo>
                <a:lnTo>
                  <a:pt x="3226" y="323"/>
                </a:lnTo>
                <a:lnTo>
                  <a:pt x="3213" y="343"/>
                </a:lnTo>
                <a:lnTo>
                  <a:pt x="3201" y="362"/>
                </a:lnTo>
                <a:lnTo>
                  <a:pt x="3188" y="379"/>
                </a:lnTo>
                <a:lnTo>
                  <a:pt x="3176" y="396"/>
                </a:lnTo>
                <a:lnTo>
                  <a:pt x="3161" y="413"/>
                </a:lnTo>
                <a:lnTo>
                  <a:pt x="3148" y="427"/>
                </a:lnTo>
                <a:lnTo>
                  <a:pt x="3134" y="442"/>
                </a:lnTo>
                <a:lnTo>
                  <a:pt x="3118" y="456"/>
                </a:lnTo>
                <a:lnTo>
                  <a:pt x="3103" y="468"/>
                </a:lnTo>
                <a:lnTo>
                  <a:pt x="3088" y="481"/>
                </a:lnTo>
                <a:lnTo>
                  <a:pt x="3072" y="493"/>
                </a:lnTo>
                <a:lnTo>
                  <a:pt x="3056" y="504"/>
                </a:lnTo>
                <a:lnTo>
                  <a:pt x="3024" y="523"/>
                </a:lnTo>
                <a:lnTo>
                  <a:pt x="2989" y="540"/>
                </a:lnTo>
                <a:lnTo>
                  <a:pt x="2953" y="556"/>
                </a:lnTo>
                <a:lnTo>
                  <a:pt x="2917" y="569"/>
                </a:lnTo>
                <a:lnTo>
                  <a:pt x="2881" y="581"/>
                </a:lnTo>
                <a:lnTo>
                  <a:pt x="2843" y="591"/>
                </a:lnTo>
                <a:lnTo>
                  <a:pt x="2805" y="600"/>
                </a:lnTo>
                <a:lnTo>
                  <a:pt x="2766" y="609"/>
                </a:lnTo>
                <a:lnTo>
                  <a:pt x="2686" y="623"/>
                </a:lnTo>
                <a:lnTo>
                  <a:pt x="2606" y="638"/>
                </a:lnTo>
                <a:lnTo>
                  <a:pt x="2525" y="652"/>
                </a:lnTo>
                <a:lnTo>
                  <a:pt x="2485" y="661"/>
                </a:lnTo>
                <a:lnTo>
                  <a:pt x="2446" y="670"/>
                </a:lnTo>
                <a:lnTo>
                  <a:pt x="2406" y="681"/>
                </a:lnTo>
                <a:lnTo>
                  <a:pt x="2367" y="693"/>
                </a:lnTo>
                <a:lnTo>
                  <a:pt x="2328" y="707"/>
                </a:lnTo>
                <a:lnTo>
                  <a:pt x="2290" y="722"/>
                </a:lnTo>
                <a:lnTo>
                  <a:pt x="2290" y="722"/>
                </a:lnTo>
                <a:lnTo>
                  <a:pt x="2253" y="739"/>
                </a:lnTo>
                <a:lnTo>
                  <a:pt x="2217" y="756"/>
                </a:lnTo>
                <a:lnTo>
                  <a:pt x="2182" y="776"/>
                </a:lnTo>
                <a:lnTo>
                  <a:pt x="2147" y="795"/>
                </a:lnTo>
                <a:lnTo>
                  <a:pt x="2114" y="815"/>
                </a:lnTo>
                <a:lnTo>
                  <a:pt x="2081" y="836"/>
                </a:lnTo>
                <a:lnTo>
                  <a:pt x="2050" y="859"/>
                </a:lnTo>
                <a:lnTo>
                  <a:pt x="2020" y="882"/>
                </a:lnTo>
                <a:lnTo>
                  <a:pt x="1990" y="907"/>
                </a:lnTo>
                <a:lnTo>
                  <a:pt x="1961" y="933"/>
                </a:lnTo>
                <a:lnTo>
                  <a:pt x="1932" y="961"/>
                </a:lnTo>
                <a:lnTo>
                  <a:pt x="1904" y="988"/>
                </a:lnTo>
                <a:lnTo>
                  <a:pt x="1876" y="1019"/>
                </a:lnTo>
                <a:lnTo>
                  <a:pt x="1849" y="1050"/>
                </a:lnTo>
                <a:lnTo>
                  <a:pt x="1821" y="1083"/>
                </a:lnTo>
                <a:lnTo>
                  <a:pt x="1796" y="1118"/>
                </a:lnTo>
                <a:lnTo>
                  <a:pt x="1769" y="1154"/>
                </a:lnTo>
                <a:lnTo>
                  <a:pt x="1743" y="1192"/>
                </a:lnTo>
                <a:lnTo>
                  <a:pt x="1717" y="1231"/>
                </a:lnTo>
                <a:lnTo>
                  <a:pt x="1692" y="1273"/>
                </a:lnTo>
                <a:lnTo>
                  <a:pt x="1667" y="1316"/>
                </a:lnTo>
                <a:lnTo>
                  <a:pt x="1640" y="1362"/>
                </a:lnTo>
                <a:lnTo>
                  <a:pt x="1615" y="1409"/>
                </a:lnTo>
                <a:lnTo>
                  <a:pt x="1589" y="1459"/>
                </a:lnTo>
                <a:lnTo>
                  <a:pt x="1563" y="1511"/>
                </a:lnTo>
                <a:lnTo>
                  <a:pt x="1536" y="1564"/>
                </a:lnTo>
                <a:lnTo>
                  <a:pt x="1483" y="1679"/>
                </a:lnTo>
                <a:lnTo>
                  <a:pt x="1427" y="1802"/>
                </a:lnTo>
                <a:lnTo>
                  <a:pt x="1370" y="1936"/>
                </a:lnTo>
                <a:lnTo>
                  <a:pt x="1370" y="1936"/>
                </a:lnTo>
                <a:lnTo>
                  <a:pt x="1349" y="1982"/>
                </a:lnTo>
                <a:lnTo>
                  <a:pt x="1338" y="2003"/>
                </a:lnTo>
                <a:lnTo>
                  <a:pt x="1327" y="2024"/>
                </a:lnTo>
                <a:lnTo>
                  <a:pt x="1316" y="2042"/>
                </a:lnTo>
                <a:lnTo>
                  <a:pt x="1305" y="2060"/>
                </a:lnTo>
                <a:lnTo>
                  <a:pt x="1293" y="2076"/>
                </a:lnTo>
                <a:lnTo>
                  <a:pt x="1282" y="2091"/>
                </a:lnTo>
                <a:lnTo>
                  <a:pt x="1270" y="2106"/>
                </a:lnTo>
                <a:lnTo>
                  <a:pt x="1258" y="2119"/>
                </a:lnTo>
                <a:lnTo>
                  <a:pt x="1246" y="2132"/>
                </a:lnTo>
                <a:lnTo>
                  <a:pt x="1234" y="2143"/>
                </a:lnTo>
                <a:lnTo>
                  <a:pt x="1220" y="2154"/>
                </a:lnTo>
                <a:lnTo>
                  <a:pt x="1208" y="2164"/>
                </a:lnTo>
                <a:lnTo>
                  <a:pt x="1195" y="2172"/>
                </a:lnTo>
                <a:lnTo>
                  <a:pt x="1183" y="2181"/>
                </a:lnTo>
                <a:lnTo>
                  <a:pt x="1170" y="2188"/>
                </a:lnTo>
                <a:lnTo>
                  <a:pt x="1156" y="2194"/>
                </a:lnTo>
                <a:lnTo>
                  <a:pt x="1130" y="2205"/>
                </a:lnTo>
                <a:lnTo>
                  <a:pt x="1102" y="2213"/>
                </a:lnTo>
                <a:lnTo>
                  <a:pt x="1074" y="2219"/>
                </a:lnTo>
                <a:lnTo>
                  <a:pt x="1046" y="2224"/>
                </a:lnTo>
                <a:lnTo>
                  <a:pt x="1017" y="2225"/>
                </a:lnTo>
                <a:lnTo>
                  <a:pt x="988" y="2227"/>
                </a:lnTo>
                <a:lnTo>
                  <a:pt x="959" y="2225"/>
                </a:lnTo>
                <a:lnTo>
                  <a:pt x="930" y="2223"/>
                </a:lnTo>
                <a:lnTo>
                  <a:pt x="900" y="2221"/>
                </a:lnTo>
                <a:lnTo>
                  <a:pt x="839" y="2213"/>
                </a:lnTo>
                <a:lnTo>
                  <a:pt x="778" y="2207"/>
                </a:lnTo>
                <a:lnTo>
                  <a:pt x="748" y="2204"/>
                </a:lnTo>
                <a:lnTo>
                  <a:pt x="716" y="2201"/>
                </a:lnTo>
                <a:lnTo>
                  <a:pt x="686" y="2200"/>
                </a:lnTo>
                <a:lnTo>
                  <a:pt x="654" y="2200"/>
                </a:lnTo>
                <a:lnTo>
                  <a:pt x="624" y="2201"/>
                </a:lnTo>
                <a:lnTo>
                  <a:pt x="593" y="2205"/>
                </a:lnTo>
                <a:lnTo>
                  <a:pt x="563" y="2210"/>
                </a:lnTo>
                <a:lnTo>
                  <a:pt x="531" y="2218"/>
                </a:lnTo>
                <a:lnTo>
                  <a:pt x="501" y="2228"/>
                </a:lnTo>
                <a:lnTo>
                  <a:pt x="471" y="2240"/>
                </a:lnTo>
                <a:lnTo>
                  <a:pt x="471" y="2240"/>
                </a:lnTo>
                <a:lnTo>
                  <a:pt x="437" y="2257"/>
                </a:lnTo>
                <a:lnTo>
                  <a:pt x="404" y="2275"/>
                </a:lnTo>
                <a:lnTo>
                  <a:pt x="373" y="2294"/>
                </a:lnTo>
                <a:lnTo>
                  <a:pt x="344" y="2314"/>
                </a:lnTo>
                <a:lnTo>
                  <a:pt x="316" y="2333"/>
                </a:lnTo>
                <a:lnTo>
                  <a:pt x="289" y="2355"/>
                </a:lnTo>
                <a:lnTo>
                  <a:pt x="264" y="2377"/>
                </a:lnTo>
                <a:lnTo>
                  <a:pt x="241" y="2398"/>
                </a:lnTo>
                <a:lnTo>
                  <a:pt x="218" y="2421"/>
                </a:lnTo>
                <a:lnTo>
                  <a:pt x="197" y="2444"/>
                </a:lnTo>
                <a:lnTo>
                  <a:pt x="178" y="2467"/>
                </a:lnTo>
                <a:lnTo>
                  <a:pt x="160" y="2491"/>
                </a:lnTo>
                <a:lnTo>
                  <a:pt x="143" y="2517"/>
                </a:lnTo>
                <a:lnTo>
                  <a:pt x="126" y="2541"/>
                </a:lnTo>
                <a:lnTo>
                  <a:pt x="111" y="2566"/>
                </a:lnTo>
                <a:lnTo>
                  <a:pt x="98" y="2592"/>
                </a:lnTo>
                <a:lnTo>
                  <a:pt x="86" y="2617"/>
                </a:lnTo>
                <a:lnTo>
                  <a:pt x="74" y="2643"/>
                </a:lnTo>
                <a:lnTo>
                  <a:pt x="64" y="2668"/>
                </a:lnTo>
                <a:lnTo>
                  <a:pt x="55" y="2695"/>
                </a:lnTo>
                <a:lnTo>
                  <a:pt x="46" y="2720"/>
                </a:lnTo>
                <a:lnTo>
                  <a:pt x="38" y="2745"/>
                </a:lnTo>
                <a:lnTo>
                  <a:pt x="32" y="2772"/>
                </a:lnTo>
                <a:lnTo>
                  <a:pt x="24" y="2797"/>
                </a:lnTo>
                <a:lnTo>
                  <a:pt x="15" y="2848"/>
                </a:lnTo>
                <a:lnTo>
                  <a:pt x="7" y="2898"/>
                </a:lnTo>
                <a:lnTo>
                  <a:pt x="4" y="2945"/>
                </a:lnTo>
                <a:lnTo>
                  <a:pt x="0" y="2992"/>
                </a:lnTo>
                <a:lnTo>
                  <a:pt x="3279" y="2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C698E5F5-7962-7E48-AD88-6F20313D772B}"/>
              </a:ext>
            </a:extLst>
          </p:cNvPr>
          <p:cNvSpPr txBox="1">
            <a:spLocks/>
          </p:cNvSpPr>
          <p:nvPr/>
        </p:nvSpPr>
        <p:spPr>
          <a:xfrm>
            <a:off x="0" y="441007"/>
            <a:ext cx="12206068" cy="74789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лезные ссылки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9" name="Freeform 320">
            <a:extLst>
              <a:ext uri="{FF2B5EF4-FFF2-40B4-BE49-F238E27FC236}">
                <a16:creationId xmlns:a16="http://schemas.microsoft.com/office/drawing/2014/main" id="{A0509299-07FF-394B-8848-AEE6818EFE06}"/>
              </a:ext>
            </a:extLst>
          </p:cNvPr>
          <p:cNvSpPr>
            <a:spLocks/>
          </p:cNvSpPr>
          <p:nvPr/>
        </p:nvSpPr>
        <p:spPr bwMode="auto">
          <a:xfrm rot="2493426">
            <a:off x="11504441" y="438254"/>
            <a:ext cx="673927" cy="546682"/>
          </a:xfrm>
          <a:custGeom>
            <a:avLst/>
            <a:gdLst>
              <a:gd name="T0" fmla="*/ 1111 w 1145"/>
              <a:gd name="T1" fmla="*/ 84 h 927"/>
              <a:gd name="T2" fmla="*/ 1064 w 1145"/>
              <a:gd name="T3" fmla="*/ 110 h 927"/>
              <a:gd name="T4" fmla="*/ 996 w 1145"/>
              <a:gd name="T5" fmla="*/ 119 h 927"/>
              <a:gd name="T6" fmla="*/ 920 w 1145"/>
              <a:gd name="T7" fmla="*/ 116 h 927"/>
              <a:gd name="T8" fmla="*/ 860 w 1145"/>
              <a:gd name="T9" fmla="*/ 128 h 927"/>
              <a:gd name="T10" fmla="*/ 821 w 1145"/>
              <a:gd name="T11" fmla="*/ 162 h 927"/>
              <a:gd name="T12" fmla="*/ 801 w 1145"/>
              <a:gd name="T13" fmla="*/ 220 h 927"/>
              <a:gd name="T14" fmla="*/ 804 w 1145"/>
              <a:gd name="T15" fmla="*/ 290 h 927"/>
              <a:gd name="T16" fmla="*/ 797 w 1145"/>
              <a:gd name="T17" fmla="*/ 368 h 927"/>
              <a:gd name="T18" fmla="*/ 777 w 1145"/>
              <a:gd name="T19" fmla="*/ 414 h 927"/>
              <a:gd name="T20" fmla="*/ 749 w 1145"/>
              <a:gd name="T21" fmla="*/ 450 h 927"/>
              <a:gd name="T22" fmla="*/ 704 w 1145"/>
              <a:gd name="T23" fmla="*/ 483 h 927"/>
              <a:gd name="T24" fmla="*/ 656 w 1145"/>
              <a:gd name="T25" fmla="*/ 499 h 927"/>
              <a:gd name="T26" fmla="*/ 569 w 1145"/>
              <a:gd name="T27" fmla="*/ 501 h 927"/>
              <a:gd name="T28" fmla="*/ 505 w 1145"/>
              <a:gd name="T29" fmla="*/ 503 h 927"/>
              <a:gd name="T30" fmla="*/ 448 w 1145"/>
              <a:gd name="T31" fmla="*/ 532 h 927"/>
              <a:gd name="T32" fmla="*/ 423 w 1145"/>
              <a:gd name="T33" fmla="*/ 574 h 927"/>
              <a:gd name="T34" fmla="*/ 418 w 1145"/>
              <a:gd name="T35" fmla="*/ 653 h 927"/>
              <a:gd name="T36" fmla="*/ 419 w 1145"/>
              <a:gd name="T37" fmla="*/ 718 h 927"/>
              <a:gd name="T38" fmla="*/ 405 w 1145"/>
              <a:gd name="T39" fmla="*/ 775 h 927"/>
              <a:gd name="T40" fmla="*/ 376 w 1145"/>
              <a:gd name="T41" fmla="*/ 822 h 927"/>
              <a:gd name="T42" fmla="*/ 343 w 1145"/>
              <a:gd name="T43" fmla="*/ 852 h 927"/>
              <a:gd name="T44" fmla="*/ 296 w 1145"/>
              <a:gd name="T45" fmla="*/ 878 h 927"/>
              <a:gd name="T46" fmla="*/ 228 w 1145"/>
              <a:gd name="T47" fmla="*/ 887 h 927"/>
              <a:gd name="T48" fmla="*/ 152 w 1145"/>
              <a:gd name="T49" fmla="*/ 885 h 927"/>
              <a:gd name="T50" fmla="*/ 92 w 1145"/>
              <a:gd name="T51" fmla="*/ 896 h 927"/>
              <a:gd name="T52" fmla="*/ 59 w 1145"/>
              <a:gd name="T53" fmla="*/ 921 h 927"/>
              <a:gd name="T54" fmla="*/ 30 w 1145"/>
              <a:gd name="T55" fmla="*/ 927 h 927"/>
              <a:gd name="T56" fmla="*/ 11 w 1145"/>
              <a:gd name="T57" fmla="*/ 916 h 927"/>
              <a:gd name="T58" fmla="*/ 0 w 1145"/>
              <a:gd name="T59" fmla="*/ 890 h 927"/>
              <a:gd name="T60" fmla="*/ 11 w 1145"/>
              <a:gd name="T61" fmla="*/ 862 h 927"/>
              <a:gd name="T62" fmla="*/ 44 w 1145"/>
              <a:gd name="T63" fmla="*/ 834 h 927"/>
              <a:gd name="T64" fmla="*/ 92 w 1145"/>
              <a:gd name="T65" fmla="*/ 815 h 927"/>
              <a:gd name="T66" fmla="*/ 170 w 1145"/>
              <a:gd name="T67" fmla="*/ 807 h 927"/>
              <a:gd name="T68" fmla="*/ 240 w 1145"/>
              <a:gd name="T69" fmla="*/ 810 h 927"/>
              <a:gd name="T70" fmla="*/ 297 w 1145"/>
              <a:gd name="T71" fmla="*/ 791 h 927"/>
              <a:gd name="T72" fmla="*/ 331 w 1145"/>
              <a:gd name="T73" fmla="*/ 752 h 927"/>
              <a:gd name="T74" fmla="*/ 343 w 1145"/>
              <a:gd name="T75" fmla="*/ 691 h 927"/>
              <a:gd name="T76" fmla="*/ 339 w 1145"/>
              <a:gd name="T77" fmla="*/ 615 h 927"/>
              <a:gd name="T78" fmla="*/ 350 w 1145"/>
              <a:gd name="T79" fmla="*/ 547 h 927"/>
              <a:gd name="T80" fmla="*/ 375 w 1145"/>
              <a:gd name="T81" fmla="*/ 500 h 927"/>
              <a:gd name="T82" fmla="*/ 406 w 1145"/>
              <a:gd name="T83" fmla="*/ 468 h 927"/>
              <a:gd name="T84" fmla="*/ 452 w 1145"/>
              <a:gd name="T85" fmla="*/ 439 h 927"/>
              <a:gd name="T86" fmla="*/ 510 w 1145"/>
              <a:gd name="T87" fmla="*/ 424 h 927"/>
              <a:gd name="T88" fmla="*/ 574 w 1145"/>
              <a:gd name="T89" fmla="*/ 425 h 927"/>
              <a:gd name="T90" fmla="*/ 654 w 1145"/>
              <a:gd name="T91" fmla="*/ 420 h 927"/>
              <a:gd name="T92" fmla="*/ 695 w 1145"/>
              <a:gd name="T93" fmla="*/ 395 h 927"/>
              <a:gd name="T94" fmla="*/ 725 w 1145"/>
              <a:gd name="T95" fmla="*/ 338 h 927"/>
              <a:gd name="T96" fmla="*/ 725 w 1145"/>
              <a:gd name="T97" fmla="*/ 274 h 927"/>
              <a:gd name="T98" fmla="*/ 728 w 1145"/>
              <a:gd name="T99" fmla="*/ 187 h 927"/>
              <a:gd name="T100" fmla="*/ 745 w 1145"/>
              <a:gd name="T101" fmla="*/ 140 h 927"/>
              <a:gd name="T102" fmla="*/ 778 w 1145"/>
              <a:gd name="T103" fmla="*/ 94 h 927"/>
              <a:gd name="T104" fmla="*/ 812 w 1145"/>
              <a:gd name="T105" fmla="*/ 66 h 927"/>
              <a:gd name="T106" fmla="*/ 860 w 1145"/>
              <a:gd name="T107" fmla="*/ 47 h 927"/>
              <a:gd name="T108" fmla="*/ 938 w 1145"/>
              <a:gd name="T109" fmla="*/ 40 h 927"/>
              <a:gd name="T110" fmla="*/ 1008 w 1145"/>
              <a:gd name="T111" fmla="*/ 42 h 927"/>
              <a:gd name="T112" fmla="*/ 1066 w 1145"/>
              <a:gd name="T113" fmla="*/ 23 h 927"/>
              <a:gd name="T114" fmla="*/ 1092 w 1145"/>
              <a:gd name="T115" fmla="*/ 2 h 927"/>
              <a:gd name="T116" fmla="*/ 1121 w 1145"/>
              <a:gd name="T117" fmla="*/ 2 h 927"/>
              <a:gd name="T118" fmla="*/ 1139 w 1145"/>
              <a:gd name="T119" fmla="*/ 17 h 927"/>
              <a:gd name="T120" fmla="*/ 1144 w 1145"/>
              <a:gd name="T121" fmla="*/ 46 h 927"/>
              <a:gd name="T122" fmla="*/ 1134 w 1145"/>
              <a:gd name="T123" fmla="*/ 65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45" h="927">
                <a:moveTo>
                  <a:pt x="1134" y="65"/>
                </a:moveTo>
                <a:lnTo>
                  <a:pt x="1134" y="65"/>
                </a:lnTo>
                <a:lnTo>
                  <a:pt x="1122" y="76"/>
                </a:lnTo>
                <a:lnTo>
                  <a:pt x="1111" y="84"/>
                </a:lnTo>
                <a:lnTo>
                  <a:pt x="1099" y="93"/>
                </a:lnTo>
                <a:lnTo>
                  <a:pt x="1088" y="99"/>
                </a:lnTo>
                <a:lnTo>
                  <a:pt x="1076" y="105"/>
                </a:lnTo>
                <a:lnTo>
                  <a:pt x="1064" y="110"/>
                </a:lnTo>
                <a:lnTo>
                  <a:pt x="1053" y="112"/>
                </a:lnTo>
                <a:lnTo>
                  <a:pt x="1041" y="116"/>
                </a:lnTo>
                <a:lnTo>
                  <a:pt x="1018" y="118"/>
                </a:lnTo>
                <a:lnTo>
                  <a:pt x="996" y="119"/>
                </a:lnTo>
                <a:lnTo>
                  <a:pt x="974" y="119"/>
                </a:lnTo>
                <a:lnTo>
                  <a:pt x="954" y="118"/>
                </a:lnTo>
                <a:lnTo>
                  <a:pt x="954" y="118"/>
                </a:lnTo>
                <a:lnTo>
                  <a:pt x="920" y="116"/>
                </a:lnTo>
                <a:lnTo>
                  <a:pt x="904" y="117"/>
                </a:lnTo>
                <a:lnTo>
                  <a:pt x="889" y="118"/>
                </a:lnTo>
                <a:lnTo>
                  <a:pt x="874" y="122"/>
                </a:lnTo>
                <a:lnTo>
                  <a:pt x="860" y="128"/>
                </a:lnTo>
                <a:lnTo>
                  <a:pt x="846" y="136"/>
                </a:lnTo>
                <a:lnTo>
                  <a:pt x="833" y="148"/>
                </a:lnTo>
                <a:lnTo>
                  <a:pt x="833" y="148"/>
                </a:lnTo>
                <a:lnTo>
                  <a:pt x="821" y="162"/>
                </a:lnTo>
                <a:lnTo>
                  <a:pt x="812" y="175"/>
                </a:lnTo>
                <a:lnTo>
                  <a:pt x="806" y="190"/>
                </a:lnTo>
                <a:lnTo>
                  <a:pt x="803" y="204"/>
                </a:lnTo>
                <a:lnTo>
                  <a:pt x="801" y="220"/>
                </a:lnTo>
                <a:lnTo>
                  <a:pt x="800" y="235"/>
                </a:lnTo>
                <a:lnTo>
                  <a:pt x="803" y="269"/>
                </a:lnTo>
                <a:lnTo>
                  <a:pt x="803" y="269"/>
                </a:lnTo>
                <a:lnTo>
                  <a:pt x="804" y="290"/>
                </a:lnTo>
                <a:lnTo>
                  <a:pt x="804" y="312"/>
                </a:lnTo>
                <a:lnTo>
                  <a:pt x="803" y="333"/>
                </a:lnTo>
                <a:lnTo>
                  <a:pt x="800" y="356"/>
                </a:lnTo>
                <a:lnTo>
                  <a:pt x="797" y="368"/>
                </a:lnTo>
                <a:lnTo>
                  <a:pt x="794" y="379"/>
                </a:lnTo>
                <a:lnTo>
                  <a:pt x="789" y="391"/>
                </a:lnTo>
                <a:lnTo>
                  <a:pt x="783" y="404"/>
                </a:lnTo>
                <a:lnTo>
                  <a:pt x="777" y="414"/>
                </a:lnTo>
                <a:lnTo>
                  <a:pt x="769" y="427"/>
                </a:lnTo>
                <a:lnTo>
                  <a:pt x="760" y="437"/>
                </a:lnTo>
                <a:lnTo>
                  <a:pt x="749" y="450"/>
                </a:lnTo>
                <a:lnTo>
                  <a:pt x="749" y="450"/>
                </a:lnTo>
                <a:lnTo>
                  <a:pt x="739" y="459"/>
                </a:lnTo>
                <a:lnTo>
                  <a:pt x="726" y="469"/>
                </a:lnTo>
                <a:lnTo>
                  <a:pt x="716" y="476"/>
                </a:lnTo>
                <a:lnTo>
                  <a:pt x="704" y="483"/>
                </a:lnTo>
                <a:lnTo>
                  <a:pt x="691" y="488"/>
                </a:lnTo>
                <a:lnTo>
                  <a:pt x="681" y="493"/>
                </a:lnTo>
                <a:lnTo>
                  <a:pt x="668" y="497"/>
                </a:lnTo>
                <a:lnTo>
                  <a:pt x="656" y="499"/>
                </a:lnTo>
                <a:lnTo>
                  <a:pt x="635" y="503"/>
                </a:lnTo>
                <a:lnTo>
                  <a:pt x="612" y="504"/>
                </a:lnTo>
                <a:lnTo>
                  <a:pt x="590" y="503"/>
                </a:lnTo>
                <a:lnTo>
                  <a:pt x="569" y="501"/>
                </a:lnTo>
                <a:lnTo>
                  <a:pt x="569" y="501"/>
                </a:lnTo>
                <a:lnTo>
                  <a:pt x="535" y="500"/>
                </a:lnTo>
                <a:lnTo>
                  <a:pt x="520" y="500"/>
                </a:lnTo>
                <a:lnTo>
                  <a:pt x="505" y="503"/>
                </a:lnTo>
                <a:lnTo>
                  <a:pt x="491" y="506"/>
                </a:lnTo>
                <a:lnTo>
                  <a:pt x="476" y="512"/>
                </a:lnTo>
                <a:lnTo>
                  <a:pt x="463" y="521"/>
                </a:lnTo>
                <a:lnTo>
                  <a:pt x="448" y="532"/>
                </a:lnTo>
                <a:lnTo>
                  <a:pt x="448" y="532"/>
                </a:lnTo>
                <a:lnTo>
                  <a:pt x="437" y="546"/>
                </a:lnTo>
                <a:lnTo>
                  <a:pt x="429" y="560"/>
                </a:lnTo>
                <a:lnTo>
                  <a:pt x="423" y="574"/>
                </a:lnTo>
                <a:lnTo>
                  <a:pt x="419" y="589"/>
                </a:lnTo>
                <a:lnTo>
                  <a:pt x="417" y="603"/>
                </a:lnTo>
                <a:lnTo>
                  <a:pt x="417" y="619"/>
                </a:lnTo>
                <a:lnTo>
                  <a:pt x="418" y="653"/>
                </a:lnTo>
                <a:lnTo>
                  <a:pt x="418" y="653"/>
                </a:lnTo>
                <a:lnTo>
                  <a:pt x="419" y="673"/>
                </a:lnTo>
                <a:lnTo>
                  <a:pt x="421" y="695"/>
                </a:lnTo>
                <a:lnTo>
                  <a:pt x="419" y="718"/>
                </a:lnTo>
                <a:lnTo>
                  <a:pt x="416" y="741"/>
                </a:lnTo>
                <a:lnTo>
                  <a:pt x="413" y="752"/>
                </a:lnTo>
                <a:lnTo>
                  <a:pt x="410" y="764"/>
                </a:lnTo>
                <a:lnTo>
                  <a:pt x="405" y="775"/>
                </a:lnTo>
                <a:lnTo>
                  <a:pt x="400" y="787"/>
                </a:lnTo>
                <a:lnTo>
                  <a:pt x="393" y="799"/>
                </a:lnTo>
                <a:lnTo>
                  <a:pt x="385" y="810"/>
                </a:lnTo>
                <a:lnTo>
                  <a:pt x="376" y="822"/>
                </a:lnTo>
                <a:lnTo>
                  <a:pt x="366" y="833"/>
                </a:lnTo>
                <a:lnTo>
                  <a:pt x="366" y="833"/>
                </a:lnTo>
                <a:lnTo>
                  <a:pt x="354" y="844"/>
                </a:lnTo>
                <a:lnTo>
                  <a:pt x="343" y="852"/>
                </a:lnTo>
                <a:lnTo>
                  <a:pt x="331" y="861"/>
                </a:lnTo>
                <a:lnTo>
                  <a:pt x="319" y="867"/>
                </a:lnTo>
                <a:lnTo>
                  <a:pt x="308" y="873"/>
                </a:lnTo>
                <a:lnTo>
                  <a:pt x="296" y="878"/>
                </a:lnTo>
                <a:lnTo>
                  <a:pt x="285" y="881"/>
                </a:lnTo>
                <a:lnTo>
                  <a:pt x="273" y="884"/>
                </a:lnTo>
                <a:lnTo>
                  <a:pt x="250" y="886"/>
                </a:lnTo>
                <a:lnTo>
                  <a:pt x="228" y="887"/>
                </a:lnTo>
                <a:lnTo>
                  <a:pt x="206" y="887"/>
                </a:lnTo>
                <a:lnTo>
                  <a:pt x="186" y="886"/>
                </a:lnTo>
                <a:lnTo>
                  <a:pt x="186" y="886"/>
                </a:lnTo>
                <a:lnTo>
                  <a:pt x="152" y="885"/>
                </a:lnTo>
                <a:lnTo>
                  <a:pt x="136" y="885"/>
                </a:lnTo>
                <a:lnTo>
                  <a:pt x="121" y="886"/>
                </a:lnTo>
                <a:lnTo>
                  <a:pt x="106" y="890"/>
                </a:lnTo>
                <a:lnTo>
                  <a:pt x="92" y="896"/>
                </a:lnTo>
                <a:lnTo>
                  <a:pt x="78" y="904"/>
                </a:lnTo>
                <a:lnTo>
                  <a:pt x="65" y="916"/>
                </a:lnTo>
                <a:lnTo>
                  <a:pt x="65" y="916"/>
                </a:lnTo>
                <a:lnTo>
                  <a:pt x="59" y="921"/>
                </a:lnTo>
                <a:lnTo>
                  <a:pt x="52" y="925"/>
                </a:lnTo>
                <a:lnTo>
                  <a:pt x="44" y="927"/>
                </a:lnTo>
                <a:lnTo>
                  <a:pt x="37" y="927"/>
                </a:lnTo>
                <a:lnTo>
                  <a:pt x="30" y="927"/>
                </a:lnTo>
                <a:lnTo>
                  <a:pt x="23" y="925"/>
                </a:lnTo>
                <a:lnTo>
                  <a:pt x="17" y="921"/>
                </a:lnTo>
                <a:lnTo>
                  <a:pt x="11" y="916"/>
                </a:lnTo>
                <a:lnTo>
                  <a:pt x="11" y="916"/>
                </a:lnTo>
                <a:lnTo>
                  <a:pt x="6" y="910"/>
                </a:lnTo>
                <a:lnTo>
                  <a:pt x="2" y="903"/>
                </a:lnTo>
                <a:lnTo>
                  <a:pt x="0" y="897"/>
                </a:lnTo>
                <a:lnTo>
                  <a:pt x="0" y="890"/>
                </a:lnTo>
                <a:lnTo>
                  <a:pt x="0" y="881"/>
                </a:lnTo>
                <a:lnTo>
                  <a:pt x="2" y="875"/>
                </a:lnTo>
                <a:lnTo>
                  <a:pt x="6" y="868"/>
                </a:lnTo>
                <a:lnTo>
                  <a:pt x="11" y="862"/>
                </a:lnTo>
                <a:lnTo>
                  <a:pt x="11" y="862"/>
                </a:lnTo>
                <a:lnTo>
                  <a:pt x="21" y="851"/>
                </a:lnTo>
                <a:lnTo>
                  <a:pt x="34" y="843"/>
                </a:lnTo>
                <a:lnTo>
                  <a:pt x="44" y="834"/>
                </a:lnTo>
                <a:lnTo>
                  <a:pt x="56" y="828"/>
                </a:lnTo>
                <a:lnTo>
                  <a:pt x="69" y="822"/>
                </a:lnTo>
                <a:lnTo>
                  <a:pt x="79" y="818"/>
                </a:lnTo>
                <a:lnTo>
                  <a:pt x="92" y="815"/>
                </a:lnTo>
                <a:lnTo>
                  <a:pt x="102" y="811"/>
                </a:lnTo>
                <a:lnTo>
                  <a:pt x="125" y="809"/>
                </a:lnTo>
                <a:lnTo>
                  <a:pt x="148" y="807"/>
                </a:lnTo>
                <a:lnTo>
                  <a:pt x="170" y="807"/>
                </a:lnTo>
                <a:lnTo>
                  <a:pt x="191" y="809"/>
                </a:lnTo>
                <a:lnTo>
                  <a:pt x="191" y="809"/>
                </a:lnTo>
                <a:lnTo>
                  <a:pt x="225" y="811"/>
                </a:lnTo>
                <a:lnTo>
                  <a:pt x="240" y="810"/>
                </a:lnTo>
                <a:lnTo>
                  <a:pt x="255" y="809"/>
                </a:lnTo>
                <a:lnTo>
                  <a:pt x="269" y="805"/>
                </a:lnTo>
                <a:lnTo>
                  <a:pt x="284" y="799"/>
                </a:lnTo>
                <a:lnTo>
                  <a:pt x="297" y="791"/>
                </a:lnTo>
                <a:lnTo>
                  <a:pt x="312" y="778"/>
                </a:lnTo>
                <a:lnTo>
                  <a:pt x="312" y="778"/>
                </a:lnTo>
                <a:lnTo>
                  <a:pt x="323" y="765"/>
                </a:lnTo>
                <a:lnTo>
                  <a:pt x="331" y="752"/>
                </a:lnTo>
                <a:lnTo>
                  <a:pt x="337" y="737"/>
                </a:lnTo>
                <a:lnTo>
                  <a:pt x="341" y="723"/>
                </a:lnTo>
                <a:lnTo>
                  <a:pt x="343" y="707"/>
                </a:lnTo>
                <a:lnTo>
                  <a:pt x="343" y="691"/>
                </a:lnTo>
                <a:lnTo>
                  <a:pt x="342" y="657"/>
                </a:lnTo>
                <a:lnTo>
                  <a:pt x="342" y="657"/>
                </a:lnTo>
                <a:lnTo>
                  <a:pt x="341" y="637"/>
                </a:lnTo>
                <a:lnTo>
                  <a:pt x="339" y="615"/>
                </a:lnTo>
                <a:lnTo>
                  <a:pt x="341" y="593"/>
                </a:lnTo>
                <a:lnTo>
                  <a:pt x="344" y="570"/>
                </a:lnTo>
                <a:lnTo>
                  <a:pt x="347" y="558"/>
                </a:lnTo>
                <a:lnTo>
                  <a:pt x="350" y="547"/>
                </a:lnTo>
                <a:lnTo>
                  <a:pt x="355" y="535"/>
                </a:lnTo>
                <a:lnTo>
                  <a:pt x="360" y="524"/>
                </a:lnTo>
                <a:lnTo>
                  <a:pt x="367" y="512"/>
                </a:lnTo>
                <a:lnTo>
                  <a:pt x="375" y="500"/>
                </a:lnTo>
                <a:lnTo>
                  <a:pt x="384" y="489"/>
                </a:lnTo>
                <a:lnTo>
                  <a:pt x="394" y="479"/>
                </a:lnTo>
                <a:lnTo>
                  <a:pt x="394" y="479"/>
                </a:lnTo>
                <a:lnTo>
                  <a:pt x="406" y="468"/>
                </a:lnTo>
                <a:lnTo>
                  <a:pt x="417" y="458"/>
                </a:lnTo>
                <a:lnTo>
                  <a:pt x="429" y="451"/>
                </a:lnTo>
                <a:lnTo>
                  <a:pt x="440" y="443"/>
                </a:lnTo>
                <a:lnTo>
                  <a:pt x="452" y="439"/>
                </a:lnTo>
                <a:lnTo>
                  <a:pt x="464" y="434"/>
                </a:lnTo>
                <a:lnTo>
                  <a:pt x="475" y="430"/>
                </a:lnTo>
                <a:lnTo>
                  <a:pt x="487" y="428"/>
                </a:lnTo>
                <a:lnTo>
                  <a:pt x="510" y="424"/>
                </a:lnTo>
                <a:lnTo>
                  <a:pt x="532" y="423"/>
                </a:lnTo>
                <a:lnTo>
                  <a:pt x="554" y="424"/>
                </a:lnTo>
                <a:lnTo>
                  <a:pt x="574" y="425"/>
                </a:lnTo>
                <a:lnTo>
                  <a:pt x="574" y="425"/>
                </a:lnTo>
                <a:lnTo>
                  <a:pt x="608" y="427"/>
                </a:lnTo>
                <a:lnTo>
                  <a:pt x="624" y="427"/>
                </a:lnTo>
                <a:lnTo>
                  <a:pt x="639" y="424"/>
                </a:lnTo>
                <a:lnTo>
                  <a:pt x="654" y="420"/>
                </a:lnTo>
                <a:lnTo>
                  <a:pt x="668" y="414"/>
                </a:lnTo>
                <a:lnTo>
                  <a:pt x="682" y="406"/>
                </a:lnTo>
                <a:lnTo>
                  <a:pt x="695" y="395"/>
                </a:lnTo>
                <a:lnTo>
                  <a:pt x="695" y="395"/>
                </a:lnTo>
                <a:lnTo>
                  <a:pt x="707" y="382"/>
                </a:lnTo>
                <a:lnTo>
                  <a:pt x="716" y="367"/>
                </a:lnTo>
                <a:lnTo>
                  <a:pt x="722" y="353"/>
                </a:lnTo>
                <a:lnTo>
                  <a:pt x="725" y="338"/>
                </a:lnTo>
                <a:lnTo>
                  <a:pt x="726" y="324"/>
                </a:lnTo>
                <a:lnTo>
                  <a:pt x="728" y="308"/>
                </a:lnTo>
                <a:lnTo>
                  <a:pt x="725" y="274"/>
                </a:lnTo>
                <a:lnTo>
                  <a:pt x="725" y="274"/>
                </a:lnTo>
                <a:lnTo>
                  <a:pt x="724" y="254"/>
                </a:lnTo>
                <a:lnTo>
                  <a:pt x="724" y="232"/>
                </a:lnTo>
                <a:lnTo>
                  <a:pt x="725" y="209"/>
                </a:lnTo>
                <a:lnTo>
                  <a:pt x="728" y="187"/>
                </a:lnTo>
                <a:lnTo>
                  <a:pt x="731" y="175"/>
                </a:lnTo>
                <a:lnTo>
                  <a:pt x="734" y="163"/>
                </a:lnTo>
                <a:lnTo>
                  <a:pt x="739" y="152"/>
                </a:lnTo>
                <a:lnTo>
                  <a:pt x="745" y="140"/>
                </a:lnTo>
                <a:lnTo>
                  <a:pt x="751" y="128"/>
                </a:lnTo>
                <a:lnTo>
                  <a:pt x="759" y="117"/>
                </a:lnTo>
                <a:lnTo>
                  <a:pt x="768" y="105"/>
                </a:lnTo>
                <a:lnTo>
                  <a:pt x="778" y="94"/>
                </a:lnTo>
                <a:lnTo>
                  <a:pt x="778" y="94"/>
                </a:lnTo>
                <a:lnTo>
                  <a:pt x="789" y="83"/>
                </a:lnTo>
                <a:lnTo>
                  <a:pt x="801" y="75"/>
                </a:lnTo>
                <a:lnTo>
                  <a:pt x="812" y="66"/>
                </a:lnTo>
                <a:lnTo>
                  <a:pt x="824" y="60"/>
                </a:lnTo>
                <a:lnTo>
                  <a:pt x="837" y="54"/>
                </a:lnTo>
                <a:lnTo>
                  <a:pt x="847" y="49"/>
                </a:lnTo>
                <a:lnTo>
                  <a:pt x="860" y="47"/>
                </a:lnTo>
                <a:lnTo>
                  <a:pt x="870" y="43"/>
                </a:lnTo>
                <a:lnTo>
                  <a:pt x="893" y="41"/>
                </a:lnTo>
                <a:lnTo>
                  <a:pt x="916" y="40"/>
                </a:lnTo>
                <a:lnTo>
                  <a:pt x="938" y="40"/>
                </a:lnTo>
                <a:lnTo>
                  <a:pt x="959" y="41"/>
                </a:lnTo>
                <a:lnTo>
                  <a:pt x="959" y="41"/>
                </a:lnTo>
                <a:lnTo>
                  <a:pt x="993" y="43"/>
                </a:lnTo>
                <a:lnTo>
                  <a:pt x="1008" y="42"/>
                </a:lnTo>
                <a:lnTo>
                  <a:pt x="1023" y="41"/>
                </a:lnTo>
                <a:lnTo>
                  <a:pt x="1037" y="37"/>
                </a:lnTo>
                <a:lnTo>
                  <a:pt x="1052" y="31"/>
                </a:lnTo>
                <a:lnTo>
                  <a:pt x="1066" y="23"/>
                </a:lnTo>
                <a:lnTo>
                  <a:pt x="1080" y="11"/>
                </a:lnTo>
                <a:lnTo>
                  <a:pt x="1080" y="11"/>
                </a:lnTo>
                <a:lnTo>
                  <a:pt x="1086" y="6"/>
                </a:lnTo>
                <a:lnTo>
                  <a:pt x="1092" y="2"/>
                </a:lnTo>
                <a:lnTo>
                  <a:pt x="1099" y="0"/>
                </a:lnTo>
                <a:lnTo>
                  <a:pt x="1106" y="0"/>
                </a:lnTo>
                <a:lnTo>
                  <a:pt x="1113" y="0"/>
                </a:lnTo>
                <a:lnTo>
                  <a:pt x="1121" y="2"/>
                </a:lnTo>
                <a:lnTo>
                  <a:pt x="1128" y="6"/>
                </a:lnTo>
                <a:lnTo>
                  <a:pt x="1134" y="11"/>
                </a:lnTo>
                <a:lnTo>
                  <a:pt x="1134" y="11"/>
                </a:lnTo>
                <a:lnTo>
                  <a:pt x="1139" y="17"/>
                </a:lnTo>
                <a:lnTo>
                  <a:pt x="1142" y="24"/>
                </a:lnTo>
                <a:lnTo>
                  <a:pt x="1144" y="31"/>
                </a:lnTo>
                <a:lnTo>
                  <a:pt x="1145" y="38"/>
                </a:lnTo>
                <a:lnTo>
                  <a:pt x="1144" y="46"/>
                </a:lnTo>
                <a:lnTo>
                  <a:pt x="1142" y="53"/>
                </a:lnTo>
                <a:lnTo>
                  <a:pt x="1139" y="59"/>
                </a:lnTo>
                <a:lnTo>
                  <a:pt x="1134" y="65"/>
                </a:lnTo>
                <a:lnTo>
                  <a:pt x="1134" y="6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 534">
            <a:extLst>
              <a:ext uri="{FF2B5EF4-FFF2-40B4-BE49-F238E27FC236}">
                <a16:creationId xmlns:a16="http://schemas.microsoft.com/office/drawing/2014/main" id="{99FC4A0F-BD45-BB44-A7CE-DD68054B6BC7}"/>
              </a:ext>
            </a:extLst>
          </p:cNvPr>
          <p:cNvSpPr>
            <a:spLocks/>
          </p:cNvSpPr>
          <p:nvPr/>
        </p:nvSpPr>
        <p:spPr bwMode="auto">
          <a:xfrm>
            <a:off x="9339937" y="278732"/>
            <a:ext cx="238610" cy="238610"/>
          </a:xfrm>
          <a:custGeom>
            <a:avLst/>
            <a:gdLst>
              <a:gd name="T0" fmla="*/ 575 w 575"/>
              <a:gd name="T1" fmla="*/ 188 h 575"/>
              <a:gd name="T2" fmla="*/ 387 w 575"/>
              <a:gd name="T3" fmla="*/ 188 h 575"/>
              <a:gd name="T4" fmla="*/ 387 w 575"/>
              <a:gd name="T5" fmla="*/ 0 h 575"/>
              <a:gd name="T6" fmla="*/ 188 w 575"/>
              <a:gd name="T7" fmla="*/ 0 h 575"/>
              <a:gd name="T8" fmla="*/ 188 w 575"/>
              <a:gd name="T9" fmla="*/ 188 h 575"/>
              <a:gd name="T10" fmla="*/ 0 w 575"/>
              <a:gd name="T11" fmla="*/ 188 h 575"/>
              <a:gd name="T12" fmla="*/ 0 w 575"/>
              <a:gd name="T13" fmla="*/ 385 h 575"/>
              <a:gd name="T14" fmla="*/ 188 w 575"/>
              <a:gd name="T15" fmla="*/ 385 h 575"/>
              <a:gd name="T16" fmla="*/ 188 w 575"/>
              <a:gd name="T17" fmla="*/ 575 h 575"/>
              <a:gd name="T18" fmla="*/ 387 w 575"/>
              <a:gd name="T19" fmla="*/ 575 h 575"/>
              <a:gd name="T20" fmla="*/ 387 w 575"/>
              <a:gd name="T21" fmla="*/ 385 h 575"/>
              <a:gd name="T22" fmla="*/ 575 w 575"/>
              <a:gd name="T23" fmla="*/ 385 h 575"/>
              <a:gd name="T24" fmla="*/ 575 w 575"/>
              <a:gd name="T25" fmla="*/ 188 h 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75" h="575">
                <a:moveTo>
                  <a:pt x="575" y="188"/>
                </a:moveTo>
                <a:lnTo>
                  <a:pt x="387" y="188"/>
                </a:lnTo>
                <a:lnTo>
                  <a:pt x="387" y="0"/>
                </a:lnTo>
                <a:lnTo>
                  <a:pt x="188" y="0"/>
                </a:lnTo>
                <a:lnTo>
                  <a:pt x="188" y="188"/>
                </a:lnTo>
                <a:lnTo>
                  <a:pt x="0" y="188"/>
                </a:lnTo>
                <a:lnTo>
                  <a:pt x="0" y="385"/>
                </a:lnTo>
                <a:lnTo>
                  <a:pt x="188" y="385"/>
                </a:lnTo>
                <a:lnTo>
                  <a:pt x="188" y="575"/>
                </a:lnTo>
                <a:lnTo>
                  <a:pt x="387" y="575"/>
                </a:lnTo>
                <a:lnTo>
                  <a:pt x="387" y="385"/>
                </a:lnTo>
                <a:lnTo>
                  <a:pt x="575" y="385"/>
                </a:lnTo>
                <a:lnTo>
                  <a:pt x="575" y="18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 319">
            <a:extLst>
              <a:ext uri="{FF2B5EF4-FFF2-40B4-BE49-F238E27FC236}">
                <a16:creationId xmlns:a16="http://schemas.microsoft.com/office/drawing/2014/main" id="{73F4D933-94A7-AC4C-8EDA-358D6D8DA450}"/>
              </a:ext>
            </a:extLst>
          </p:cNvPr>
          <p:cNvSpPr>
            <a:spLocks/>
          </p:cNvSpPr>
          <p:nvPr/>
        </p:nvSpPr>
        <p:spPr bwMode="auto">
          <a:xfrm>
            <a:off x="9770029" y="516331"/>
            <a:ext cx="195263" cy="195263"/>
          </a:xfrm>
          <a:custGeom>
            <a:avLst/>
            <a:gdLst>
              <a:gd name="T0" fmla="*/ 245 w 245"/>
              <a:gd name="T1" fmla="*/ 123 h 245"/>
              <a:gd name="T2" fmla="*/ 243 w 245"/>
              <a:gd name="T3" fmla="*/ 147 h 245"/>
              <a:gd name="T4" fmla="*/ 235 w 245"/>
              <a:gd name="T5" fmla="*/ 170 h 245"/>
              <a:gd name="T6" fmla="*/ 225 w 245"/>
              <a:gd name="T7" fmla="*/ 191 h 245"/>
              <a:gd name="T8" fmla="*/ 209 w 245"/>
              <a:gd name="T9" fmla="*/ 209 h 245"/>
              <a:gd name="T10" fmla="*/ 191 w 245"/>
              <a:gd name="T11" fmla="*/ 225 h 245"/>
              <a:gd name="T12" fmla="*/ 170 w 245"/>
              <a:gd name="T13" fmla="*/ 236 h 245"/>
              <a:gd name="T14" fmla="*/ 147 w 245"/>
              <a:gd name="T15" fmla="*/ 243 h 245"/>
              <a:gd name="T16" fmla="*/ 123 w 245"/>
              <a:gd name="T17" fmla="*/ 245 h 245"/>
              <a:gd name="T18" fmla="*/ 110 w 245"/>
              <a:gd name="T19" fmla="*/ 245 h 245"/>
              <a:gd name="T20" fmla="*/ 86 w 245"/>
              <a:gd name="T21" fmla="*/ 240 h 245"/>
              <a:gd name="T22" fmla="*/ 64 w 245"/>
              <a:gd name="T23" fmla="*/ 231 h 245"/>
              <a:gd name="T24" fmla="*/ 44 w 245"/>
              <a:gd name="T25" fmla="*/ 217 h 245"/>
              <a:gd name="T26" fmla="*/ 27 w 245"/>
              <a:gd name="T27" fmla="*/ 200 h 245"/>
              <a:gd name="T28" fmla="*/ 14 w 245"/>
              <a:gd name="T29" fmla="*/ 181 h 245"/>
              <a:gd name="T30" fmla="*/ 6 w 245"/>
              <a:gd name="T31" fmla="*/ 159 h 245"/>
              <a:gd name="T32" fmla="*/ 1 w 245"/>
              <a:gd name="T33" fmla="*/ 135 h 245"/>
              <a:gd name="T34" fmla="*/ 0 w 245"/>
              <a:gd name="T35" fmla="*/ 123 h 245"/>
              <a:gd name="T36" fmla="*/ 2 w 245"/>
              <a:gd name="T37" fmla="*/ 98 h 245"/>
              <a:gd name="T38" fmla="*/ 9 w 245"/>
              <a:gd name="T39" fmla="*/ 75 h 245"/>
              <a:gd name="T40" fmla="*/ 21 w 245"/>
              <a:gd name="T41" fmla="*/ 54 h 245"/>
              <a:gd name="T42" fmla="*/ 36 w 245"/>
              <a:gd name="T43" fmla="*/ 36 h 245"/>
              <a:gd name="T44" fmla="*/ 54 w 245"/>
              <a:gd name="T45" fmla="*/ 22 h 245"/>
              <a:gd name="T46" fmla="*/ 75 w 245"/>
              <a:gd name="T47" fmla="*/ 9 h 245"/>
              <a:gd name="T48" fmla="*/ 98 w 245"/>
              <a:gd name="T49" fmla="*/ 2 h 245"/>
              <a:gd name="T50" fmla="*/ 123 w 245"/>
              <a:gd name="T51" fmla="*/ 0 h 245"/>
              <a:gd name="T52" fmla="*/ 135 w 245"/>
              <a:gd name="T53" fmla="*/ 1 h 245"/>
              <a:gd name="T54" fmla="*/ 159 w 245"/>
              <a:gd name="T55" fmla="*/ 6 h 245"/>
              <a:gd name="T56" fmla="*/ 181 w 245"/>
              <a:gd name="T57" fmla="*/ 14 h 245"/>
              <a:gd name="T58" fmla="*/ 200 w 245"/>
              <a:gd name="T59" fmla="*/ 28 h 245"/>
              <a:gd name="T60" fmla="*/ 217 w 245"/>
              <a:gd name="T61" fmla="*/ 44 h 245"/>
              <a:gd name="T62" fmla="*/ 231 w 245"/>
              <a:gd name="T63" fmla="*/ 64 h 245"/>
              <a:gd name="T64" fmla="*/ 240 w 245"/>
              <a:gd name="T65" fmla="*/ 87 h 245"/>
              <a:gd name="T66" fmla="*/ 245 w 245"/>
              <a:gd name="T67" fmla="*/ 110 h 245"/>
              <a:gd name="T68" fmla="*/ 245 w 245"/>
              <a:gd name="T69" fmla="*/ 123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45" h="245">
                <a:moveTo>
                  <a:pt x="245" y="123"/>
                </a:moveTo>
                <a:lnTo>
                  <a:pt x="245" y="123"/>
                </a:lnTo>
                <a:lnTo>
                  <a:pt x="245" y="135"/>
                </a:lnTo>
                <a:lnTo>
                  <a:pt x="243" y="147"/>
                </a:lnTo>
                <a:lnTo>
                  <a:pt x="240" y="159"/>
                </a:lnTo>
                <a:lnTo>
                  <a:pt x="235" y="170"/>
                </a:lnTo>
                <a:lnTo>
                  <a:pt x="231" y="181"/>
                </a:lnTo>
                <a:lnTo>
                  <a:pt x="225" y="191"/>
                </a:lnTo>
                <a:lnTo>
                  <a:pt x="217" y="200"/>
                </a:lnTo>
                <a:lnTo>
                  <a:pt x="209" y="209"/>
                </a:lnTo>
                <a:lnTo>
                  <a:pt x="200" y="217"/>
                </a:lnTo>
                <a:lnTo>
                  <a:pt x="191" y="225"/>
                </a:lnTo>
                <a:lnTo>
                  <a:pt x="181" y="231"/>
                </a:lnTo>
                <a:lnTo>
                  <a:pt x="170" y="236"/>
                </a:lnTo>
                <a:lnTo>
                  <a:pt x="159" y="240"/>
                </a:lnTo>
                <a:lnTo>
                  <a:pt x="147" y="243"/>
                </a:lnTo>
                <a:lnTo>
                  <a:pt x="135" y="245"/>
                </a:lnTo>
                <a:lnTo>
                  <a:pt x="123" y="245"/>
                </a:lnTo>
                <a:lnTo>
                  <a:pt x="123" y="245"/>
                </a:lnTo>
                <a:lnTo>
                  <a:pt x="110" y="245"/>
                </a:lnTo>
                <a:lnTo>
                  <a:pt x="98" y="243"/>
                </a:lnTo>
                <a:lnTo>
                  <a:pt x="86" y="240"/>
                </a:lnTo>
                <a:lnTo>
                  <a:pt x="75" y="236"/>
                </a:lnTo>
                <a:lnTo>
                  <a:pt x="64" y="231"/>
                </a:lnTo>
                <a:lnTo>
                  <a:pt x="54" y="225"/>
                </a:lnTo>
                <a:lnTo>
                  <a:pt x="44" y="217"/>
                </a:lnTo>
                <a:lnTo>
                  <a:pt x="36" y="209"/>
                </a:lnTo>
                <a:lnTo>
                  <a:pt x="27" y="200"/>
                </a:lnTo>
                <a:lnTo>
                  <a:pt x="21" y="191"/>
                </a:lnTo>
                <a:lnTo>
                  <a:pt x="14" y="181"/>
                </a:lnTo>
                <a:lnTo>
                  <a:pt x="9" y="170"/>
                </a:lnTo>
                <a:lnTo>
                  <a:pt x="6" y="159"/>
                </a:lnTo>
                <a:lnTo>
                  <a:pt x="2" y="147"/>
                </a:lnTo>
                <a:lnTo>
                  <a:pt x="1" y="135"/>
                </a:lnTo>
                <a:lnTo>
                  <a:pt x="0" y="123"/>
                </a:lnTo>
                <a:lnTo>
                  <a:pt x="0" y="123"/>
                </a:lnTo>
                <a:lnTo>
                  <a:pt x="1" y="110"/>
                </a:lnTo>
                <a:lnTo>
                  <a:pt x="2" y="98"/>
                </a:lnTo>
                <a:lnTo>
                  <a:pt x="6" y="87"/>
                </a:lnTo>
                <a:lnTo>
                  <a:pt x="9" y="75"/>
                </a:lnTo>
                <a:lnTo>
                  <a:pt x="14" y="64"/>
                </a:lnTo>
                <a:lnTo>
                  <a:pt x="21" y="54"/>
                </a:lnTo>
                <a:lnTo>
                  <a:pt x="27" y="44"/>
                </a:lnTo>
                <a:lnTo>
                  <a:pt x="36" y="36"/>
                </a:lnTo>
                <a:lnTo>
                  <a:pt x="44" y="28"/>
                </a:lnTo>
                <a:lnTo>
                  <a:pt x="54" y="22"/>
                </a:lnTo>
                <a:lnTo>
                  <a:pt x="64" y="14"/>
                </a:lnTo>
                <a:lnTo>
                  <a:pt x="75" y="9"/>
                </a:lnTo>
                <a:lnTo>
                  <a:pt x="86" y="6"/>
                </a:lnTo>
                <a:lnTo>
                  <a:pt x="98" y="2"/>
                </a:lnTo>
                <a:lnTo>
                  <a:pt x="110" y="1"/>
                </a:lnTo>
                <a:lnTo>
                  <a:pt x="123" y="0"/>
                </a:lnTo>
                <a:lnTo>
                  <a:pt x="123" y="0"/>
                </a:lnTo>
                <a:lnTo>
                  <a:pt x="135" y="1"/>
                </a:lnTo>
                <a:lnTo>
                  <a:pt x="147" y="2"/>
                </a:lnTo>
                <a:lnTo>
                  <a:pt x="159" y="6"/>
                </a:lnTo>
                <a:lnTo>
                  <a:pt x="170" y="9"/>
                </a:lnTo>
                <a:lnTo>
                  <a:pt x="181" y="14"/>
                </a:lnTo>
                <a:lnTo>
                  <a:pt x="191" y="22"/>
                </a:lnTo>
                <a:lnTo>
                  <a:pt x="200" y="28"/>
                </a:lnTo>
                <a:lnTo>
                  <a:pt x="209" y="36"/>
                </a:lnTo>
                <a:lnTo>
                  <a:pt x="217" y="44"/>
                </a:lnTo>
                <a:lnTo>
                  <a:pt x="225" y="54"/>
                </a:lnTo>
                <a:lnTo>
                  <a:pt x="231" y="64"/>
                </a:lnTo>
                <a:lnTo>
                  <a:pt x="235" y="75"/>
                </a:lnTo>
                <a:lnTo>
                  <a:pt x="240" y="87"/>
                </a:lnTo>
                <a:lnTo>
                  <a:pt x="243" y="98"/>
                </a:lnTo>
                <a:lnTo>
                  <a:pt x="245" y="110"/>
                </a:lnTo>
                <a:lnTo>
                  <a:pt x="245" y="123"/>
                </a:lnTo>
                <a:lnTo>
                  <a:pt x="245" y="123"/>
                </a:lnTo>
                <a:close/>
              </a:path>
            </a:pathLst>
          </a:custGeom>
          <a:noFill/>
          <a:ln w="3810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 320">
            <a:extLst>
              <a:ext uri="{FF2B5EF4-FFF2-40B4-BE49-F238E27FC236}">
                <a16:creationId xmlns:a16="http://schemas.microsoft.com/office/drawing/2014/main" id="{BA6B5706-F609-194E-86B4-15E50DF371AB}"/>
              </a:ext>
            </a:extLst>
          </p:cNvPr>
          <p:cNvSpPr>
            <a:spLocks/>
          </p:cNvSpPr>
          <p:nvPr/>
        </p:nvSpPr>
        <p:spPr bwMode="auto">
          <a:xfrm rot="2493426">
            <a:off x="11857367" y="85327"/>
            <a:ext cx="673927" cy="546682"/>
          </a:xfrm>
          <a:custGeom>
            <a:avLst/>
            <a:gdLst>
              <a:gd name="T0" fmla="*/ 1111 w 1145"/>
              <a:gd name="T1" fmla="*/ 84 h 927"/>
              <a:gd name="T2" fmla="*/ 1064 w 1145"/>
              <a:gd name="T3" fmla="*/ 110 h 927"/>
              <a:gd name="T4" fmla="*/ 996 w 1145"/>
              <a:gd name="T5" fmla="*/ 119 h 927"/>
              <a:gd name="T6" fmla="*/ 920 w 1145"/>
              <a:gd name="T7" fmla="*/ 116 h 927"/>
              <a:gd name="T8" fmla="*/ 860 w 1145"/>
              <a:gd name="T9" fmla="*/ 128 h 927"/>
              <a:gd name="T10" fmla="*/ 821 w 1145"/>
              <a:gd name="T11" fmla="*/ 162 h 927"/>
              <a:gd name="T12" fmla="*/ 801 w 1145"/>
              <a:gd name="T13" fmla="*/ 220 h 927"/>
              <a:gd name="T14" fmla="*/ 804 w 1145"/>
              <a:gd name="T15" fmla="*/ 290 h 927"/>
              <a:gd name="T16" fmla="*/ 797 w 1145"/>
              <a:gd name="T17" fmla="*/ 368 h 927"/>
              <a:gd name="T18" fmla="*/ 777 w 1145"/>
              <a:gd name="T19" fmla="*/ 414 h 927"/>
              <a:gd name="T20" fmla="*/ 749 w 1145"/>
              <a:gd name="T21" fmla="*/ 450 h 927"/>
              <a:gd name="T22" fmla="*/ 704 w 1145"/>
              <a:gd name="T23" fmla="*/ 483 h 927"/>
              <a:gd name="T24" fmla="*/ 656 w 1145"/>
              <a:gd name="T25" fmla="*/ 499 h 927"/>
              <a:gd name="T26" fmla="*/ 569 w 1145"/>
              <a:gd name="T27" fmla="*/ 501 h 927"/>
              <a:gd name="T28" fmla="*/ 505 w 1145"/>
              <a:gd name="T29" fmla="*/ 503 h 927"/>
              <a:gd name="T30" fmla="*/ 448 w 1145"/>
              <a:gd name="T31" fmla="*/ 532 h 927"/>
              <a:gd name="T32" fmla="*/ 423 w 1145"/>
              <a:gd name="T33" fmla="*/ 574 h 927"/>
              <a:gd name="T34" fmla="*/ 418 w 1145"/>
              <a:gd name="T35" fmla="*/ 653 h 927"/>
              <a:gd name="T36" fmla="*/ 419 w 1145"/>
              <a:gd name="T37" fmla="*/ 718 h 927"/>
              <a:gd name="T38" fmla="*/ 405 w 1145"/>
              <a:gd name="T39" fmla="*/ 775 h 927"/>
              <a:gd name="T40" fmla="*/ 376 w 1145"/>
              <a:gd name="T41" fmla="*/ 822 h 927"/>
              <a:gd name="T42" fmla="*/ 343 w 1145"/>
              <a:gd name="T43" fmla="*/ 852 h 927"/>
              <a:gd name="T44" fmla="*/ 296 w 1145"/>
              <a:gd name="T45" fmla="*/ 878 h 927"/>
              <a:gd name="T46" fmla="*/ 228 w 1145"/>
              <a:gd name="T47" fmla="*/ 887 h 927"/>
              <a:gd name="T48" fmla="*/ 152 w 1145"/>
              <a:gd name="T49" fmla="*/ 885 h 927"/>
              <a:gd name="T50" fmla="*/ 92 w 1145"/>
              <a:gd name="T51" fmla="*/ 896 h 927"/>
              <a:gd name="T52" fmla="*/ 59 w 1145"/>
              <a:gd name="T53" fmla="*/ 921 h 927"/>
              <a:gd name="T54" fmla="*/ 30 w 1145"/>
              <a:gd name="T55" fmla="*/ 927 h 927"/>
              <a:gd name="T56" fmla="*/ 11 w 1145"/>
              <a:gd name="T57" fmla="*/ 916 h 927"/>
              <a:gd name="T58" fmla="*/ 0 w 1145"/>
              <a:gd name="T59" fmla="*/ 890 h 927"/>
              <a:gd name="T60" fmla="*/ 11 w 1145"/>
              <a:gd name="T61" fmla="*/ 862 h 927"/>
              <a:gd name="T62" fmla="*/ 44 w 1145"/>
              <a:gd name="T63" fmla="*/ 834 h 927"/>
              <a:gd name="T64" fmla="*/ 92 w 1145"/>
              <a:gd name="T65" fmla="*/ 815 h 927"/>
              <a:gd name="T66" fmla="*/ 170 w 1145"/>
              <a:gd name="T67" fmla="*/ 807 h 927"/>
              <a:gd name="T68" fmla="*/ 240 w 1145"/>
              <a:gd name="T69" fmla="*/ 810 h 927"/>
              <a:gd name="T70" fmla="*/ 297 w 1145"/>
              <a:gd name="T71" fmla="*/ 791 h 927"/>
              <a:gd name="T72" fmla="*/ 331 w 1145"/>
              <a:gd name="T73" fmla="*/ 752 h 927"/>
              <a:gd name="T74" fmla="*/ 343 w 1145"/>
              <a:gd name="T75" fmla="*/ 691 h 927"/>
              <a:gd name="T76" fmla="*/ 339 w 1145"/>
              <a:gd name="T77" fmla="*/ 615 h 927"/>
              <a:gd name="T78" fmla="*/ 350 w 1145"/>
              <a:gd name="T79" fmla="*/ 547 h 927"/>
              <a:gd name="T80" fmla="*/ 375 w 1145"/>
              <a:gd name="T81" fmla="*/ 500 h 927"/>
              <a:gd name="T82" fmla="*/ 406 w 1145"/>
              <a:gd name="T83" fmla="*/ 468 h 927"/>
              <a:gd name="T84" fmla="*/ 452 w 1145"/>
              <a:gd name="T85" fmla="*/ 439 h 927"/>
              <a:gd name="T86" fmla="*/ 510 w 1145"/>
              <a:gd name="T87" fmla="*/ 424 h 927"/>
              <a:gd name="T88" fmla="*/ 574 w 1145"/>
              <a:gd name="T89" fmla="*/ 425 h 927"/>
              <a:gd name="T90" fmla="*/ 654 w 1145"/>
              <a:gd name="T91" fmla="*/ 420 h 927"/>
              <a:gd name="T92" fmla="*/ 695 w 1145"/>
              <a:gd name="T93" fmla="*/ 395 h 927"/>
              <a:gd name="T94" fmla="*/ 725 w 1145"/>
              <a:gd name="T95" fmla="*/ 338 h 927"/>
              <a:gd name="T96" fmla="*/ 725 w 1145"/>
              <a:gd name="T97" fmla="*/ 274 h 927"/>
              <a:gd name="T98" fmla="*/ 728 w 1145"/>
              <a:gd name="T99" fmla="*/ 187 h 927"/>
              <a:gd name="T100" fmla="*/ 745 w 1145"/>
              <a:gd name="T101" fmla="*/ 140 h 927"/>
              <a:gd name="T102" fmla="*/ 778 w 1145"/>
              <a:gd name="T103" fmla="*/ 94 h 927"/>
              <a:gd name="T104" fmla="*/ 812 w 1145"/>
              <a:gd name="T105" fmla="*/ 66 h 927"/>
              <a:gd name="T106" fmla="*/ 860 w 1145"/>
              <a:gd name="T107" fmla="*/ 47 h 927"/>
              <a:gd name="T108" fmla="*/ 938 w 1145"/>
              <a:gd name="T109" fmla="*/ 40 h 927"/>
              <a:gd name="T110" fmla="*/ 1008 w 1145"/>
              <a:gd name="T111" fmla="*/ 42 h 927"/>
              <a:gd name="T112" fmla="*/ 1066 w 1145"/>
              <a:gd name="T113" fmla="*/ 23 h 927"/>
              <a:gd name="T114" fmla="*/ 1092 w 1145"/>
              <a:gd name="T115" fmla="*/ 2 h 927"/>
              <a:gd name="T116" fmla="*/ 1121 w 1145"/>
              <a:gd name="T117" fmla="*/ 2 h 927"/>
              <a:gd name="T118" fmla="*/ 1139 w 1145"/>
              <a:gd name="T119" fmla="*/ 17 h 927"/>
              <a:gd name="T120" fmla="*/ 1144 w 1145"/>
              <a:gd name="T121" fmla="*/ 46 h 927"/>
              <a:gd name="T122" fmla="*/ 1134 w 1145"/>
              <a:gd name="T123" fmla="*/ 65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45" h="927">
                <a:moveTo>
                  <a:pt x="1134" y="65"/>
                </a:moveTo>
                <a:lnTo>
                  <a:pt x="1134" y="65"/>
                </a:lnTo>
                <a:lnTo>
                  <a:pt x="1122" y="76"/>
                </a:lnTo>
                <a:lnTo>
                  <a:pt x="1111" y="84"/>
                </a:lnTo>
                <a:lnTo>
                  <a:pt x="1099" y="93"/>
                </a:lnTo>
                <a:lnTo>
                  <a:pt x="1088" y="99"/>
                </a:lnTo>
                <a:lnTo>
                  <a:pt x="1076" y="105"/>
                </a:lnTo>
                <a:lnTo>
                  <a:pt x="1064" y="110"/>
                </a:lnTo>
                <a:lnTo>
                  <a:pt x="1053" y="112"/>
                </a:lnTo>
                <a:lnTo>
                  <a:pt x="1041" y="116"/>
                </a:lnTo>
                <a:lnTo>
                  <a:pt x="1018" y="118"/>
                </a:lnTo>
                <a:lnTo>
                  <a:pt x="996" y="119"/>
                </a:lnTo>
                <a:lnTo>
                  <a:pt x="974" y="119"/>
                </a:lnTo>
                <a:lnTo>
                  <a:pt x="954" y="118"/>
                </a:lnTo>
                <a:lnTo>
                  <a:pt x="954" y="118"/>
                </a:lnTo>
                <a:lnTo>
                  <a:pt x="920" y="116"/>
                </a:lnTo>
                <a:lnTo>
                  <a:pt x="904" y="117"/>
                </a:lnTo>
                <a:lnTo>
                  <a:pt x="889" y="118"/>
                </a:lnTo>
                <a:lnTo>
                  <a:pt x="874" y="122"/>
                </a:lnTo>
                <a:lnTo>
                  <a:pt x="860" y="128"/>
                </a:lnTo>
                <a:lnTo>
                  <a:pt x="846" y="136"/>
                </a:lnTo>
                <a:lnTo>
                  <a:pt x="833" y="148"/>
                </a:lnTo>
                <a:lnTo>
                  <a:pt x="833" y="148"/>
                </a:lnTo>
                <a:lnTo>
                  <a:pt x="821" y="162"/>
                </a:lnTo>
                <a:lnTo>
                  <a:pt x="812" y="175"/>
                </a:lnTo>
                <a:lnTo>
                  <a:pt x="806" y="190"/>
                </a:lnTo>
                <a:lnTo>
                  <a:pt x="803" y="204"/>
                </a:lnTo>
                <a:lnTo>
                  <a:pt x="801" y="220"/>
                </a:lnTo>
                <a:lnTo>
                  <a:pt x="800" y="235"/>
                </a:lnTo>
                <a:lnTo>
                  <a:pt x="803" y="269"/>
                </a:lnTo>
                <a:lnTo>
                  <a:pt x="803" y="269"/>
                </a:lnTo>
                <a:lnTo>
                  <a:pt x="804" y="290"/>
                </a:lnTo>
                <a:lnTo>
                  <a:pt x="804" y="312"/>
                </a:lnTo>
                <a:lnTo>
                  <a:pt x="803" y="333"/>
                </a:lnTo>
                <a:lnTo>
                  <a:pt x="800" y="356"/>
                </a:lnTo>
                <a:lnTo>
                  <a:pt x="797" y="368"/>
                </a:lnTo>
                <a:lnTo>
                  <a:pt x="794" y="379"/>
                </a:lnTo>
                <a:lnTo>
                  <a:pt x="789" y="391"/>
                </a:lnTo>
                <a:lnTo>
                  <a:pt x="783" y="404"/>
                </a:lnTo>
                <a:lnTo>
                  <a:pt x="777" y="414"/>
                </a:lnTo>
                <a:lnTo>
                  <a:pt x="769" y="427"/>
                </a:lnTo>
                <a:lnTo>
                  <a:pt x="760" y="437"/>
                </a:lnTo>
                <a:lnTo>
                  <a:pt x="749" y="450"/>
                </a:lnTo>
                <a:lnTo>
                  <a:pt x="749" y="450"/>
                </a:lnTo>
                <a:lnTo>
                  <a:pt x="739" y="459"/>
                </a:lnTo>
                <a:lnTo>
                  <a:pt x="726" y="469"/>
                </a:lnTo>
                <a:lnTo>
                  <a:pt x="716" y="476"/>
                </a:lnTo>
                <a:lnTo>
                  <a:pt x="704" y="483"/>
                </a:lnTo>
                <a:lnTo>
                  <a:pt x="691" y="488"/>
                </a:lnTo>
                <a:lnTo>
                  <a:pt x="681" y="493"/>
                </a:lnTo>
                <a:lnTo>
                  <a:pt x="668" y="497"/>
                </a:lnTo>
                <a:lnTo>
                  <a:pt x="656" y="499"/>
                </a:lnTo>
                <a:lnTo>
                  <a:pt x="635" y="503"/>
                </a:lnTo>
                <a:lnTo>
                  <a:pt x="612" y="504"/>
                </a:lnTo>
                <a:lnTo>
                  <a:pt x="590" y="503"/>
                </a:lnTo>
                <a:lnTo>
                  <a:pt x="569" y="501"/>
                </a:lnTo>
                <a:lnTo>
                  <a:pt x="569" y="501"/>
                </a:lnTo>
                <a:lnTo>
                  <a:pt x="535" y="500"/>
                </a:lnTo>
                <a:lnTo>
                  <a:pt x="520" y="500"/>
                </a:lnTo>
                <a:lnTo>
                  <a:pt x="505" y="503"/>
                </a:lnTo>
                <a:lnTo>
                  <a:pt x="491" y="506"/>
                </a:lnTo>
                <a:lnTo>
                  <a:pt x="476" y="512"/>
                </a:lnTo>
                <a:lnTo>
                  <a:pt x="463" y="521"/>
                </a:lnTo>
                <a:lnTo>
                  <a:pt x="448" y="532"/>
                </a:lnTo>
                <a:lnTo>
                  <a:pt x="448" y="532"/>
                </a:lnTo>
                <a:lnTo>
                  <a:pt x="437" y="546"/>
                </a:lnTo>
                <a:lnTo>
                  <a:pt x="429" y="560"/>
                </a:lnTo>
                <a:lnTo>
                  <a:pt x="423" y="574"/>
                </a:lnTo>
                <a:lnTo>
                  <a:pt x="419" y="589"/>
                </a:lnTo>
                <a:lnTo>
                  <a:pt x="417" y="603"/>
                </a:lnTo>
                <a:lnTo>
                  <a:pt x="417" y="619"/>
                </a:lnTo>
                <a:lnTo>
                  <a:pt x="418" y="653"/>
                </a:lnTo>
                <a:lnTo>
                  <a:pt x="418" y="653"/>
                </a:lnTo>
                <a:lnTo>
                  <a:pt x="419" y="673"/>
                </a:lnTo>
                <a:lnTo>
                  <a:pt x="421" y="695"/>
                </a:lnTo>
                <a:lnTo>
                  <a:pt x="419" y="718"/>
                </a:lnTo>
                <a:lnTo>
                  <a:pt x="416" y="741"/>
                </a:lnTo>
                <a:lnTo>
                  <a:pt x="413" y="752"/>
                </a:lnTo>
                <a:lnTo>
                  <a:pt x="410" y="764"/>
                </a:lnTo>
                <a:lnTo>
                  <a:pt x="405" y="775"/>
                </a:lnTo>
                <a:lnTo>
                  <a:pt x="400" y="787"/>
                </a:lnTo>
                <a:lnTo>
                  <a:pt x="393" y="799"/>
                </a:lnTo>
                <a:lnTo>
                  <a:pt x="385" y="810"/>
                </a:lnTo>
                <a:lnTo>
                  <a:pt x="376" y="822"/>
                </a:lnTo>
                <a:lnTo>
                  <a:pt x="366" y="833"/>
                </a:lnTo>
                <a:lnTo>
                  <a:pt x="366" y="833"/>
                </a:lnTo>
                <a:lnTo>
                  <a:pt x="354" y="844"/>
                </a:lnTo>
                <a:lnTo>
                  <a:pt x="343" y="852"/>
                </a:lnTo>
                <a:lnTo>
                  <a:pt x="331" y="861"/>
                </a:lnTo>
                <a:lnTo>
                  <a:pt x="319" y="867"/>
                </a:lnTo>
                <a:lnTo>
                  <a:pt x="308" y="873"/>
                </a:lnTo>
                <a:lnTo>
                  <a:pt x="296" y="878"/>
                </a:lnTo>
                <a:lnTo>
                  <a:pt x="285" y="881"/>
                </a:lnTo>
                <a:lnTo>
                  <a:pt x="273" y="884"/>
                </a:lnTo>
                <a:lnTo>
                  <a:pt x="250" y="886"/>
                </a:lnTo>
                <a:lnTo>
                  <a:pt x="228" y="887"/>
                </a:lnTo>
                <a:lnTo>
                  <a:pt x="206" y="887"/>
                </a:lnTo>
                <a:lnTo>
                  <a:pt x="186" y="886"/>
                </a:lnTo>
                <a:lnTo>
                  <a:pt x="186" y="886"/>
                </a:lnTo>
                <a:lnTo>
                  <a:pt x="152" y="885"/>
                </a:lnTo>
                <a:lnTo>
                  <a:pt x="136" y="885"/>
                </a:lnTo>
                <a:lnTo>
                  <a:pt x="121" y="886"/>
                </a:lnTo>
                <a:lnTo>
                  <a:pt x="106" y="890"/>
                </a:lnTo>
                <a:lnTo>
                  <a:pt x="92" y="896"/>
                </a:lnTo>
                <a:lnTo>
                  <a:pt x="78" y="904"/>
                </a:lnTo>
                <a:lnTo>
                  <a:pt x="65" y="916"/>
                </a:lnTo>
                <a:lnTo>
                  <a:pt x="65" y="916"/>
                </a:lnTo>
                <a:lnTo>
                  <a:pt x="59" y="921"/>
                </a:lnTo>
                <a:lnTo>
                  <a:pt x="52" y="925"/>
                </a:lnTo>
                <a:lnTo>
                  <a:pt x="44" y="927"/>
                </a:lnTo>
                <a:lnTo>
                  <a:pt x="37" y="927"/>
                </a:lnTo>
                <a:lnTo>
                  <a:pt x="30" y="927"/>
                </a:lnTo>
                <a:lnTo>
                  <a:pt x="23" y="925"/>
                </a:lnTo>
                <a:lnTo>
                  <a:pt x="17" y="921"/>
                </a:lnTo>
                <a:lnTo>
                  <a:pt x="11" y="916"/>
                </a:lnTo>
                <a:lnTo>
                  <a:pt x="11" y="916"/>
                </a:lnTo>
                <a:lnTo>
                  <a:pt x="6" y="910"/>
                </a:lnTo>
                <a:lnTo>
                  <a:pt x="2" y="903"/>
                </a:lnTo>
                <a:lnTo>
                  <a:pt x="0" y="897"/>
                </a:lnTo>
                <a:lnTo>
                  <a:pt x="0" y="890"/>
                </a:lnTo>
                <a:lnTo>
                  <a:pt x="0" y="881"/>
                </a:lnTo>
                <a:lnTo>
                  <a:pt x="2" y="875"/>
                </a:lnTo>
                <a:lnTo>
                  <a:pt x="6" y="868"/>
                </a:lnTo>
                <a:lnTo>
                  <a:pt x="11" y="862"/>
                </a:lnTo>
                <a:lnTo>
                  <a:pt x="11" y="862"/>
                </a:lnTo>
                <a:lnTo>
                  <a:pt x="21" y="851"/>
                </a:lnTo>
                <a:lnTo>
                  <a:pt x="34" y="843"/>
                </a:lnTo>
                <a:lnTo>
                  <a:pt x="44" y="834"/>
                </a:lnTo>
                <a:lnTo>
                  <a:pt x="56" y="828"/>
                </a:lnTo>
                <a:lnTo>
                  <a:pt x="69" y="822"/>
                </a:lnTo>
                <a:lnTo>
                  <a:pt x="79" y="818"/>
                </a:lnTo>
                <a:lnTo>
                  <a:pt x="92" y="815"/>
                </a:lnTo>
                <a:lnTo>
                  <a:pt x="102" y="811"/>
                </a:lnTo>
                <a:lnTo>
                  <a:pt x="125" y="809"/>
                </a:lnTo>
                <a:lnTo>
                  <a:pt x="148" y="807"/>
                </a:lnTo>
                <a:lnTo>
                  <a:pt x="170" y="807"/>
                </a:lnTo>
                <a:lnTo>
                  <a:pt x="191" y="809"/>
                </a:lnTo>
                <a:lnTo>
                  <a:pt x="191" y="809"/>
                </a:lnTo>
                <a:lnTo>
                  <a:pt x="225" y="811"/>
                </a:lnTo>
                <a:lnTo>
                  <a:pt x="240" y="810"/>
                </a:lnTo>
                <a:lnTo>
                  <a:pt x="255" y="809"/>
                </a:lnTo>
                <a:lnTo>
                  <a:pt x="269" y="805"/>
                </a:lnTo>
                <a:lnTo>
                  <a:pt x="284" y="799"/>
                </a:lnTo>
                <a:lnTo>
                  <a:pt x="297" y="791"/>
                </a:lnTo>
                <a:lnTo>
                  <a:pt x="312" y="778"/>
                </a:lnTo>
                <a:lnTo>
                  <a:pt x="312" y="778"/>
                </a:lnTo>
                <a:lnTo>
                  <a:pt x="323" y="765"/>
                </a:lnTo>
                <a:lnTo>
                  <a:pt x="331" y="752"/>
                </a:lnTo>
                <a:lnTo>
                  <a:pt x="337" y="737"/>
                </a:lnTo>
                <a:lnTo>
                  <a:pt x="341" y="723"/>
                </a:lnTo>
                <a:lnTo>
                  <a:pt x="343" y="707"/>
                </a:lnTo>
                <a:lnTo>
                  <a:pt x="343" y="691"/>
                </a:lnTo>
                <a:lnTo>
                  <a:pt x="342" y="657"/>
                </a:lnTo>
                <a:lnTo>
                  <a:pt x="342" y="657"/>
                </a:lnTo>
                <a:lnTo>
                  <a:pt x="341" y="637"/>
                </a:lnTo>
                <a:lnTo>
                  <a:pt x="339" y="615"/>
                </a:lnTo>
                <a:lnTo>
                  <a:pt x="341" y="593"/>
                </a:lnTo>
                <a:lnTo>
                  <a:pt x="344" y="570"/>
                </a:lnTo>
                <a:lnTo>
                  <a:pt x="347" y="558"/>
                </a:lnTo>
                <a:lnTo>
                  <a:pt x="350" y="547"/>
                </a:lnTo>
                <a:lnTo>
                  <a:pt x="355" y="535"/>
                </a:lnTo>
                <a:lnTo>
                  <a:pt x="360" y="524"/>
                </a:lnTo>
                <a:lnTo>
                  <a:pt x="367" y="512"/>
                </a:lnTo>
                <a:lnTo>
                  <a:pt x="375" y="500"/>
                </a:lnTo>
                <a:lnTo>
                  <a:pt x="384" y="489"/>
                </a:lnTo>
                <a:lnTo>
                  <a:pt x="394" y="479"/>
                </a:lnTo>
                <a:lnTo>
                  <a:pt x="394" y="479"/>
                </a:lnTo>
                <a:lnTo>
                  <a:pt x="406" y="468"/>
                </a:lnTo>
                <a:lnTo>
                  <a:pt x="417" y="458"/>
                </a:lnTo>
                <a:lnTo>
                  <a:pt x="429" y="451"/>
                </a:lnTo>
                <a:lnTo>
                  <a:pt x="440" y="443"/>
                </a:lnTo>
                <a:lnTo>
                  <a:pt x="452" y="439"/>
                </a:lnTo>
                <a:lnTo>
                  <a:pt x="464" y="434"/>
                </a:lnTo>
                <a:lnTo>
                  <a:pt x="475" y="430"/>
                </a:lnTo>
                <a:lnTo>
                  <a:pt x="487" y="428"/>
                </a:lnTo>
                <a:lnTo>
                  <a:pt x="510" y="424"/>
                </a:lnTo>
                <a:lnTo>
                  <a:pt x="532" y="423"/>
                </a:lnTo>
                <a:lnTo>
                  <a:pt x="554" y="424"/>
                </a:lnTo>
                <a:lnTo>
                  <a:pt x="574" y="425"/>
                </a:lnTo>
                <a:lnTo>
                  <a:pt x="574" y="425"/>
                </a:lnTo>
                <a:lnTo>
                  <a:pt x="608" y="427"/>
                </a:lnTo>
                <a:lnTo>
                  <a:pt x="624" y="427"/>
                </a:lnTo>
                <a:lnTo>
                  <a:pt x="639" y="424"/>
                </a:lnTo>
                <a:lnTo>
                  <a:pt x="654" y="420"/>
                </a:lnTo>
                <a:lnTo>
                  <a:pt x="668" y="414"/>
                </a:lnTo>
                <a:lnTo>
                  <a:pt x="682" y="406"/>
                </a:lnTo>
                <a:lnTo>
                  <a:pt x="695" y="395"/>
                </a:lnTo>
                <a:lnTo>
                  <a:pt x="695" y="395"/>
                </a:lnTo>
                <a:lnTo>
                  <a:pt x="707" y="382"/>
                </a:lnTo>
                <a:lnTo>
                  <a:pt x="716" y="367"/>
                </a:lnTo>
                <a:lnTo>
                  <a:pt x="722" y="353"/>
                </a:lnTo>
                <a:lnTo>
                  <a:pt x="725" y="338"/>
                </a:lnTo>
                <a:lnTo>
                  <a:pt x="726" y="324"/>
                </a:lnTo>
                <a:lnTo>
                  <a:pt x="728" y="308"/>
                </a:lnTo>
                <a:lnTo>
                  <a:pt x="725" y="274"/>
                </a:lnTo>
                <a:lnTo>
                  <a:pt x="725" y="274"/>
                </a:lnTo>
                <a:lnTo>
                  <a:pt x="724" y="254"/>
                </a:lnTo>
                <a:lnTo>
                  <a:pt x="724" y="232"/>
                </a:lnTo>
                <a:lnTo>
                  <a:pt x="725" y="209"/>
                </a:lnTo>
                <a:lnTo>
                  <a:pt x="728" y="187"/>
                </a:lnTo>
                <a:lnTo>
                  <a:pt x="731" y="175"/>
                </a:lnTo>
                <a:lnTo>
                  <a:pt x="734" y="163"/>
                </a:lnTo>
                <a:lnTo>
                  <a:pt x="739" y="152"/>
                </a:lnTo>
                <a:lnTo>
                  <a:pt x="745" y="140"/>
                </a:lnTo>
                <a:lnTo>
                  <a:pt x="751" y="128"/>
                </a:lnTo>
                <a:lnTo>
                  <a:pt x="759" y="117"/>
                </a:lnTo>
                <a:lnTo>
                  <a:pt x="768" y="105"/>
                </a:lnTo>
                <a:lnTo>
                  <a:pt x="778" y="94"/>
                </a:lnTo>
                <a:lnTo>
                  <a:pt x="778" y="94"/>
                </a:lnTo>
                <a:lnTo>
                  <a:pt x="789" y="83"/>
                </a:lnTo>
                <a:lnTo>
                  <a:pt x="801" y="75"/>
                </a:lnTo>
                <a:lnTo>
                  <a:pt x="812" y="66"/>
                </a:lnTo>
                <a:lnTo>
                  <a:pt x="824" y="60"/>
                </a:lnTo>
                <a:lnTo>
                  <a:pt x="837" y="54"/>
                </a:lnTo>
                <a:lnTo>
                  <a:pt x="847" y="49"/>
                </a:lnTo>
                <a:lnTo>
                  <a:pt x="860" y="47"/>
                </a:lnTo>
                <a:lnTo>
                  <a:pt x="870" y="43"/>
                </a:lnTo>
                <a:lnTo>
                  <a:pt x="893" y="41"/>
                </a:lnTo>
                <a:lnTo>
                  <a:pt x="916" y="40"/>
                </a:lnTo>
                <a:lnTo>
                  <a:pt x="938" y="40"/>
                </a:lnTo>
                <a:lnTo>
                  <a:pt x="959" y="41"/>
                </a:lnTo>
                <a:lnTo>
                  <a:pt x="959" y="41"/>
                </a:lnTo>
                <a:lnTo>
                  <a:pt x="993" y="43"/>
                </a:lnTo>
                <a:lnTo>
                  <a:pt x="1008" y="42"/>
                </a:lnTo>
                <a:lnTo>
                  <a:pt x="1023" y="41"/>
                </a:lnTo>
                <a:lnTo>
                  <a:pt x="1037" y="37"/>
                </a:lnTo>
                <a:lnTo>
                  <a:pt x="1052" y="31"/>
                </a:lnTo>
                <a:lnTo>
                  <a:pt x="1066" y="23"/>
                </a:lnTo>
                <a:lnTo>
                  <a:pt x="1080" y="11"/>
                </a:lnTo>
                <a:lnTo>
                  <a:pt x="1080" y="11"/>
                </a:lnTo>
                <a:lnTo>
                  <a:pt x="1086" y="6"/>
                </a:lnTo>
                <a:lnTo>
                  <a:pt x="1092" y="2"/>
                </a:lnTo>
                <a:lnTo>
                  <a:pt x="1099" y="0"/>
                </a:lnTo>
                <a:lnTo>
                  <a:pt x="1106" y="0"/>
                </a:lnTo>
                <a:lnTo>
                  <a:pt x="1113" y="0"/>
                </a:lnTo>
                <a:lnTo>
                  <a:pt x="1121" y="2"/>
                </a:lnTo>
                <a:lnTo>
                  <a:pt x="1128" y="6"/>
                </a:lnTo>
                <a:lnTo>
                  <a:pt x="1134" y="11"/>
                </a:lnTo>
                <a:lnTo>
                  <a:pt x="1134" y="11"/>
                </a:lnTo>
                <a:lnTo>
                  <a:pt x="1139" y="17"/>
                </a:lnTo>
                <a:lnTo>
                  <a:pt x="1142" y="24"/>
                </a:lnTo>
                <a:lnTo>
                  <a:pt x="1144" y="31"/>
                </a:lnTo>
                <a:lnTo>
                  <a:pt x="1145" y="38"/>
                </a:lnTo>
                <a:lnTo>
                  <a:pt x="1144" y="46"/>
                </a:lnTo>
                <a:lnTo>
                  <a:pt x="1142" y="53"/>
                </a:lnTo>
                <a:lnTo>
                  <a:pt x="1139" y="59"/>
                </a:lnTo>
                <a:lnTo>
                  <a:pt x="1134" y="65"/>
                </a:lnTo>
                <a:lnTo>
                  <a:pt x="1134" y="6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DAB00C5B-0A0D-124C-A60D-229CCEE2A3E4}"/>
              </a:ext>
            </a:extLst>
          </p:cNvPr>
          <p:cNvGrpSpPr/>
          <p:nvPr/>
        </p:nvGrpSpPr>
        <p:grpSpPr>
          <a:xfrm>
            <a:off x="9724262" y="261191"/>
            <a:ext cx="2171684" cy="1306719"/>
            <a:chOff x="9915526" y="1892300"/>
            <a:chExt cx="1116012" cy="671513"/>
          </a:xfrm>
          <a:solidFill>
            <a:schemeClr val="bg1"/>
          </a:solidFill>
        </p:grpSpPr>
        <p:sp>
          <p:nvSpPr>
            <p:cNvPr id="214" name="Freeform 80">
              <a:extLst>
                <a:ext uri="{FF2B5EF4-FFF2-40B4-BE49-F238E27FC236}">
                  <a16:creationId xmlns:a16="http://schemas.microsoft.com/office/drawing/2014/main" id="{3577BEF1-FCE4-D847-9C0B-5F88F8EFC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81">
              <a:extLst>
                <a:ext uri="{FF2B5EF4-FFF2-40B4-BE49-F238E27FC236}">
                  <a16:creationId xmlns:a16="http://schemas.microsoft.com/office/drawing/2014/main" id="{C531938D-8F1D-AB4B-AFCC-DF8EE842C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 82">
              <a:extLst>
                <a:ext uri="{FF2B5EF4-FFF2-40B4-BE49-F238E27FC236}">
                  <a16:creationId xmlns:a16="http://schemas.microsoft.com/office/drawing/2014/main" id="{7EC3F525-6377-3E47-9D75-685FBF619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83">
              <a:extLst>
                <a:ext uri="{FF2B5EF4-FFF2-40B4-BE49-F238E27FC236}">
                  <a16:creationId xmlns:a16="http://schemas.microsoft.com/office/drawing/2014/main" id="{CB8AC2C6-C320-2E42-90F7-66A60F966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84">
              <a:extLst>
                <a:ext uri="{FF2B5EF4-FFF2-40B4-BE49-F238E27FC236}">
                  <a16:creationId xmlns:a16="http://schemas.microsoft.com/office/drawing/2014/main" id="{452BF3BD-B735-6F4F-9BDB-AE35E9791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85">
              <a:extLst>
                <a:ext uri="{FF2B5EF4-FFF2-40B4-BE49-F238E27FC236}">
                  <a16:creationId xmlns:a16="http://schemas.microsoft.com/office/drawing/2014/main" id="{92A1E4CA-84B0-4346-903B-4F98A62AC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86">
              <a:extLst>
                <a:ext uri="{FF2B5EF4-FFF2-40B4-BE49-F238E27FC236}">
                  <a16:creationId xmlns:a16="http://schemas.microsoft.com/office/drawing/2014/main" id="{1DB3A19A-B715-A84C-8A1B-035852E38B4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87">
              <a:extLst>
                <a:ext uri="{FF2B5EF4-FFF2-40B4-BE49-F238E27FC236}">
                  <a16:creationId xmlns:a16="http://schemas.microsoft.com/office/drawing/2014/main" id="{436DD045-8BD7-E947-A08E-672D83098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1892300"/>
              <a:ext cx="19050" cy="1746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6 h 23"/>
                <a:gd name="T6" fmla="*/ 21 w 25"/>
                <a:gd name="T7" fmla="*/ 21 h 23"/>
                <a:gd name="T8" fmla="*/ 17 w 25"/>
                <a:gd name="T9" fmla="*/ 23 h 23"/>
                <a:gd name="T10" fmla="*/ 13 w 25"/>
                <a:gd name="T11" fmla="*/ 23 h 23"/>
                <a:gd name="T12" fmla="*/ 13 w 25"/>
                <a:gd name="T13" fmla="*/ 23 h 23"/>
                <a:gd name="T14" fmla="*/ 8 w 25"/>
                <a:gd name="T15" fmla="*/ 23 h 23"/>
                <a:gd name="T16" fmla="*/ 4 w 25"/>
                <a:gd name="T17" fmla="*/ 21 h 23"/>
                <a:gd name="T18" fmla="*/ 2 w 25"/>
                <a:gd name="T19" fmla="*/ 16 h 23"/>
                <a:gd name="T20" fmla="*/ 0 w 25"/>
                <a:gd name="T21" fmla="*/ 12 h 23"/>
                <a:gd name="T22" fmla="*/ 0 w 25"/>
                <a:gd name="T23" fmla="*/ 12 h 23"/>
                <a:gd name="T24" fmla="*/ 2 w 25"/>
                <a:gd name="T25" fmla="*/ 8 h 23"/>
                <a:gd name="T26" fmla="*/ 4 w 25"/>
                <a:gd name="T27" fmla="*/ 4 h 23"/>
                <a:gd name="T28" fmla="*/ 8 w 25"/>
                <a:gd name="T29" fmla="*/ 2 h 23"/>
                <a:gd name="T30" fmla="*/ 13 w 25"/>
                <a:gd name="T31" fmla="*/ 0 h 23"/>
                <a:gd name="T32" fmla="*/ 13 w 25"/>
                <a:gd name="T33" fmla="*/ 0 h 23"/>
                <a:gd name="T34" fmla="*/ 17 w 25"/>
                <a:gd name="T35" fmla="*/ 2 h 23"/>
                <a:gd name="T36" fmla="*/ 21 w 25"/>
                <a:gd name="T37" fmla="*/ 4 h 23"/>
                <a:gd name="T38" fmla="*/ 23 w 25"/>
                <a:gd name="T39" fmla="*/ 8 h 23"/>
                <a:gd name="T40" fmla="*/ 25 w 25"/>
                <a:gd name="T41" fmla="*/ 12 h 23"/>
                <a:gd name="T42" fmla="*/ 25 w 25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88">
              <a:extLst>
                <a:ext uri="{FF2B5EF4-FFF2-40B4-BE49-F238E27FC236}">
                  <a16:creationId xmlns:a16="http://schemas.microsoft.com/office/drawing/2014/main" id="{219E5D70-85D7-D74C-9A2E-7B5C546B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1984375"/>
              <a:ext cx="19050" cy="19050"/>
            </a:xfrm>
            <a:custGeom>
              <a:avLst/>
              <a:gdLst>
                <a:gd name="T0" fmla="*/ 25 w 25"/>
                <a:gd name="T1" fmla="*/ 13 h 25"/>
                <a:gd name="T2" fmla="*/ 25 w 25"/>
                <a:gd name="T3" fmla="*/ 13 h 25"/>
                <a:gd name="T4" fmla="*/ 23 w 25"/>
                <a:gd name="T5" fmla="*/ 17 h 25"/>
                <a:gd name="T6" fmla="*/ 21 w 25"/>
                <a:gd name="T7" fmla="*/ 21 h 25"/>
                <a:gd name="T8" fmla="*/ 17 w 25"/>
                <a:gd name="T9" fmla="*/ 23 h 25"/>
                <a:gd name="T10" fmla="*/ 13 w 25"/>
                <a:gd name="T11" fmla="*/ 25 h 25"/>
                <a:gd name="T12" fmla="*/ 13 w 25"/>
                <a:gd name="T13" fmla="*/ 25 h 25"/>
                <a:gd name="T14" fmla="*/ 8 w 25"/>
                <a:gd name="T15" fmla="*/ 23 h 25"/>
                <a:gd name="T16" fmla="*/ 4 w 25"/>
                <a:gd name="T17" fmla="*/ 21 h 25"/>
                <a:gd name="T18" fmla="*/ 2 w 25"/>
                <a:gd name="T19" fmla="*/ 17 h 25"/>
                <a:gd name="T20" fmla="*/ 0 w 25"/>
                <a:gd name="T21" fmla="*/ 13 h 25"/>
                <a:gd name="T22" fmla="*/ 0 w 25"/>
                <a:gd name="T23" fmla="*/ 13 h 25"/>
                <a:gd name="T24" fmla="*/ 2 w 25"/>
                <a:gd name="T25" fmla="*/ 8 h 25"/>
                <a:gd name="T26" fmla="*/ 4 w 25"/>
                <a:gd name="T27" fmla="*/ 4 h 25"/>
                <a:gd name="T28" fmla="*/ 8 w 25"/>
                <a:gd name="T29" fmla="*/ 2 h 25"/>
                <a:gd name="T30" fmla="*/ 13 w 25"/>
                <a:gd name="T31" fmla="*/ 0 h 25"/>
                <a:gd name="T32" fmla="*/ 13 w 25"/>
                <a:gd name="T33" fmla="*/ 0 h 25"/>
                <a:gd name="T34" fmla="*/ 17 w 25"/>
                <a:gd name="T35" fmla="*/ 2 h 25"/>
                <a:gd name="T36" fmla="*/ 21 w 25"/>
                <a:gd name="T37" fmla="*/ 4 h 25"/>
                <a:gd name="T38" fmla="*/ 23 w 25"/>
                <a:gd name="T39" fmla="*/ 8 h 25"/>
                <a:gd name="T40" fmla="*/ 25 w 25"/>
                <a:gd name="T41" fmla="*/ 13 h 25"/>
                <a:gd name="T42" fmla="*/ 25 w 25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25" y="13"/>
                  </a:moveTo>
                  <a:lnTo>
                    <a:pt x="25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3"/>
                  </a:lnTo>
                  <a:lnTo>
                    <a:pt x="2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89">
              <a:extLst>
                <a:ext uri="{FF2B5EF4-FFF2-40B4-BE49-F238E27FC236}">
                  <a16:creationId xmlns:a16="http://schemas.microsoft.com/office/drawing/2014/main" id="{412A462D-58C3-6A41-8374-E66B1DDCB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076450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0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0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3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3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90">
              <a:extLst>
                <a:ext uri="{FF2B5EF4-FFF2-40B4-BE49-F238E27FC236}">
                  <a16:creationId xmlns:a16="http://schemas.microsoft.com/office/drawing/2014/main" id="{C486AE0D-65EC-8546-AFD7-F4FF99B83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168525"/>
              <a:ext cx="19050" cy="19050"/>
            </a:xfrm>
            <a:custGeom>
              <a:avLst/>
              <a:gdLst>
                <a:gd name="T0" fmla="*/ 25 w 25"/>
                <a:gd name="T1" fmla="*/ 11 h 23"/>
                <a:gd name="T2" fmla="*/ 25 w 25"/>
                <a:gd name="T3" fmla="*/ 11 h 23"/>
                <a:gd name="T4" fmla="*/ 23 w 25"/>
                <a:gd name="T5" fmla="*/ 16 h 23"/>
                <a:gd name="T6" fmla="*/ 21 w 25"/>
                <a:gd name="T7" fmla="*/ 19 h 23"/>
                <a:gd name="T8" fmla="*/ 17 w 25"/>
                <a:gd name="T9" fmla="*/ 23 h 23"/>
                <a:gd name="T10" fmla="*/ 13 w 25"/>
                <a:gd name="T11" fmla="*/ 23 h 23"/>
                <a:gd name="T12" fmla="*/ 13 w 25"/>
                <a:gd name="T13" fmla="*/ 23 h 23"/>
                <a:gd name="T14" fmla="*/ 8 w 25"/>
                <a:gd name="T15" fmla="*/ 23 h 23"/>
                <a:gd name="T16" fmla="*/ 4 w 25"/>
                <a:gd name="T17" fmla="*/ 19 h 23"/>
                <a:gd name="T18" fmla="*/ 2 w 25"/>
                <a:gd name="T19" fmla="*/ 16 h 23"/>
                <a:gd name="T20" fmla="*/ 0 w 25"/>
                <a:gd name="T21" fmla="*/ 11 h 23"/>
                <a:gd name="T22" fmla="*/ 0 w 25"/>
                <a:gd name="T23" fmla="*/ 11 h 23"/>
                <a:gd name="T24" fmla="*/ 2 w 25"/>
                <a:gd name="T25" fmla="*/ 7 h 23"/>
                <a:gd name="T26" fmla="*/ 4 w 25"/>
                <a:gd name="T27" fmla="*/ 4 h 23"/>
                <a:gd name="T28" fmla="*/ 8 w 25"/>
                <a:gd name="T29" fmla="*/ 0 h 23"/>
                <a:gd name="T30" fmla="*/ 13 w 25"/>
                <a:gd name="T31" fmla="*/ 0 h 23"/>
                <a:gd name="T32" fmla="*/ 13 w 25"/>
                <a:gd name="T33" fmla="*/ 0 h 23"/>
                <a:gd name="T34" fmla="*/ 17 w 25"/>
                <a:gd name="T35" fmla="*/ 0 h 23"/>
                <a:gd name="T36" fmla="*/ 21 w 25"/>
                <a:gd name="T37" fmla="*/ 4 h 23"/>
                <a:gd name="T38" fmla="*/ 23 w 25"/>
                <a:gd name="T39" fmla="*/ 7 h 23"/>
                <a:gd name="T40" fmla="*/ 25 w 25"/>
                <a:gd name="T41" fmla="*/ 11 h 23"/>
                <a:gd name="T42" fmla="*/ 25 w 25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25" y="11"/>
                  </a:moveTo>
                  <a:lnTo>
                    <a:pt x="25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8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1"/>
                  </a:lnTo>
                  <a:lnTo>
                    <a:pt x="25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 91">
              <a:extLst>
                <a:ext uri="{FF2B5EF4-FFF2-40B4-BE49-F238E27FC236}">
                  <a16:creationId xmlns:a16="http://schemas.microsoft.com/office/drawing/2014/main" id="{0E61A322-09E2-3C45-B4B0-CFD60F746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260600"/>
              <a:ext cx="19050" cy="20638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92">
              <a:extLst>
                <a:ext uri="{FF2B5EF4-FFF2-40B4-BE49-F238E27FC236}">
                  <a16:creationId xmlns:a16="http://schemas.microsoft.com/office/drawing/2014/main" id="{30390EB6-4C17-E84E-8F25-5FB2C8D88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354263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93">
              <a:extLst>
                <a:ext uri="{FF2B5EF4-FFF2-40B4-BE49-F238E27FC236}">
                  <a16:creationId xmlns:a16="http://schemas.microsoft.com/office/drawing/2014/main" id="{B4FAEB40-EFEE-7E42-9974-BC3C5AB12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446338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 94">
              <a:extLst>
                <a:ext uri="{FF2B5EF4-FFF2-40B4-BE49-F238E27FC236}">
                  <a16:creationId xmlns:a16="http://schemas.microsoft.com/office/drawing/2014/main" id="{58A011E2-8018-8242-AD6F-A59F9595B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1892300"/>
              <a:ext cx="19050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6 h 23"/>
                <a:gd name="T6" fmla="*/ 21 w 23"/>
                <a:gd name="T7" fmla="*/ 21 h 23"/>
                <a:gd name="T8" fmla="*/ 16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4 w 23"/>
                <a:gd name="T17" fmla="*/ 21 h 23"/>
                <a:gd name="T18" fmla="*/ 1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1 w 23"/>
                <a:gd name="T25" fmla="*/ 8 h 23"/>
                <a:gd name="T26" fmla="*/ 4 w 23"/>
                <a:gd name="T27" fmla="*/ 4 h 23"/>
                <a:gd name="T28" fmla="*/ 7 w 23"/>
                <a:gd name="T29" fmla="*/ 2 h 23"/>
                <a:gd name="T30" fmla="*/ 12 w 23"/>
                <a:gd name="T31" fmla="*/ 0 h 23"/>
                <a:gd name="T32" fmla="*/ 12 w 23"/>
                <a:gd name="T33" fmla="*/ 0 h 23"/>
                <a:gd name="T34" fmla="*/ 16 w 23"/>
                <a:gd name="T35" fmla="*/ 2 h 23"/>
                <a:gd name="T36" fmla="*/ 21 w 23"/>
                <a:gd name="T37" fmla="*/ 4 h 23"/>
                <a:gd name="T38" fmla="*/ 23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 95">
              <a:extLst>
                <a:ext uri="{FF2B5EF4-FFF2-40B4-BE49-F238E27FC236}">
                  <a16:creationId xmlns:a16="http://schemas.microsoft.com/office/drawing/2014/main" id="{3DAEB75F-3E54-F94B-85BE-03A82410C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1984375"/>
              <a:ext cx="19050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3 w 23"/>
                <a:gd name="T5" fmla="*/ 17 h 25"/>
                <a:gd name="T6" fmla="*/ 21 w 23"/>
                <a:gd name="T7" fmla="*/ 21 h 25"/>
                <a:gd name="T8" fmla="*/ 16 w 23"/>
                <a:gd name="T9" fmla="*/ 23 h 25"/>
                <a:gd name="T10" fmla="*/ 12 w 23"/>
                <a:gd name="T11" fmla="*/ 25 h 25"/>
                <a:gd name="T12" fmla="*/ 12 w 23"/>
                <a:gd name="T13" fmla="*/ 25 h 25"/>
                <a:gd name="T14" fmla="*/ 7 w 23"/>
                <a:gd name="T15" fmla="*/ 23 h 25"/>
                <a:gd name="T16" fmla="*/ 4 w 23"/>
                <a:gd name="T17" fmla="*/ 21 h 25"/>
                <a:gd name="T18" fmla="*/ 1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1 w 23"/>
                <a:gd name="T25" fmla="*/ 8 h 25"/>
                <a:gd name="T26" fmla="*/ 4 w 23"/>
                <a:gd name="T27" fmla="*/ 4 h 25"/>
                <a:gd name="T28" fmla="*/ 7 w 23"/>
                <a:gd name="T29" fmla="*/ 2 h 25"/>
                <a:gd name="T30" fmla="*/ 12 w 23"/>
                <a:gd name="T31" fmla="*/ 0 h 25"/>
                <a:gd name="T32" fmla="*/ 12 w 23"/>
                <a:gd name="T33" fmla="*/ 0 h 25"/>
                <a:gd name="T34" fmla="*/ 16 w 23"/>
                <a:gd name="T35" fmla="*/ 2 h 25"/>
                <a:gd name="T36" fmla="*/ 21 w 23"/>
                <a:gd name="T37" fmla="*/ 4 h 25"/>
                <a:gd name="T38" fmla="*/ 23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 96">
              <a:extLst>
                <a:ext uri="{FF2B5EF4-FFF2-40B4-BE49-F238E27FC236}">
                  <a16:creationId xmlns:a16="http://schemas.microsoft.com/office/drawing/2014/main" id="{2EA827B1-E7B9-5D4D-AD00-CA265E6DD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076450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0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0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 97">
              <a:extLst>
                <a:ext uri="{FF2B5EF4-FFF2-40B4-BE49-F238E27FC236}">
                  <a16:creationId xmlns:a16="http://schemas.microsoft.com/office/drawing/2014/main" id="{4832796A-2B1C-7A44-8353-E8BD4F00D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168525"/>
              <a:ext cx="19050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6 h 23"/>
                <a:gd name="T6" fmla="*/ 21 w 23"/>
                <a:gd name="T7" fmla="*/ 19 h 23"/>
                <a:gd name="T8" fmla="*/ 16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4 w 23"/>
                <a:gd name="T17" fmla="*/ 19 h 23"/>
                <a:gd name="T18" fmla="*/ 1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1 w 23"/>
                <a:gd name="T25" fmla="*/ 7 h 23"/>
                <a:gd name="T26" fmla="*/ 4 w 23"/>
                <a:gd name="T27" fmla="*/ 4 h 23"/>
                <a:gd name="T28" fmla="*/ 7 w 23"/>
                <a:gd name="T29" fmla="*/ 0 h 23"/>
                <a:gd name="T30" fmla="*/ 12 w 23"/>
                <a:gd name="T31" fmla="*/ 0 h 23"/>
                <a:gd name="T32" fmla="*/ 12 w 23"/>
                <a:gd name="T33" fmla="*/ 0 h 23"/>
                <a:gd name="T34" fmla="*/ 16 w 23"/>
                <a:gd name="T35" fmla="*/ 0 h 23"/>
                <a:gd name="T36" fmla="*/ 21 w 23"/>
                <a:gd name="T37" fmla="*/ 4 h 23"/>
                <a:gd name="T38" fmla="*/ 23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Freeform 98">
              <a:extLst>
                <a:ext uri="{FF2B5EF4-FFF2-40B4-BE49-F238E27FC236}">
                  <a16:creationId xmlns:a16="http://schemas.microsoft.com/office/drawing/2014/main" id="{F1C4DDF2-7C7E-7242-8120-3665F978F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260600"/>
              <a:ext cx="19050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 99">
              <a:extLst>
                <a:ext uri="{FF2B5EF4-FFF2-40B4-BE49-F238E27FC236}">
                  <a16:creationId xmlns:a16="http://schemas.microsoft.com/office/drawing/2014/main" id="{C27ED5CF-82E4-D646-B36A-2E74B9CC3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354263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 100">
              <a:extLst>
                <a:ext uri="{FF2B5EF4-FFF2-40B4-BE49-F238E27FC236}">
                  <a16:creationId xmlns:a16="http://schemas.microsoft.com/office/drawing/2014/main" id="{D7C53812-3431-5B48-8AA1-8659ADFDE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446338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101">
              <a:extLst>
                <a:ext uri="{FF2B5EF4-FFF2-40B4-BE49-F238E27FC236}">
                  <a16:creationId xmlns:a16="http://schemas.microsoft.com/office/drawing/2014/main" id="{47E9CDB2-93F8-B14F-A876-D7A8FCF5C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2 w 23"/>
                <a:gd name="T5" fmla="*/ 16 h 23"/>
                <a:gd name="T6" fmla="*/ 19 w 23"/>
                <a:gd name="T7" fmla="*/ 21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7 w 23"/>
                <a:gd name="T15" fmla="*/ 23 h 23"/>
                <a:gd name="T16" fmla="*/ 2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2 w 23"/>
                <a:gd name="T27" fmla="*/ 4 h 23"/>
                <a:gd name="T28" fmla="*/ 7 w 23"/>
                <a:gd name="T29" fmla="*/ 2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2 h 23"/>
                <a:gd name="T36" fmla="*/ 19 w 23"/>
                <a:gd name="T37" fmla="*/ 4 h 23"/>
                <a:gd name="T38" fmla="*/ 22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2" y="16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102">
              <a:extLst>
                <a:ext uri="{FF2B5EF4-FFF2-40B4-BE49-F238E27FC236}">
                  <a16:creationId xmlns:a16="http://schemas.microsoft.com/office/drawing/2014/main" id="{ED7E376C-E96C-4947-AE82-499D5FDD0D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2 w 23"/>
                <a:gd name="T5" fmla="*/ 17 h 25"/>
                <a:gd name="T6" fmla="*/ 19 w 23"/>
                <a:gd name="T7" fmla="*/ 21 h 25"/>
                <a:gd name="T8" fmla="*/ 16 w 23"/>
                <a:gd name="T9" fmla="*/ 23 h 25"/>
                <a:gd name="T10" fmla="*/ 11 w 23"/>
                <a:gd name="T11" fmla="*/ 25 h 25"/>
                <a:gd name="T12" fmla="*/ 11 w 23"/>
                <a:gd name="T13" fmla="*/ 25 h 25"/>
                <a:gd name="T14" fmla="*/ 7 w 23"/>
                <a:gd name="T15" fmla="*/ 23 h 25"/>
                <a:gd name="T16" fmla="*/ 2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2 w 23"/>
                <a:gd name="T27" fmla="*/ 4 h 25"/>
                <a:gd name="T28" fmla="*/ 7 w 23"/>
                <a:gd name="T29" fmla="*/ 2 h 25"/>
                <a:gd name="T30" fmla="*/ 11 w 23"/>
                <a:gd name="T31" fmla="*/ 0 h 25"/>
                <a:gd name="T32" fmla="*/ 11 w 23"/>
                <a:gd name="T33" fmla="*/ 0 h 25"/>
                <a:gd name="T34" fmla="*/ 16 w 23"/>
                <a:gd name="T35" fmla="*/ 2 h 25"/>
                <a:gd name="T36" fmla="*/ 19 w 23"/>
                <a:gd name="T37" fmla="*/ 4 h 25"/>
                <a:gd name="T38" fmla="*/ 22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2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103">
              <a:extLst>
                <a:ext uri="{FF2B5EF4-FFF2-40B4-BE49-F238E27FC236}">
                  <a16:creationId xmlns:a16="http://schemas.microsoft.com/office/drawing/2014/main" id="{0EEA6576-5646-AA44-B373-F287EA957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3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 104">
              <a:extLst>
                <a:ext uri="{FF2B5EF4-FFF2-40B4-BE49-F238E27FC236}">
                  <a16:creationId xmlns:a16="http://schemas.microsoft.com/office/drawing/2014/main" id="{29D8EB92-9C54-A042-9DE8-95926B092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2 w 23"/>
                <a:gd name="T5" fmla="*/ 16 h 23"/>
                <a:gd name="T6" fmla="*/ 19 w 23"/>
                <a:gd name="T7" fmla="*/ 19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7 w 23"/>
                <a:gd name="T15" fmla="*/ 23 h 23"/>
                <a:gd name="T16" fmla="*/ 2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2 w 23"/>
                <a:gd name="T27" fmla="*/ 4 h 23"/>
                <a:gd name="T28" fmla="*/ 7 w 23"/>
                <a:gd name="T29" fmla="*/ 0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0 h 23"/>
                <a:gd name="T36" fmla="*/ 19 w 23"/>
                <a:gd name="T37" fmla="*/ 4 h 23"/>
                <a:gd name="T38" fmla="*/ 22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2" y="16"/>
                  </a:lnTo>
                  <a:lnTo>
                    <a:pt x="19" y="19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2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105">
              <a:extLst>
                <a:ext uri="{FF2B5EF4-FFF2-40B4-BE49-F238E27FC236}">
                  <a16:creationId xmlns:a16="http://schemas.microsoft.com/office/drawing/2014/main" id="{71FA4D2E-4790-8043-A5D8-EC8E7D21E2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106">
              <a:extLst>
                <a:ext uri="{FF2B5EF4-FFF2-40B4-BE49-F238E27FC236}">
                  <a16:creationId xmlns:a16="http://schemas.microsoft.com/office/drawing/2014/main" id="{45239BAE-812A-AF43-907D-F5FBB4B8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107">
              <a:extLst>
                <a:ext uri="{FF2B5EF4-FFF2-40B4-BE49-F238E27FC236}">
                  <a16:creationId xmlns:a16="http://schemas.microsoft.com/office/drawing/2014/main" id="{65597330-88D0-314C-BE63-0EC6FA2DD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 108">
              <a:extLst>
                <a:ext uri="{FF2B5EF4-FFF2-40B4-BE49-F238E27FC236}">
                  <a16:creationId xmlns:a16="http://schemas.microsoft.com/office/drawing/2014/main" id="{FA2C34A8-0754-BF4E-9F03-E00EA1E43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6 h 23"/>
                <a:gd name="T6" fmla="*/ 20 w 24"/>
                <a:gd name="T7" fmla="*/ 21 h 23"/>
                <a:gd name="T8" fmla="*/ 16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6 w 24"/>
                <a:gd name="T35" fmla="*/ 2 h 23"/>
                <a:gd name="T36" fmla="*/ 20 w 24"/>
                <a:gd name="T37" fmla="*/ 4 h 23"/>
                <a:gd name="T38" fmla="*/ 22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6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 109">
              <a:extLst>
                <a:ext uri="{FF2B5EF4-FFF2-40B4-BE49-F238E27FC236}">
                  <a16:creationId xmlns:a16="http://schemas.microsoft.com/office/drawing/2014/main" id="{C1762B18-DA1F-9D41-AE52-B92EBE652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2 w 24"/>
                <a:gd name="T5" fmla="*/ 17 h 25"/>
                <a:gd name="T6" fmla="*/ 20 w 24"/>
                <a:gd name="T7" fmla="*/ 21 h 25"/>
                <a:gd name="T8" fmla="*/ 16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6 w 24"/>
                <a:gd name="T35" fmla="*/ 2 h 25"/>
                <a:gd name="T36" fmla="*/ 20 w 24"/>
                <a:gd name="T37" fmla="*/ 4 h 25"/>
                <a:gd name="T38" fmla="*/ 22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 110">
              <a:extLst>
                <a:ext uri="{FF2B5EF4-FFF2-40B4-BE49-F238E27FC236}">
                  <a16:creationId xmlns:a16="http://schemas.microsoft.com/office/drawing/2014/main" id="{8B3D362E-2336-1949-BE82-8F27E7EA7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0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3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 111">
              <a:extLst>
                <a:ext uri="{FF2B5EF4-FFF2-40B4-BE49-F238E27FC236}">
                  <a16:creationId xmlns:a16="http://schemas.microsoft.com/office/drawing/2014/main" id="{75B5A01F-B324-144D-B760-2DE9B934B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2 w 24"/>
                <a:gd name="T5" fmla="*/ 16 h 23"/>
                <a:gd name="T6" fmla="*/ 20 w 24"/>
                <a:gd name="T7" fmla="*/ 19 h 23"/>
                <a:gd name="T8" fmla="*/ 16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6 w 24"/>
                <a:gd name="T35" fmla="*/ 0 h 23"/>
                <a:gd name="T36" fmla="*/ 20 w 24"/>
                <a:gd name="T37" fmla="*/ 4 h 23"/>
                <a:gd name="T38" fmla="*/ 22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2" y="16"/>
                  </a:lnTo>
                  <a:lnTo>
                    <a:pt x="20" y="19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 112">
              <a:extLst>
                <a:ext uri="{FF2B5EF4-FFF2-40B4-BE49-F238E27FC236}">
                  <a16:creationId xmlns:a16="http://schemas.microsoft.com/office/drawing/2014/main" id="{C7BDA75D-B295-5F46-9CEE-59B124C51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 113">
              <a:extLst>
                <a:ext uri="{FF2B5EF4-FFF2-40B4-BE49-F238E27FC236}">
                  <a16:creationId xmlns:a16="http://schemas.microsoft.com/office/drawing/2014/main" id="{E208EB32-CC11-3C43-87A4-D1840A224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 114">
              <a:extLst>
                <a:ext uri="{FF2B5EF4-FFF2-40B4-BE49-F238E27FC236}">
                  <a16:creationId xmlns:a16="http://schemas.microsoft.com/office/drawing/2014/main" id="{668231CE-B853-534F-8EE3-377DA4598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 115">
              <a:extLst>
                <a:ext uri="{FF2B5EF4-FFF2-40B4-BE49-F238E27FC236}">
                  <a16:creationId xmlns:a16="http://schemas.microsoft.com/office/drawing/2014/main" id="{F453BF5E-F25F-254A-9067-B75B72BE7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8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8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 116">
              <a:extLst>
                <a:ext uri="{FF2B5EF4-FFF2-40B4-BE49-F238E27FC236}">
                  <a16:creationId xmlns:a16="http://schemas.microsoft.com/office/drawing/2014/main" id="{8E90C014-19E5-3842-9ADE-D57096FA8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8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8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 117">
              <a:extLst>
                <a:ext uri="{FF2B5EF4-FFF2-40B4-BE49-F238E27FC236}">
                  <a16:creationId xmlns:a16="http://schemas.microsoft.com/office/drawing/2014/main" id="{DAEBDF05-66BF-AC41-90F5-1CB892F44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 118">
              <a:extLst>
                <a:ext uri="{FF2B5EF4-FFF2-40B4-BE49-F238E27FC236}">
                  <a16:creationId xmlns:a16="http://schemas.microsoft.com/office/drawing/2014/main" id="{9D4600DD-BB8E-054F-83AA-52FDBAD3E8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8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8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reeform 119">
              <a:extLst>
                <a:ext uri="{FF2B5EF4-FFF2-40B4-BE49-F238E27FC236}">
                  <a16:creationId xmlns:a16="http://schemas.microsoft.com/office/drawing/2014/main" id="{A6EC96E7-0506-9C4A-A82A-771C1CFA1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reeform 120">
              <a:extLst>
                <a:ext uri="{FF2B5EF4-FFF2-40B4-BE49-F238E27FC236}">
                  <a16:creationId xmlns:a16="http://schemas.microsoft.com/office/drawing/2014/main" id="{55C2D06F-89E7-094C-8C9E-AB731BC89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Freeform 121">
              <a:extLst>
                <a:ext uri="{FF2B5EF4-FFF2-40B4-BE49-F238E27FC236}">
                  <a16:creationId xmlns:a16="http://schemas.microsoft.com/office/drawing/2014/main" id="{8969691D-90D9-0848-8DE0-8A6C82A71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Freeform 122">
              <a:extLst>
                <a:ext uri="{FF2B5EF4-FFF2-40B4-BE49-F238E27FC236}">
                  <a16:creationId xmlns:a16="http://schemas.microsoft.com/office/drawing/2014/main" id="{21088AB1-6758-104F-9977-25D212231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Freeform 123">
              <a:extLst>
                <a:ext uri="{FF2B5EF4-FFF2-40B4-BE49-F238E27FC236}">
                  <a16:creationId xmlns:a16="http://schemas.microsoft.com/office/drawing/2014/main" id="{82BC2037-C222-EE47-83DB-1A2BD1328F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Freeform 124">
              <a:extLst>
                <a:ext uri="{FF2B5EF4-FFF2-40B4-BE49-F238E27FC236}">
                  <a16:creationId xmlns:a16="http://schemas.microsoft.com/office/drawing/2014/main" id="{C1A212DD-886A-864F-90A3-7058B3A3B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 125">
              <a:extLst>
                <a:ext uri="{FF2B5EF4-FFF2-40B4-BE49-F238E27FC236}">
                  <a16:creationId xmlns:a16="http://schemas.microsoft.com/office/drawing/2014/main" id="{DE2FC51A-F049-5544-9697-4CFC058A1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126">
              <a:extLst>
                <a:ext uri="{FF2B5EF4-FFF2-40B4-BE49-F238E27FC236}">
                  <a16:creationId xmlns:a16="http://schemas.microsoft.com/office/drawing/2014/main" id="{DB3C99FA-81AB-4146-8F0B-71539679C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 127">
              <a:extLst>
                <a:ext uri="{FF2B5EF4-FFF2-40B4-BE49-F238E27FC236}">
                  <a16:creationId xmlns:a16="http://schemas.microsoft.com/office/drawing/2014/main" id="{530A485A-7ADC-9345-B904-46D86663D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reeform 128">
              <a:extLst>
                <a:ext uri="{FF2B5EF4-FFF2-40B4-BE49-F238E27FC236}">
                  <a16:creationId xmlns:a16="http://schemas.microsoft.com/office/drawing/2014/main" id="{6ACBB628-7F28-1C48-BC35-CD65E6923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reeform 129">
              <a:extLst>
                <a:ext uri="{FF2B5EF4-FFF2-40B4-BE49-F238E27FC236}">
                  <a16:creationId xmlns:a16="http://schemas.microsoft.com/office/drawing/2014/main" id="{E0207161-DBCE-D848-AA2A-3E87BEF7D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reeform 130">
              <a:extLst>
                <a:ext uri="{FF2B5EF4-FFF2-40B4-BE49-F238E27FC236}">
                  <a16:creationId xmlns:a16="http://schemas.microsoft.com/office/drawing/2014/main" id="{0060E06C-8D26-864E-93F7-52C0766ED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Freeform 131">
              <a:extLst>
                <a:ext uri="{FF2B5EF4-FFF2-40B4-BE49-F238E27FC236}">
                  <a16:creationId xmlns:a16="http://schemas.microsoft.com/office/drawing/2014/main" id="{B37A52A8-52F4-4D4A-95DC-F2D4E11BF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Freeform 132">
              <a:extLst>
                <a:ext uri="{FF2B5EF4-FFF2-40B4-BE49-F238E27FC236}">
                  <a16:creationId xmlns:a16="http://schemas.microsoft.com/office/drawing/2014/main" id="{E9B82C0F-CE8F-8442-A793-444024882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reeform 133">
              <a:extLst>
                <a:ext uri="{FF2B5EF4-FFF2-40B4-BE49-F238E27FC236}">
                  <a16:creationId xmlns:a16="http://schemas.microsoft.com/office/drawing/2014/main" id="{2443CC86-A696-BA49-9E87-21C1E2218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reeform 134">
              <a:extLst>
                <a:ext uri="{FF2B5EF4-FFF2-40B4-BE49-F238E27FC236}">
                  <a16:creationId xmlns:a16="http://schemas.microsoft.com/office/drawing/2014/main" id="{EA4E7441-54F4-1448-A942-50C4270BF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reeform 135">
              <a:extLst>
                <a:ext uri="{FF2B5EF4-FFF2-40B4-BE49-F238E27FC236}">
                  <a16:creationId xmlns:a16="http://schemas.microsoft.com/office/drawing/2014/main" id="{4F0C474E-64C9-6047-8CE9-1E296990B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 136">
              <a:extLst>
                <a:ext uri="{FF2B5EF4-FFF2-40B4-BE49-F238E27FC236}">
                  <a16:creationId xmlns:a16="http://schemas.microsoft.com/office/drawing/2014/main" id="{39A1E9B7-7FCB-424A-9F71-702A9A7AE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6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3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3 w 23"/>
                <a:gd name="T27" fmla="*/ 4 h 23"/>
                <a:gd name="T28" fmla="*/ 7 w 23"/>
                <a:gd name="T29" fmla="*/ 2 h 23"/>
                <a:gd name="T30" fmla="*/ 12 w 23"/>
                <a:gd name="T31" fmla="*/ 0 h 23"/>
                <a:gd name="T32" fmla="*/ 12 w 23"/>
                <a:gd name="T33" fmla="*/ 0 h 23"/>
                <a:gd name="T34" fmla="*/ 15 w 23"/>
                <a:gd name="T35" fmla="*/ 2 h 23"/>
                <a:gd name="T36" fmla="*/ 19 w 23"/>
                <a:gd name="T37" fmla="*/ 4 h 23"/>
                <a:gd name="T38" fmla="*/ 23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6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Freeform 137">
              <a:extLst>
                <a:ext uri="{FF2B5EF4-FFF2-40B4-BE49-F238E27FC236}">
                  <a16:creationId xmlns:a16="http://schemas.microsoft.com/office/drawing/2014/main" id="{5D6AA090-5E7E-1342-8434-133ED9043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2 w 23"/>
                <a:gd name="T11" fmla="*/ 25 h 25"/>
                <a:gd name="T12" fmla="*/ 12 w 23"/>
                <a:gd name="T13" fmla="*/ 25 h 25"/>
                <a:gd name="T14" fmla="*/ 7 w 23"/>
                <a:gd name="T15" fmla="*/ 23 h 25"/>
                <a:gd name="T16" fmla="*/ 3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3 w 23"/>
                <a:gd name="T27" fmla="*/ 4 h 25"/>
                <a:gd name="T28" fmla="*/ 7 w 23"/>
                <a:gd name="T29" fmla="*/ 2 h 25"/>
                <a:gd name="T30" fmla="*/ 12 w 23"/>
                <a:gd name="T31" fmla="*/ 0 h 25"/>
                <a:gd name="T32" fmla="*/ 12 w 23"/>
                <a:gd name="T33" fmla="*/ 0 h 25"/>
                <a:gd name="T34" fmla="*/ 15 w 23"/>
                <a:gd name="T35" fmla="*/ 2 h 25"/>
                <a:gd name="T36" fmla="*/ 19 w 23"/>
                <a:gd name="T37" fmla="*/ 4 h 25"/>
                <a:gd name="T38" fmla="*/ 23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Freeform 138">
              <a:extLst>
                <a:ext uri="{FF2B5EF4-FFF2-40B4-BE49-F238E27FC236}">
                  <a16:creationId xmlns:a16="http://schemas.microsoft.com/office/drawing/2014/main" id="{13819F8A-134C-0943-B8F3-532EC182F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Freeform 139">
              <a:extLst>
                <a:ext uri="{FF2B5EF4-FFF2-40B4-BE49-F238E27FC236}">
                  <a16:creationId xmlns:a16="http://schemas.microsoft.com/office/drawing/2014/main" id="{A153A6F1-3419-FF42-B64A-7051CD58A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6 h 23"/>
                <a:gd name="T6" fmla="*/ 19 w 23"/>
                <a:gd name="T7" fmla="*/ 19 h 23"/>
                <a:gd name="T8" fmla="*/ 15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3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3 w 23"/>
                <a:gd name="T27" fmla="*/ 4 h 23"/>
                <a:gd name="T28" fmla="*/ 7 w 23"/>
                <a:gd name="T29" fmla="*/ 0 h 23"/>
                <a:gd name="T30" fmla="*/ 12 w 23"/>
                <a:gd name="T31" fmla="*/ 0 h 23"/>
                <a:gd name="T32" fmla="*/ 12 w 23"/>
                <a:gd name="T33" fmla="*/ 0 h 23"/>
                <a:gd name="T34" fmla="*/ 15 w 23"/>
                <a:gd name="T35" fmla="*/ 0 h 23"/>
                <a:gd name="T36" fmla="*/ 19 w 23"/>
                <a:gd name="T37" fmla="*/ 4 h 23"/>
                <a:gd name="T38" fmla="*/ 23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6"/>
                  </a:lnTo>
                  <a:lnTo>
                    <a:pt x="19" y="19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Freeform 140">
              <a:extLst>
                <a:ext uri="{FF2B5EF4-FFF2-40B4-BE49-F238E27FC236}">
                  <a16:creationId xmlns:a16="http://schemas.microsoft.com/office/drawing/2014/main" id="{CE0114D3-D447-664C-9D7C-29CD0690C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141">
              <a:extLst>
                <a:ext uri="{FF2B5EF4-FFF2-40B4-BE49-F238E27FC236}">
                  <a16:creationId xmlns:a16="http://schemas.microsoft.com/office/drawing/2014/main" id="{946D1460-951F-E947-86CE-4030CA3BF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 142">
              <a:extLst>
                <a:ext uri="{FF2B5EF4-FFF2-40B4-BE49-F238E27FC236}">
                  <a16:creationId xmlns:a16="http://schemas.microsoft.com/office/drawing/2014/main" id="{34E854D3-0EDD-474B-8CFF-1B9ECD7878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143">
              <a:extLst>
                <a:ext uri="{FF2B5EF4-FFF2-40B4-BE49-F238E27FC236}">
                  <a16:creationId xmlns:a16="http://schemas.microsoft.com/office/drawing/2014/main" id="{0F703A48-333F-D641-B152-0D40AB6C3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2 w 23"/>
                <a:gd name="T5" fmla="*/ 16 h 23"/>
                <a:gd name="T6" fmla="*/ 20 w 23"/>
                <a:gd name="T7" fmla="*/ 21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8 w 23"/>
                <a:gd name="T15" fmla="*/ 23 h 23"/>
                <a:gd name="T16" fmla="*/ 3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3 w 23"/>
                <a:gd name="T27" fmla="*/ 4 h 23"/>
                <a:gd name="T28" fmla="*/ 8 w 23"/>
                <a:gd name="T29" fmla="*/ 2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2 h 23"/>
                <a:gd name="T36" fmla="*/ 20 w 23"/>
                <a:gd name="T37" fmla="*/ 4 h 23"/>
                <a:gd name="T38" fmla="*/ 22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2" y="16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 144">
              <a:extLst>
                <a:ext uri="{FF2B5EF4-FFF2-40B4-BE49-F238E27FC236}">
                  <a16:creationId xmlns:a16="http://schemas.microsoft.com/office/drawing/2014/main" id="{C05E9320-D2E5-1C45-A847-0718BE119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2 w 23"/>
                <a:gd name="T5" fmla="*/ 17 h 25"/>
                <a:gd name="T6" fmla="*/ 20 w 23"/>
                <a:gd name="T7" fmla="*/ 21 h 25"/>
                <a:gd name="T8" fmla="*/ 16 w 23"/>
                <a:gd name="T9" fmla="*/ 23 h 25"/>
                <a:gd name="T10" fmla="*/ 11 w 23"/>
                <a:gd name="T11" fmla="*/ 25 h 25"/>
                <a:gd name="T12" fmla="*/ 11 w 23"/>
                <a:gd name="T13" fmla="*/ 25 h 25"/>
                <a:gd name="T14" fmla="*/ 8 w 23"/>
                <a:gd name="T15" fmla="*/ 23 h 25"/>
                <a:gd name="T16" fmla="*/ 3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3 w 23"/>
                <a:gd name="T27" fmla="*/ 4 h 25"/>
                <a:gd name="T28" fmla="*/ 8 w 23"/>
                <a:gd name="T29" fmla="*/ 2 h 25"/>
                <a:gd name="T30" fmla="*/ 11 w 23"/>
                <a:gd name="T31" fmla="*/ 0 h 25"/>
                <a:gd name="T32" fmla="*/ 11 w 23"/>
                <a:gd name="T33" fmla="*/ 0 h 25"/>
                <a:gd name="T34" fmla="*/ 16 w 23"/>
                <a:gd name="T35" fmla="*/ 2 h 25"/>
                <a:gd name="T36" fmla="*/ 20 w 23"/>
                <a:gd name="T37" fmla="*/ 4 h 25"/>
                <a:gd name="T38" fmla="*/ 22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145">
              <a:extLst>
                <a:ext uri="{FF2B5EF4-FFF2-40B4-BE49-F238E27FC236}">
                  <a16:creationId xmlns:a16="http://schemas.microsoft.com/office/drawing/2014/main" id="{E964FB27-8C2C-2543-B942-8F817094A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 146">
              <a:extLst>
                <a:ext uri="{FF2B5EF4-FFF2-40B4-BE49-F238E27FC236}">
                  <a16:creationId xmlns:a16="http://schemas.microsoft.com/office/drawing/2014/main" id="{145DB811-3CA4-9F4E-8DC1-0A0B7CFF6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2 w 23"/>
                <a:gd name="T5" fmla="*/ 16 h 23"/>
                <a:gd name="T6" fmla="*/ 20 w 23"/>
                <a:gd name="T7" fmla="*/ 19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8 w 23"/>
                <a:gd name="T15" fmla="*/ 23 h 23"/>
                <a:gd name="T16" fmla="*/ 3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3 w 23"/>
                <a:gd name="T27" fmla="*/ 4 h 23"/>
                <a:gd name="T28" fmla="*/ 8 w 23"/>
                <a:gd name="T29" fmla="*/ 0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0 h 23"/>
                <a:gd name="T36" fmla="*/ 20 w 23"/>
                <a:gd name="T37" fmla="*/ 4 h 23"/>
                <a:gd name="T38" fmla="*/ 22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2" y="16"/>
                  </a:lnTo>
                  <a:lnTo>
                    <a:pt x="20" y="19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Freeform 147">
              <a:extLst>
                <a:ext uri="{FF2B5EF4-FFF2-40B4-BE49-F238E27FC236}">
                  <a16:creationId xmlns:a16="http://schemas.microsoft.com/office/drawing/2014/main" id="{BC2281D6-5AAE-D64C-AC55-C64F7DA7D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Freeform 148">
              <a:extLst>
                <a:ext uri="{FF2B5EF4-FFF2-40B4-BE49-F238E27FC236}">
                  <a16:creationId xmlns:a16="http://schemas.microsoft.com/office/drawing/2014/main" id="{9F608975-BFDC-4C45-A91B-F802D8BC5D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Freeform 149">
              <a:extLst>
                <a:ext uri="{FF2B5EF4-FFF2-40B4-BE49-F238E27FC236}">
                  <a16:creationId xmlns:a16="http://schemas.microsoft.com/office/drawing/2014/main" id="{E15915DD-7D87-BC4D-86B4-6793F879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Freeform 150">
              <a:extLst>
                <a:ext uri="{FF2B5EF4-FFF2-40B4-BE49-F238E27FC236}">
                  <a16:creationId xmlns:a16="http://schemas.microsoft.com/office/drawing/2014/main" id="{AD6543DB-5C31-5947-A338-B0C0581FF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Freeform 151">
              <a:extLst>
                <a:ext uri="{FF2B5EF4-FFF2-40B4-BE49-F238E27FC236}">
                  <a16:creationId xmlns:a16="http://schemas.microsoft.com/office/drawing/2014/main" id="{9144EAE3-E50E-9C4D-A329-E6BE469DE0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Freeform 152">
              <a:extLst>
                <a:ext uri="{FF2B5EF4-FFF2-40B4-BE49-F238E27FC236}">
                  <a16:creationId xmlns:a16="http://schemas.microsoft.com/office/drawing/2014/main" id="{8C84894E-D303-7D45-BAA9-5A55F7162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Freeform 153">
              <a:extLst>
                <a:ext uri="{FF2B5EF4-FFF2-40B4-BE49-F238E27FC236}">
                  <a16:creationId xmlns:a16="http://schemas.microsoft.com/office/drawing/2014/main" id="{09AB97A1-8CF1-4048-844B-6F8B884CF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Freeform 154">
              <a:extLst>
                <a:ext uri="{FF2B5EF4-FFF2-40B4-BE49-F238E27FC236}">
                  <a16:creationId xmlns:a16="http://schemas.microsoft.com/office/drawing/2014/main" id="{E8C5508A-2CA0-904C-9873-FD4222C3B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Freeform 155">
              <a:extLst>
                <a:ext uri="{FF2B5EF4-FFF2-40B4-BE49-F238E27FC236}">
                  <a16:creationId xmlns:a16="http://schemas.microsoft.com/office/drawing/2014/main" id="{53BF5D66-ED7A-FD43-9049-C63995601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Freeform 156">
              <a:extLst>
                <a:ext uri="{FF2B5EF4-FFF2-40B4-BE49-F238E27FC236}">
                  <a16:creationId xmlns:a16="http://schemas.microsoft.com/office/drawing/2014/main" id="{202DB8DF-3D30-7843-A0F1-E93085CFA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Freeform 157">
              <a:extLst>
                <a:ext uri="{FF2B5EF4-FFF2-40B4-BE49-F238E27FC236}">
                  <a16:creationId xmlns:a16="http://schemas.microsoft.com/office/drawing/2014/main" id="{96A38FBA-FBC3-A740-8BA0-52267D15C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Freeform 158">
              <a:extLst>
                <a:ext uri="{FF2B5EF4-FFF2-40B4-BE49-F238E27FC236}">
                  <a16:creationId xmlns:a16="http://schemas.microsoft.com/office/drawing/2014/main" id="{DB7B3BD2-F622-6A49-8DD2-7350EA855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Freeform 159">
              <a:extLst>
                <a:ext uri="{FF2B5EF4-FFF2-40B4-BE49-F238E27FC236}">
                  <a16:creationId xmlns:a16="http://schemas.microsoft.com/office/drawing/2014/main" id="{917B385B-9E53-ED4B-AAFC-1E21BC6A3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Freeform 160">
              <a:extLst>
                <a:ext uri="{FF2B5EF4-FFF2-40B4-BE49-F238E27FC236}">
                  <a16:creationId xmlns:a16="http://schemas.microsoft.com/office/drawing/2014/main" id="{8FEC56C3-A750-5945-86ED-8A65F549A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Freeform 161">
              <a:extLst>
                <a:ext uri="{FF2B5EF4-FFF2-40B4-BE49-F238E27FC236}">
                  <a16:creationId xmlns:a16="http://schemas.microsoft.com/office/drawing/2014/main" id="{7F554192-F48B-B046-9DB1-DC19C2A27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6" name="Freeform 162">
              <a:extLst>
                <a:ext uri="{FF2B5EF4-FFF2-40B4-BE49-F238E27FC236}">
                  <a16:creationId xmlns:a16="http://schemas.microsoft.com/office/drawing/2014/main" id="{ACB8AC4E-6618-7040-B090-4DD4BB59E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7" name="Freeform 163">
              <a:extLst>
                <a:ext uri="{FF2B5EF4-FFF2-40B4-BE49-F238E27FC236}">
                  <a16:creationId xmlns:a16="http://schemas.microsoft.com/office/drawing/2014/main" id="{2F1AC8E5-7C0F-6C48-A67E-72DFBBD9C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8" name="Freeform 235">
              <a:extLst>
                <a:ext uri="{FF2B5EF4-FFF2-40B4-BE49-F238E27FC236}">
                  <a16:creationId xmlns:a16="http://schemas.microsoft.com/office/drawing/2014/main" id="{E9BF685B-EC0E-304D-B4C6-F371530B6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Freeform 242">
              <a:extLst>
                <a:ext uri="{FF2B5EF4-FFF2-40B4-BE49-F238E27FC236}">
                  <a16:creationId xmlns:a16="http://schemas.microsoft.com/office/drawing/2014/main" id="{72CDAC10-0910-044B-804E-EA476E7CD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544763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0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0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3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3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0" name="Freeform 249">
              <a:extLst>
                <a:ext uri="{FF2B5EF4-FFF2-40B4-BE49-F238E27FC236}">
                  <a16:creationId xmlns:a16="http://schemas.microsoft.com/office/drawing/2014/main" id="{A0473C71-A1FA-994F-AAAA-0F5B596D4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544763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0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0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1" name="Freeform 256">
              <a:extLst>
                <a:ext uri="{FF2B5EF4-FFF2-40B4-BE49-F238E27FC236}">
                  <a16:creationId xmlns:a16="http://schemas.microsoft.com/office/drawing/2014/main" id="{D310C74F-7F77-A84F-BC4F-13534383A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3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2" name="Freeform 263">
              <a:extLst>
                <a:ext uri="{FF2B5EF4-FFF2-40B4-BE49-F238E27FC236}">
                  <a16:creationId xmlns:a16="http://schemas.microsoft.com/office/drawing/2014/main" id="{BCA845B5-E466-7445-8CA7-6EDEEF54F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0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3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3" name="Freeform 270">
              <a:extLst>
                <a:ext uri="{FF2B5EF4-FFF2-40B4-BE49-F238E27FC236}">
                  <a16:creationId xmlns:a16="http://schemas.microsoft.com/office/drawing/2014/main" id="{0AB53A90-F75E-0841-A0A9-599302AD6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4" name="Freeform 277">
              <a:extLst>
                <a:ext uri="{FF2B5EF4-FFF2-40B4-BE49-F238E27FC236}">
                  <a16:creationId xmlns:a16="http://schemas.microsoft.com/office/drawing/2014/main" id="{0575EA7C-9CF1-244A-B731-5FC4AE424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5" name="Freeform 284">
              <a:extLst>
                <a:ext uri="{FF2B5EF4-FFF2-40B4-BE49-F238E27FC236}">
                  <a16:creationId xmlns:a16="http://schemas.microsoft.com/office/drawing/2014/main" id="{EE0E4227-4482-8245-879B-B64CE8803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6" name="Freeform 291">
              <a:extLst>
                <a:ext uri="{FF2B5EF4-FFF2-40B4-BE49-F238E27FC236}">
                  <a16:creationId xmlns:a16="http://schemas.microsoft.com/office/drawing/2014/main" id="{5B637050-63F4-1D46-A37C-3605F6766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7" name="Freeform 298">
              <a:extLst>
                <a:ext uri="{FF2B5EF4-FFF2-40B4-BE49-F238E27FC236}">
                  <a16:creationId xmlns:a16="http://schemas.microsoft.com/office/drawing/2014/main" id="{EE5837DC-0A15-494D-9E4F-30C17426E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8" name="Freeform 305">
              <a:extLst>
                <a:ext uri="{FF2B5EF4-FFF2-40B4-BE49-F238E27FC236}">
                  <a16:creationId xmlns:a16="http://schemas.microsoft.com/office/drawing/2014/main" id="{0CB4010C-2B4F-2147-9041-E8763F02B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9" name="Freeform 312">
              <a:extLst>
                <a:ext uri="{FF2B5EF4-FFF2-40B4-BE49-F238E27FC236}">
                  <a16:creationId xmlns:a16="http://schemas.microsoft.com/office/drawing/2014/main" id="{EA86209C-865F-A04A-9EDB-1028ED204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6" name="Round Same Side Corner Rectangle 315">
            <a:extLst>
              <a:ext uri="{FF2B5EF4-FFF2-40B4-BE49-F238E27FC236}">
                <a16:creationId xmlns:a16="http://schemas.microsoft.com/office/drawing/2014/main" id="{2678AC5B-A9EB-4C4D-8B6C-4D431ACCAA53}"/>
              </a:ext>
            </a:extLst>
          </p:cNvPr>
          <p:cNvSpPr/>
          <p:nvPr/>
        </p:nvSpPr>
        <p:spPr>
          <a:xfrm rot="16200000">
            <a:off x="6301522" y="235715"/>
            <a:ext cx="4367210" cy="7579502"/>
          </a:xfrm>
          <a:prstGeom prst="round2SameRect">
            <a:avLst>
              <a:gd name="adj1" fmla="val 9123"/>
              <a:gd name="adj2" fmla="val 0"/>
            </a:avLst>
          </a:prstGeom>
          <a:solidFill>
            <a:schemeClr val="bg1"/>
          </a:solidFill>
          <a:ln w="19050">
            <a:noFill/>
          </a:ln>
          <a:effectLst>
            <a:outerShdw blurRad="292100" sx="102000" sy="102000" algn="ctr" rotWithShape="0">
              <a:schemeClr val="accent1">
                <a:lumMod val="75000"/>
                <a:alpha val="1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4D2D475-A27C-F743-ABFE-5E4FD345CE43}"/>
              </a:ext>
            </a:extLst>
          </p:cNvPr>
          <p:cNvGrpSpPr/>
          <p:nvPr/>
        </p:nvGrpSpPr>
        <p:grpSpPr>
          <a:xfrm>
            <a:off x="677067" y="3205353"/>
            <a:ext cx="2171684" cy="1306719"/>
            <a:chOff x="9915526" y="1892300"/>
            <a:chExt cx="1116012" cy="671513"/>
          </a:xfrm>
          <a:solidFill>
            <a:schemeClr val="bg1">
              <a:alpha val="54000"/>
            </a:schemeClr>
          </a:solidFill>
        </p:grpSpPr>
        <p:sp>
          <p:nvSpPr>
            <p:cNvPr id="104" name="Freeform 80">
              <a:extLst>
                <a:ext uri="{FF2B5EF4-FFF2-40B4-BE49-F238E27FC236}">
                  <a16:creationId xmlns:a16="http://schemas.microsoft.com/office/drawing/2014/main" id="{16075D6D-F68F-B640-99DC-BCEFEEE32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81">
              <a:extLst>
                <a:ext uri="{FF2B5EF4-FFF2-40B4-BE49-F238E27FC236}">
                  <a16:creationId xmlns:a16="http://schemas.microsoft.com/office/drawing/2014/main" id="{B6AEA1D1-6368-0F45-9D56-3CAE00A7A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82">
              <a:extLst>
                <a:ext uri="{FF2B5EF4-FFF2-40B4-BE49-F238E27FC236}">
                  <a16:creationId xmlns:a16="http://schemas.microsoft.com/office/drawing/2014/main" id="{916E375A-6503-A54D-89BE-EB69C8B0E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83">
              <a:extLst>
                <a:ext uri="{FF2B5EF4-FFF2-40B4-BE49-F238E27FC236}">
                  <a16:creationId xmlns:a16="http://schemas.microsoft.com/office/drawing/2014/main" id="{DB931DBC-D139-DF4A-849F-3AD8406AC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84">
              <a:extLst>
                <a:ext uri="{FF2B5EF4-FFF2-40B4-BE49-F238E27FC236}">
                  <a16:creationId xmlns:a16="http://schemas.microsoft.com/office/drawing/2014/main" id="{CDC1BCFC-B157-9D4E-878A-E5735795C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85">
              <a:extLst>
                <a:ext uri="{FF2B5EF4-FFF2-40B4-BE49-F238E27FC236}">
                  <a16:creationId xmlns:a16="http://schemas.microsoft.com/office/drawing/2014/main" id="{C5B3186D-0464-F44B-B678-D64CC49D2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86">
              <a:extLst>
                <a:ext uri="{FF2B5EF4-FFF2-40B4-BE49-F238E27FC236}">
                  <a16:creationId xmlns:a16="http://schemas.microsoft.com/office/drawing/2014/main" id="{D482F344-126E-D847-B371-A942F72DC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87">
              <a:extLst>
                <a:ext uri="{FF2B5EF4-FFF2-40B4-BE49-F238E27FC236}">
                  <a16:creationId xmlns:a16="http://schemas.microsoft.com/office/drawing/2014/main" id="{67CBAE67-8C35-6546-B19D-7D3BFD587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1892300"/>
              <a:ext cx="19050" cy="1746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6 h 23"/>
                <a:gd name="T6" fmla="*/ 21 w 25"/>
                <a:gd name="T7" fmla="*/ 21 h 23"/>
                <a:gd name="T8" fmla="*/ 17 w 25"/>
                <a:gd name="T9" fmla="*/ 23 h 23"/>
                <a:gd name="T10" fmla="*/ 13 w 25"/>
                <a:gd name="T11" fmla="*/ 23 h 23"/>
                <a:gd name="T12" fmla="*/ 13 w 25"/>
                <a:gd name="T13" fmla="*/ 23 h 23"/>
                <a:gd name="T14" fmla="*/ 8 w 25"/>
                <a:gd name="T15" fmla="*/ 23 h 23"/>
                <a:gd name="T16" fmla="*/ 4 w 25"/>
                <a:gd name="T17" fmla="*/ 21 h 23"/>
                <a:gd name="T18" fmla="*/ 2 w 25"/>
                <a:gd name="T19" fmla="*/ 16 h 23"/>
                <a:gd name="T20" fmla="*/ 0 w 25"/>
                <a:gd name="T21" fmla="*/ 12 h 23"/>
                <a:gd name="T22" fmla="*/ 0 w 25"/>
                <a:gd name="T23" fmla="*/ 12 h 23"/>
                <a:gd name="T24" fmla="*/ 2 w 25"/>
                <a:gd name="T25" fmla="*/ 8 h 23"/>
                <a:gd name="T26" fmla="*/ 4 w 25"/>
                <a:gd name="T27" fmla="*/ 4 h 23"/>
                <a:gd name="T28" fmla="*/ 8 w 25"/>
                <a:gd name="T29" fmla="*/ 2 h 23"/>
                <a:gd name="T30" fmla="*/ 13 w 25"/>
                <a:gd name="T31" fmla="*/ 0 h 23"/>
                <a:gd name="T32" fmla="*/ 13 w 25"/>
                <a:gd name="T33" fmla="*/ 0 h 23"/>
                <a:gd name="T34" fmla="*/ 17 w 25"/>
                <a:gd name="T35" fmla="*/ 2 h 23"/>
                <a:gd name="T36" fmla="*/ 21 w 25"/>
                <a:gd name="T37" fmla="*/ 4 h 23"/>
                <a:gd name="T38" fmla="*/ 23 w 25"/>
                <a:gd name="T39" fmla="*/ 8 h 23"/>
                <a:gd name="T40" fmla="*/ 25 w 25"/>
                <a:gd name="T41" fmla="*/ 12 h 23"/>
                <a:gd name="T42" fmla="*/ 25 w 25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88">
              <a:extLst>
                <a:ext uri="{FF2B5EF4-FFF2-40B4-BE49-F238E27FC236}">
                  <a16:creationId xmlns:a16="http://schemas.microsoft.com/office/drawing/2014/main" id="{70BCF435-E116-F941-B8B8-76C1D11DF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1984375"/>
              <a:ext cx="19050" cy="19050"/>
            </a:xfrm>
            <a:custGeom>
              <a:avLst/>
              <a:gdLst>
                <a:gd name="T0" fmla="*/ 25 w 25"/>
                <a:gd name="T1" fmla="*/ 13 h 25"/>
                <a:gd name="T2" fmla="*/ 25 w 25"/>
                <a:gd name="T3" fmla="*/ 13 h 25"/>
                <a:gd name="T4" fmla="*/ 23 w 25"/>
                <a:gd name="T5" fmla="*/ 17 h 25"/>
                <a:gd name="T6" fmla="*/ 21 w 25"/>
                <a:gd name="T7" fmla="*/ 21 h 25"/>
                <a:gd name="T8" fmla="*/ 17 w 25"/>
                <a:gd name="T9" fmla="*/ 23 h 25"/>
                <a:gd name="T10" fmla="*/ 13 w 25"/>
                <a:gd name="T11" fmla="*/ 25 h 25"/>
                <a:gd name="T12" fmla="*/ 13 w 25"/>
                <a:gd name="T13" fmla="*/ 25 h 25"/>
                <a:gd name="T14" fmla="*/ 8 w 25"/>
                <a:gd name="T15" fmla="*/ 23 h 25"/>
                <a:gd name="T16" fmla="*/ 4 w 25"/>
                <a:gd name="T17" fmla="*/ 21 h 25"/>
                <a:gd name="T18" fmla="*/ 2 w 25"/>
                <a:gd name="T19" fmla="*/ 17 h 25"/>
                <a:gd name="T20" fmla="*/ 0 w 25"/>
                <a:gd name="T21" fmla="*/ 13 h 25"/>
                <a:gd name="T22" fmla="*/ 0 w 25"/>
                <a:gd name="T23" fmla="*/ 13 h 25"/>
                <a:gd name="T24" fmla="*/ 2 w 25"/>
                <a:gd name="T25" fmla="*/ 8 h 25"/>
                <a:gd name="T26" fmla="*/ 4 w 25"/>
                <a:gd name="T27" fmla="*/ 4 h 25"/>
                <a:gd name="T28" fmla="*/ 8 w 25"/>
                <a:gd name="T29" fmla="*/ 2 h 25"/>
                <a:gd name="T30" fmla="*/ 13 w 25"/>
                <a:gd name="T31" fmla="*/ 0 h 25"/>
                <a:gd name="T32" fmla="*/ 13 w 25"/>
                <a:gd name="T33" fmla="*/ 0 h 25"/>
                <a:gd name="T34" fmla="*/ 17 w 25"/>
                <a:gd name="T35" fmla="*/ 2 h 25"/>
                <a:gd name="T36" fmla="*/ 21 w 25"/>
                <a:gd name="T37" fmla="*/ 4 h 25"/>
                <a:gd name="T38" fmla="*/ 23 w 25"/>
                <a:gd name="T39" fmla="*/ 8 h 25"/>
                <a:gd name="T40" fmla="*/ 25 w 25"/>
                <a:gd name="T41" fmla="*/ 13 h 25"/>
                <a:gd name="T42" fmla="*/ 25 w 25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25" y="13"/>
                  </a:moveTo>
                  <a:lnTo>
                    <a:pt x="25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3"/>
                  </a:lnTo>
                  <a:lnTo>
                    <a:pt x="2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89">
              <a:extLst>
                <a:ext uri="{FF2B5EF4-FFF2-40B4-BE49-F238E27FC236}">
                  <a16:creationId xmlns:a16="http://schemas.microsoft.com/office/drawing/2014/main" id="{8FCCEBE0-A389-A440-B92B-66CDC24B4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076450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0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0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3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3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 90">
              <a:extLst>
                <a:ext uri="{FF2B5EF4-FFF2-40B4-BE49-F238E27FC236}">
                  <a16:creationId xmlns:a16="http://schemas.microsoft.com/office/drawing/2014/main" id="{F9B5636A-3152-6447-BFF4-CF69CEDC3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168525"/>
              <a:ext cx="19050" cy="19050"/>
            </a:xfrm>
            <a:custGeom>
              <a:avLst/>
              <a:gdLst>
                <a:gd name="T0" fmla="*/ 25 w 25"/>
                <a:gd name="T1" fmla="*/ 11 h 23"/>
                <a:gd name="T2" fmla="*/ 25 w 25"/>
                <a:gd name="T3" fmla="*/ 11 h 23"/>
                <a:gd name="T4" fmla="*/ 23 w 25"/>
                <a:gd name="T5" fmla="*/ 16 h 23"/>
                <a:gd name="T6" fmla="*/ 21 w 25"/>
                <a:gd name="T7" fmla="*/ 19 h 23"/>
                <a:gd name="T8" fmla="*/ 17 w 25"/>
                <a:gd name="T9" fmla="*/ 23 h 23"/>
                <a:gd name="T10" fmla="*/ 13 w 25"/>
                <a:gd name="T11" fmla="*/ 23 h 23"/>
                <a:gd name="T12" fmla="*/ 13 w 25"/>
                <a:gd name="T13" fmla="*/ 23 h 23"/>
                <a:gd name="T14" fmla="*/ 8 w 25"/>
                <a:gd name="T15" fmla="*/ 23 h 23"/>
                <a:gd name="T16" fmla="*/ 4 w 25"/>
                <a:gd name="T17" fmla="*/ 19 h 23"/>
                <a:gd name="T18" fmla="*/ 2 w 25"/>
                <a:gd name="T19" fmla="*/ 16 h 23"/>
                <a:gd name="T20" fmla="*/ 0 w 25"/>
                <a:gd name="T21" fmla="*/ 11 h 23"/>
                <a:gd name="T22" fmla="*/ 0 w 25"/>
                <a:gd name="T23" fmla="*/ 11 h 23"/>
                <a:gd name="T24" fmla="*/ 2 w 25"/>
                <a:gd name="T25" fmla="*/ 7 h 23"/>
                <a:gd name="T26" fmla="*/ 4 w 25"/>
                <a:gd name="T27" fmla="*/ 4 h 23"/>
                <a:gd name="T28" fmla="*/ 8 w 25"/>
                <a:gd name="T29" fmla="*/ 0 h 23"/>
                <a:gd name="T30" fmla="*/ 13 w 25"/>
                <a:gd name="T31" fmla="*/ 0 h 23"/>
                <a:gd name="T32" fmla="*/ 13 w 25"/>
                <a:gd name="T33" fmla="*/ 0 h 23"/>
                <a:gd name="T34" fmla="*/ 17 w 25"/>
                <a:gd name="T35" fmla="*/ 0 h 23"/>
                <a:gd name="T36" fmla="*/ 21 w 25"/>
                <a:gd name="T37" fmla="*/ 4 h 23"/>
                <a:gd name="T38" fmla="*/ 23 w 25"/>
                <a:gd name="T39" fmla="*/ 7 h 23"/>
                <a:gd name="T40" fmla="*/ 25 w 25"/>
                <a:gd name="T41" fmla="*/ 11 h 23"/>
                <a:gd name="T42" fmla="*/ 25 w 25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25" y="11"/>
                  </a:moveTo>
                  <a:lnTo>
                    <a:pt x="25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8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1"/>
                  </a:lnTo>
                  <a:lnTo>
                    <a:pt x="25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91">
              <a:extLst>
                <a:ext uri="{FF2B5EF4-FFF2-40B4-BE49-F238E27FC236}">
                  <a16:creationId xmlns:a16="http://schemas.microsoft.com/office/drawing/2014/main" id="{7DC0428E-33E8-C843-8DB3-BAC83CA8B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260600"/>
              <a:ext cx="19050" cy="20638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92">
              <a:extLst>
                <a:ext uri="{FF2B5EF4-FFF2-40B4-BE49-F238E27FC236}">
                  <a16:creationId xmlns:a16="http://schemas.microsoft.com/office/drawing/2014/main" id="{42376434-23FB-9743-8CE4-70EBA20B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354263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93">
              <a:extLst>
                <a:ext uri="{FF2B5EF4-FFF2-40B4-BE49-F238E27FC236}">
                  <a16:creationId xmlns:a16="http://schemas.microsoft.com/office/drawing/2014/main" id="{983738FC-C574-2342-B9C1-9673194CE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446338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94">
              <a:extLst>
                <a:ext uri="{FF2B5EF4-FFF2-40B4-BE49-F238E27FC236}">
                  <a16:creationId xmlns:a16="http://schemas.microsoft.com/office/drawing/2014/main" id="{4B868585-1BB0-A545-BB1C-0B0589A61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1892300"/>
              <a:ext cx="19050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6 h 23"/>
                <a:gd name="T6" fmla="*/ 21 w 23"/>
                <a:gd name="T7" fmla="*/ 21 h 23"/>
                <a:gd name="T8" fmla="*/ 16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4 w 23"/>
                <a:gd name="T17" fmla="*/ 21 h 23"/>
                <a:gd name="T18" fmla="*/ 1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1 w 23"/>
                <a:gd name="T25" fmla="*/ 8 h 23"/>
                <a:gd name="T26" fmla="*/ 4 w 23"/>
                <a:gd name="T27" fmla="*/ 4 h 23"/>
                <a:gd name="T28" fmla="*/ 7 w 23"/>
                <a:gd name="T29" fmla="*/ 2 h 23"/>
                <a:gd name="T30" fmla="*/ 12 w 23"/>
                <a:gd name="T31" fmla="*/ 0 h 23"/>
                <a:gd name="T32" fmla="*/ 12 w 23"/>
                <a:gd name="T33" fmla="*/ 0 h 23"/>
                <a:gd name="T34" fmla="*/ 16 w 23"/>
                <a:gd name="T35" fmla="*/ 2 h 23"/>
                <a:gd name="T36" fmla="*/ 21 w 23"/>
                <a:gd name="T37" fmla="*/ 4 h 23"/>
                <a:gd name="T38" fmla="*/ 23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95">
              <a:extLst>
                <a:ext uri="{FF2B5EF4-FFF2-40B4-BE49-F238E27FC236}">
                  <a16:creationId xmlns:a16="http://schemas.microsoft.com/office/drawing/2014/main" id="{67AB14DC-9EAD-564B-AE90-E206C2103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1984375"/>
              <a:ext cx="19050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3 w 23"/>
                <a:gd name="T5" fmla="*/ 17 h 25"/>
                <a:gd name="T6" fmla="*/ 21 w 23"/>
                <a:gd name="T7" fmla="*/ 21 h 25"/>
                <a:gd name="T8" fmla="*/ 16 w 23"/>
                <a:gd name="T9" fmla="*/ 23 h 25"/>
                <a:gd name="T10" fmla="*/ 12 w 23"/>
                <a:gd name="T11" fmla="*/ 25 h 25"/>
                <a:gd name="T12" fmla="*/ 12 w 23"/>
                <a:gd name="T13" fmla="*/ 25 h 25"/>
                <a:gd name="T14" fmla="*/ 7 w 23"/>
                <a:gd name="T15" fmla="*/ 23 h 25"/>
                <a:gd name="T16" fmla="*/ 4 w 23"/>
                <a:gd name="T17" fmla="*/ 21 h 25"/>
                <a:gd name="T18" fmla="*/ 1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1 w 23"/>
                <a:gd name="T25" fmla="*/ 8 h 25"/>
                <a:gd name="T26" fmla="*/ 4 w 23"/>
                <a:gd name="T27" fmla="*/ 4 h 25"/>
                <a:gd name="T28" fmla="*/ 7 w 23"/>
                <a:gd name="T29" fmla="*/ 2 h 25"/>
                <a:gd name="T30" fmla="*/ 12 w 23"/>
                <a:gd name="T31" fmla="*/ 0 h 25"/>
                <a:gd name="T32" fmla="*/ 12 w 23"/>
                <a:gd name="T33" fmla="*/ 0 h 25"/>
                <a:gd name="T34" fmla="*/ 16 w 23"/>
                <a:gd name="T35" fmla="*/ 2 h 25"/>
                <a:gd name="T36" fmla="*/ 21 w 23"/>
                <a:gd name="T37" fmla="*/ 4 h 25"/>
                <a:gd name="T38" fmla="*/ 23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96">
              <a:extLst>
                <a:ext uri="{FF2B5EF4-FFF2-40B4-BE49-F238E27FC236}">
                  <a16:creationId xmlns:a16="http://schemas.microsoft.com/office/drawing/2014/main" id="{107A2D87-E046-FC44-AA95-7F15A3D25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076450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0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0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97">
              <a:extLst>
                <a:ext uri="{FF2B5EF4-FFF2-40B4-BE49-F238E27FC236}">
                  <a16:creationId xmlns:a16="http://schemas.microsoft.com/office/drawing/2014/main" id="{ACF77761-E85D-D845-8B96-5EC558C3F7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168525"/>
              <a:ext cx="19050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6 h 23"/>
                <a:gd name="T6" fmla="*/ 21 w 23"/>
                <a:gd name="T7" fmla="*/ 19 h 23"/>
                <a:gd name="T8" fmla="*/ 16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4 w 23"/>
                <a:gd name="T17" fmla="*/ 19 h 23"/>
                <a:gd name="T18" fmla="*/ 1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1 w 23"/>
                <a:gd name="T25" fmla="*/ 7 h 23"/>
                <a:gd name="T26" fmla="*/ 4 w 23"/>
                <a:gd name="T27" fmla="*/ 4 h 23"/>
                <a:gd name="T28" fmla="*/ 7 w 23"/>
                <a:gd name="T29" fmla="*/ 0 h 23"/>
                <a:gd name="T30" fmla="*/ 12 w 23"/>
                <a:gd name="T31" fmla="*/ 0 h 23"/>
                <a:gd name="T32" fmla="*/ 12 w 23"/>
                <a:gd name="T33" fmla="*/ 0 h 23"/>
                <a:gd name="T34" fmla="*/ 16 w 23"/>
                <a:gd name="T35" fmla="*/ 0 h 23"/>
                <a:gd name="T36" fmla="*/ 21 w 23"/>
                <a:gd name="T37" fmla="*/ 4 h 23"/>
                <a:gd name="T38" fmla="*/ 23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98">
              <a:extLst>
                <a:ext uri="{FF2B5EF4-FFF2-40B4-BE49-F238E27FC236}">
                  <a16:creationId xmlns:a16="http://schemas.microsoft.com/office/drawing/2014/main" id="{39314F51-0B0F-B34B-BF69-E9FBFDA44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260600"/>
              <a:ext cx="19050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99">
              <a:extLst>
                <a:ext uri="{FF2B5EF4-FFF2-40B4-BE49-F238E27FC236}">
                  <a16:creationId xmlns:a16="http://schemas.microsoft.com/office/drawing/2014/main" id="{11B11FDD-E8E6-D845-8F9E-5A5086E35C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354263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00">
              <a:extLst>
                <a:ext uri="{FF2B5EF4-FFF2-40B4-BE49-F238E27FC236}">
                  <a16:creationId xmlns:a16="http://schemas.microsoft.com/office/drawing/2014/main" id="{17825056-D328-994D-8D65-7A895A734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446338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101">
              <a:extLst>
                <a:ext uri="{FF2B5EF4-FFF2-40B4-BE49-F238E27FC236}">
                  <a16:creationId xmlns:a16="http://schemas.microsoft.com/office/drawing/2014/main" id="{419DA7DF-5AC5-C848-A585-74A3EFEC0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2 w 23"/>
                <a:gd name="T5" fmla="*/ 16 h 23"/>
                <a:gd name="T6" fmla="*/ 19 w 23"/>
                <a:gd name="T7" fmla="*/ 21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7 w 23"/>
                <a:gd name="T15" fmla="*/ 23 h 23"/>
                <a:gd name="T16" fmla="*/ 2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2 w 23"/>
                <a:gd name="T27" fmla="*/ 4 h 23"/>
                <a:gd name="T28" fmla="*/ 7 w 23"/>
                <a:gd name="T29" fmla="*/ 2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2 h 23"/>
                <a:gd name="T36" fmla="*/ 19 w 23"/>
                <a:gd name="T37" fmla="*/ 4 h 23"/>
                <a:gd name="T38" fmla="*/ 22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2" y="16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102">
              <a:extLst>
                <a:ext uri="{FF2B5EF4-FFF2-40B4-BE49-F238E27FC236}">
                  <a16:creationId xmlns:a16="http://schemas.microsoft.com/office/drawing/2014/main" id="{82A65A10-E766-3E45-BBA3-A0366C38F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2 w 23"/>
                <a:gd name="T5" fmla="*/ 17 h 25"/>
                <a:gd name="T6" fmla="*/ 19 w 23"/>
                <a:gd name="T7" fmla="*/ 21 h 25"/>
                <a:gd name="T8" fmla="*/ 16 w 23"/>
                <a:gd name="T9" fmla="*/ 23 h 25"/>
                <a:gd name="T10" fmla="*/ 11 w 23"/>
                <a:gd name="T11" fmla="*/ 25 h 25"/>
                <a:gd name="T12" fmla="*/ 11 w 23"/>
                <a:gd name="T13" fmla="*/ 25 h 25"/>
                <a:gd name="T14" fmla="*/ 7 w 23"/>
                <a:gd name="T15" fmla="*/ 23 h 25"/>
                <a:gd name="T16" fmla="*/ 2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2 w 23"/>
                <a:gd name="T27" fmla="*/ 4 h 25"/>
                <a:gd name="T28" fmla="*/ 7 w 23"/>
                <a:gd name="T29" fmla="*/ 2 h 25"/>
                <a:gd name="T30" fmla="*/ 11 w 23"/>
                <a:gd name="T31" fmla="*/ 0 h 25"/>
                <a:gd name="T32" fmla="*/ 11 w 23"/>
                <a:gd name="T33" fmla="*/ 0 h 25"/>
                <a:gd name="T34" fmla="*/ 16 w 23"/>
                <a:gd name="T35" fmla="*/ 2 h 25"/>
                <a:gd name="T36" fmla="*/ 19 w 23"/>
                <a:gd name="T37" fmla="*/ 4 h 25"/>
                <a:gd name="T38" fmla="*/ 22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2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103">
              <a:extLst>
                <a:ext uri="{FF2B5EF4-FFF2-40B4-BE49-F238E27FC236}">
                  <a16:creationId xmlns:a16="http://schemas.microsoft.com/office/drawing/2014/main" id="{84C637EC-B918-AE4A-B2AA-2AA312494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3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104">
              <a:extLst>
                <a:ext uri="{FF2B5EF4-FFF2-40B4-BE49-F238E27FC236}">
                  <a16:creationId xmlns:a16="http://schemas.microsoft.com/office/drawing/2014/main" id="{35619510-95F4-0241-B3CB-F14E93D9C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2 w 23"/>
                <a:gd name="T5" fmla="*/ 16 h 23"/>
                <a:gd name="T6" fmla="*/ 19 w 23"/>
                <a:gd name="T7" fmla="*/ 19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7 w 23"/>
                <a:gd name="T15" fmla="*/ 23 h 23"/>
                <a:gd name="T16" fmla="*/ 2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2 w 23"/>
                <a:gd name="T27" fmla="*/ 4 h 23"/>
                <a:gd name="T28" fmla="*/ 7 w 23"/>
                <a:gd name="T29" fmla="*/ 0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0 h 23"/>
                <a:gd name="T36" fmla="*/ 19 w 23"/>
                <a:gd name="T37" fmla="*/ 4 h 23"/>
                <a:gd name="T38" fmla="*/ 22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2" y="16"/>
                  </a:lnTo>
                  <a:lnTo>
                    <a:pt x="19" y="19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2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105">
              <a:extLst>
                <a:ext uri="{FF2B5EF4-FFF2-40B4-BE49-F238E27FC236}">
                  <a16:creationId xmlns:a16="http://schemas.microsoft.com/office/drawing/2014/main" id="{BD970055-419A-D148-80BF-2784CE432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106">
              <a:extLst>
                <a:ext uri="{FF2B5EF4-FFF2-40B4-BE49-F238E27FC236}">
                  <a16:creationId xmlns:a16="http://schemas.microsoft.com/office/drawing/2014/main" id="{87144843-2962-9243-A43D-A8D8FD284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07">
              <a:extLst>
                <a:ext uri="{FF2B5EF4-FFF2-40B4-BE49-F238E27FC236}">
                  <a16:creationId xmlns:a16="http://schemas.microsoft.com/office/drawing/2014/main" id="{DA51123B-950D-F24D-9DBB-A547E89B3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08">
              <a:extLst>
                <a:ext uri="{FF2B5EF4-FFF2-40B4-BE49-F238E27FC236}">
                  <a16:creationId xmlns:a16="http://schemas.microsoft.com/office/drawing/2014/main" id="{AE237D57-E441-D049-9AE0-C1782DF899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6 h 23"/>
                <a:gd name="T6" fmla="*/ 20 w 24"/>
                <a:gd name="T7" fmla="*/ 21 h 23"/>
                <a:gd name="T8" fmla="*/ 16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6 w 24"/>
                <a:gd name="T35" fmla="*/ 2 h 23"/>
                <a:gd name="T36" fmla="*/ 20 w 24"/>
                <a:gd name="T37" fmla="*/ 4 h 23"/>
                <a:gd name="T38" fmla="*/ 22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6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09">
              <a:extLst>
                <a:ext uri="{FF2B5EF4-FFF2-40B4-BE49-F238E27FC236}">
                  <a16:creationId xmlns:a16="http://schemas.microsoft.com/office/drawing/2014/main" id="{BABC16ED-9FB7-904B-B46F-725E8C1F9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2 w 24"/>
                <a:gd name="T5" fmla="*/ 17 h 25"/>
                <a:gd name="T6" fmla="*/ 20 w 24"/>
                <a:gd name="T7" fmla="*/ 21 h 25"/>
                <a:gd name="T8" fmla="*/ 16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6 w 24"/>
                <a:gd name="T35" fmla="*/ 2 h 25"/>
                <a:gd name="T36" fmla="*/ 20 w 24"/>
                <a:gd name="T37" fmla="*/ 4 h 25"/>
                <a:gd name="T38" fmla="*/ 22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10">
              <a:extLst>
                <a:ext uri="{FF2B5EF4-FFF2-40B4-BE49-F238E27FC236}">
                  <a16:creationId xmlns:a16="http://schemas.microsoft.com/office/drawing/2014/main" id="{D99A14AF-E283-E44A-8B44-C28C75D56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0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3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11">
              <a:extLst>
                <a:ext uri="{FF2B5EF4-FFF2-40B4-BE49-F238E27FC236}">
                  <a16:creationId xmlns:a16="http://schemas.microsoft.com/office/drawing/2014/main" id="{43EEBF1B-6B58-CD41-8AC1-05E61D1F2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2 w 24"/>
                <a:gd name="T5" fmla="*/ 16 h 23"/>
                <a:gd name="T6" fmla="*/ 20 w 24"/>
                <a:gd name="T7" fmla="*/ 19 h 23"/>
                <a:gd name="T8" fmla="*/ 16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6 w 24"/>
                <a:gd name="T35" fmla="*/ 0 h 23"/>
                <a:gd name="T36" fmla="*/ 20 w 24"/>
                <a:gd name="T37" fmla="*/ 4 h 23"/>
                <a:gd name="T38" fmla="*/ 22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2" y="16"/>
                  </a:lnTo>
                  <a:lnTo>
                    <a:pt x="20" y="19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12">
              <a:extLst>
                <a:ext uri="{FF2B5EF4-FFF2-40B4-BE49-F238E27FC236}">
                  <a16:creationId xmlns:a16="http://schemas.microsoft.com/office/drawing/2014/main" id="{F9E696EB-4BF8-144B-9C2B-F246C2427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113">
              <a:extLst>
                <a:ext uri="{FF2B5EF4-FFF2-40B4-BE49-F238E27FC236}">
                  <a16:creationId xmlns:a16="http://schemas.microsoft.com/office/drawing/2014/main" id="{CBB662C1-B858-A441-A525-C5EB31158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14">
              <a:extLst>
                <a:ext uri="{FF2B5EF4-FFF2-40B4-BE49-F238E27FC236}">
                  <a16:creationId xmlns:a16="http://schemas.microsoft.com/office/drawing/2014/main" id="{BFE580B6-0694-5949-91DD-8EFB05E4F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15">
              <a:extLst>
                <a:ext uri="{FF2B5EF4-FFF2-40B4-BE49-F238E27FC236}">
                  <a16:creationId xmlns:a16="http://schemas.microsoft.com/office/drawing/2014/main" id="{A0872F42-7FC2-1546-BD09-DED52428A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8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8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6">
              <a:extLst>
                <a:ext uri="{FF2B5EF4-FFF2-40B4-BE49-F238E27FC236}">
                  <a16:creationId xmlns:a16="http://schemas.microsoft.com/office/drawing/2014/main" id="{B53A9CB3-E260-1B49-91F6-24AA0D0FC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8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8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7">
              <a:extLst>
                <a:ext uri="{FF2B5EF4-FFF2-40B4-BE49-F238E27FC236}">
                  <a16:creationId xmlns:a16="http://schemas.microsoft.com/office/drawing/2014/main" id="{49DD23C0-FB85-4F4E-A32C-2F724D83F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8">
              <a:extLst>
                <a:ext uri="{FF2B5EF4-FFF2-40B4-BE49-F238E27FC236}">
                  <a16:creationId xmlns:a16="http://schemas.microsoft.com/office/drawing/2014/main" id="{96CC7FE7-E962-104D-B873-B70EA5E9B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8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8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9">
              <a:extLst>
                <a:ext uri="{FF2B5EF4-FFF2-40B4-BE49-F238E27FC236}">
                  <a16:creationId xmlns:a16="http://schemas.microsoft.com/office/drawing/2014/main" id="{B3624B4F-42B8-974D-953A-59924D5C3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20">
              <a:extLst>
                <a:ext uri="{FF2B5EF4-FFF2-40B4-BE49-F238E27FC236}">
                  <a16:creationId xmlns:a16="http://schemas.microsoft.com/office/drawing/2014/main" id="{4FE67A4A-9054-194B-B110-56D5DC0C8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21">
              <a:extLst>
                <a:ext uri="{FF2B5EF4-FFF2-40B4-BE49-F238E27FC236}">
                  <a16:creationId xmlns:a16="http://schemas.microsoft.com/office/drawing/2014/main" id="{52920420-2ED0-D849-B187-F4CFC05F6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22">
              <a:extLst>
                <a:ext uri="{FF2B5EF4-FFF2-40B4-BE49-F238E27FC236}">
                  <a16:creationId xmlns:a16="http://schemas.microsoft.com/office/drawing/2014/main" id="{7B6C24ED-64F7-2A42-A17E-FC06131BA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123">
              <a:extLst>
                <a:ext uri="{FF2B5EF4-FFF2-40B4-BE49-F238E27FC236}">
                  <a16:creationId xmlns:a16="http://schemas.microsoft.com/office/drawing/2014/main" id="{62697FCB-9180-6647-85FC-82C4685CF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24">
              <a:extLst>
                <a:ext uri="{FF2B5EF4-FFF2-40B4-BE49-F238E27FC236}">
                  <a16:creationId xmlns:a16="http://schemas.microsoft.com/office/drawing/2014/main" id="{F98EB116-A236-9F4C-8DDF-1D328E3EE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25">
              <a:extLst>
                <a:ext uri="{FF2B5EF4-FFF2-40B4-BE49-F238E27FC236}">
                  <a16:creationId xmlns:a16="http://schemas.microsoft.com/office/drawing/2014/main" id="{FE8DACC0-8541-AC46-B90C-8B7E2D492E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126">
              <a:extLst>
                <a:ext uri="{FF2B5EF4-FFF2-40B4-BE49-F238E27FC236}">
                  <a16:creationId xmlns:a16="http://schemas.microsoft.com/office/drawing/2014/main" id="{99A8A28C-C680-4341-84AC-05867F2DC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27">
              <a:extLst>
                <a:ext uri="{FF2B5EF4-FFF2-40B4-BE49-F238E27FC236}">
                  <a16:creationId xmlns:a16="http://schemas.microsoft.com/office/drawing/2014/main" id="{2D2049F6-5DA3-734B-AA17-819486BCD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28">
              <a:extLst>
                <a:ext uri="{FF2B5EF4-FFF2-40B4-BE49-F238E27FC236}">
                  <a16:creationId xmlns:a16="http://schemas.microsoft.com/office/drawing/2014/main" id="{8996E9A9-0BA4-1741-8FE2-A57384C22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29">
              <a:extLst>
                <a:ext uri="{FF2B5EF4-FFF2-40B4-BE49-F238E27FC236}">
                  <a16:creationId xmlns:a16="http://schemas.microsoft.com/office/drawing/2014/main" id="{A91728D0-537E-9E4A-835E-FDD3D53EE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30">
              <a:extLst>
                <a:ext uri="{FF2B5EF4-FFF2-40B4-BE49-F238E27FC236}">
                  <a16:creationId xmlns:a16="http://schemas.microsoft.com/office/drawing/2014/main" id="{9728C1E5-82E0-EC4C-9484-9A263ABBB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31">
              <a:extLst>
                <a:ext uri="{FF2B5EF4-FFF2-40B4-BE49-F238E27FC236}">
                  <a16:creationId xmlns:a16="http://schemas.microsoft.com/office/drawing/2014/main" id="{CB9615A6-1D35-C54B-BC0A-91609D07F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32">
              <a:extLst>
                <a:ext uri="{FF2B5EF4-FFF2-40B4-BE49-F238E27FC236}">
                  <a16:creationId xmlns:a16="http://schemas.microsoft.com/office/drawing/2014/main" id="{D47B2CC0-5152-0D46-9973-4883E5BE6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33">
              <a:extLst>
                <a:ext uri="{FF2B5EF4-FFF2-40B4-BE49-F238E27FC236}">
                  <a16:creationId xmlns:a16="http://schemas.microsoft.com/office/drawing/2014/main" id="{AA6A802E-EA17-A14A-9DDB-8233520E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34">
              <a:extLst>
                <a:ext uri="{FF2B5EF4-FFF2-40B4-BE49-F238E27FC236}">
                  <a16:creationId xmlns:a16="http://schemas.microsoft.com/office/drawing/2014/main" id="{EEEEDF80-B548-DE46-BF9A-0E755DEBA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35">
              <a:extLst>
                <a:ext uri="{FF2B5EF4-FFF2-40B4-BE49-F238E27FC236}">
                  <a16:creationId xmlns:a16="http://schemas.microsoft.com/office/drawing/2014/main" id="{2EDCFC3F-FC96-3341-85F7-7D90B2306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36">
              <a:extLst>
                <a:ext uri="{FF2B5EF4-FFF2-40B4-BE49-F238E27FC236}">
                  <a16:creationId xmlns:a16="http://schemas.microsoft.com/office/drawing/2014/main" id="{FA233C53-6C1E-D34E-B7F5-319FF7FA55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6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3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3 w 23"/>
                <a:gd name="T27" fmla="*/ 4 h 23"/>
                <a:gd name="T28" fmla="*/ 7 w 23"/>
                <a:gd name="T29" fmla="*/ 2 h 23"/>
                <a:gd name="T30" fmla="*/ 12 w 23"/>
                <a:gd name="T31" fmla="*/ 0 h 23"/>
                <a:gd name="T32" fmla="*/ 12 w 23"/>
                <a:gd name="T33" fmla="*/ 0 h 23"/>
                <a:gd name="T34" fmla="*/ 15 w 23"/>
                <a:gd name="T35" fmla="*/ 2 h 23"/>
                <a:gd name="T36" fmla="*/ 19 w 23"/>
                <a:gd name="T37" fmla="*/ 4 h 23"/>
                <a:gd name="T38" fmla="*/ 23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6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137">
              <a:extLst>
                <a:ext uri="{FF2B5EF4-FFF2-40B4-BE49-F238E27FC236}">
                  <a16:creationId xmlns:a16="http://schemas.microsoft.com/office/drawing/2014/main" id="{E6BCDD75-1C87-CF45-BB98-919E1BC8F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2 w 23"/>
                <a:gd name="T11" fmla="*/ 25 h 25"/>
                <a:gd name="T12" fmla="*/ 12 w 23"/>
                <a:gd name="T13" fmla="*/ 25 h 25"/>
                <a:gd name="T14" fmla="*/ 7 w 23"/>
                <a:gd name="T15" fmla="*/ 23 h 25"/>
                <a:gd name="T16" fmla="*/ 3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3 w 23"/>
                <a:gd name="T27" fmla="*/ 4 h 25"/>
                <a:gd name="T28" fmla="*/ 7 w 23"/>
                <a:gd name="T29" fmla="*/ 2 h 25"/>
                <a:gd name="T30" fmla="*/ 12 w 23"/>
                <a:gd name="T31" fmla="*/ 0 h 25"/>
                <a:gd name="T32" fmla="*/ 12 w 23"/>
                <a:gd name="T33" fmla="*/ 0 h 25"/>
                <a:gd name="T34" fmla="*/ 15 w 23"/>
                <a:gd name="T35" fmla="*/ 2 h 25"/>
                <a:gd name="T36" fmla="*/ 19 w 23"/>
                <a:gd name="T37" fmla="*/ 4 h 25"/>
                <a:gd name="T38" fmla="*/ 23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138">
              <a:extLst>
                <a:ext uri="{FF2B5EF4-FFF2-40B4-BE49-F238E27FC236}">
                  <a16:creationId xmlns:a16="http://schemas.microsoft.com/office/drawing/2014/main" id="{7F0BF96D-D153-C545-AD22-F08235026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139">
              <a:extLst>
                <a:ext uri="{FF2B5EF4-FFF2-40B4-BE49-F238E27FC236}">
                  <a16:creationId xmlns:a16="http://schemas.microsoft.com/office/drawing/2014/main" id="{C69AA2DB-980D-B04D-9B05-CCE6FEF94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6 h 23"/>
                <a:gd name="T6" fmla="*/ 19 w 23"/>
                <a:gd name="T7" fmla="*/ 19 h 23"/>
                <a:gd name="T8" fmla="*/ 15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3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3 w 23"/>
                <a:gd name="T27" fmla="*/ 4 h 23"/>
                <a:gd name="T28" fmla="*/ 7 w 23"/>
                <a:gd name="T29" fmla="*/ 0 h 23"/>
                <a:gd name="T30" fmla="*/ 12 w 23"/>
                <a:gd name="T31" fmla="*/ 0 h 23"/>
                <a:gd name="T32" fmla="*/ 12 w 23"/>
                <a:gd name="T33" fmla="*/ 0 h 23"/>
                <a:gd name="T34" fmla="*/ 15 w 23"/>
                <a:gd name="T35" fmla="*/ 0 h 23"/>
                <a:gd name="T36" fmla="*/ 19 w 23"/>
                <a:gd name="T37" fmla="*/ 4 h 23"/>
                <a:gd name="T38" fmla="*/ 23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6"/>
                  </a:lnTo>
                  <a:lnTo>
                    <a:pt x="19" y="19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140">
              <a:extLst>
                <a:ext uri="{FF2B5EF4-FFF2-40B4-BE49-F238E27FC236}">
                  <a16:creationId xmlns:a16="http://schemas.microsoft.com/office/drawing/2014/main" id="{3630FFCB-67F6-3740-B2DA-1915E750E7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141">
              <a:extLst>
                <a:ext uri="{FF2B5EF4-FFF2-40B4-BE49-F238E27FC236}">
                  <a16:creationId xmlns:a16="http://schemas.microsoft.com/office/drawing/2014/main" id="{D30DF630-BBB9-A14D-B5AA-93A646FD2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142">
              <a:extLst>
                <a:ext uri="{FF2B5EF4-FFF2-40B4-BE49-F238E27FC236}">
                  <a16:creationId xmlns:a16="http://schemas.microsoft.com/office/drawing/2014/main" id="{915F37F4-24A1-0045-A1C8-1684BF7D6F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143">
              <a:extLst>
                <a:ext uri="{FF2B5EF4-FFF2-40B4-BE49-F238E27FC236}">
                  <a16:creationId xmlns:a16="http://schemas.microsoft.com/office/drawing/2014/main" id="{6B243950-EF64-D54A-A37B-ED90067D1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2 w 23"/>
                <a:gd name="T5" fmla="*/ 16 h 23"/>
                <a:gd name="T6" fmla="*/ 20 w 23"/>
                <a:gd name="T7" fmla="*/ 21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8 w 23"/>
                <a:gd name="T15" fmla="*/ 23 h 23"/>
                <a:gd name="T16" fmla="*/ 3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3 w 23"/>
                <a:gd name="T27" fmla="*/ 4 h 23"/>
                <a:gd name="T28" fmla="*/ 8 w 23"/>
                <a:gd name="T29" fmla="*/ 2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2 h 23"/>
                <a:gd name="T36" fmla="*/ 20 w 23"/>
                <a:gd name="T37" fmla="*/ 4 h 23"/>
                <a:gd name="T38" fmla="*/ 22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2" y="16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144">
              <a:extLst>
                <a:ext uri="{FF2B5EF4-FFF2-40B4-BE49-F238E27FC236}">
                  <a16:creationId xmlns:a16="http://schemas.microsoft.com/office/drawing/2014/main" id="{AC65F723-1D66-3C4C-99A3-C7899B47C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2 w 23"/>
                <a:gd name="T5" fmla="*/ 17 h 25"/>
                <a:gd name="T6" fmla="*/ 20 w 23"/>
                <a:gd name="T7" fmla="*/ 21 h 25"/>
                <a:gd name="T8" fmla="*/ 16 w 23"/>
                <a:gd name="T9" fmla="*/ 23 h 25"/>
                <a:gd name="T10" fmla="*/ 11 w 23"/>
                <a:gd name="T11" fmla="*/ 25 h 25"/>
                <a:gd name="T12" fmla="*/ 11 w 23"/>
                <a:gd name="T13" fmla="*/ 25 h 25"/>
                <a:gd name="T14" fmla="*/ 8 w 23"/>
                <a:gd name="T15" fmla="*/ 23 h 25"/>
                <a:gd name="T16" fmla="*/ 3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3 w 23"/>
                <a:gd name="T27" fmla="*/ 4 h 25"/>
                <a:gd name="T28" fmla="*/ 8 w 23"/>
                <a:gd name="T29" fmla="*/ 2 h 25"/>
                <a:gd name="T30" fmla="*/ 11 w 23"/>
                <a:gd name="T31" fmla="*/ 0 h 25"/>
                <a:gd name="T32" fmla="*/ 11 w 23"/>
                <a:gd name="T33" fmla="*/ 0 h 25"/>
                <a:gd name="T34" fmla="*/ 16 w 23"/>
                <a:gd name="T35" fmla="*/ 2 h 25"/>
                <a:gd name="T36" fmla="*/ 20 w 23"/>
                <a:gd name="T37" fmla="*/ 4 h 25"/>
                <a:gd name="T38" fmla="*/ 22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145">
              <a:extLst>
                <a:ext uri="{FF2B5EF4-FFF2-40B4-BE49-F238E27FC236}">
                  <a16:creationId xmlns:a16="http://schemas.microsoft.com/office/drawing/2014/main" id="{101AABAA-1674-6B48-B5F9-6E57B1582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146">
              <a:extLst>
                <a:ext uri="{FF2B5EF4-FFF2-40B4-BE49-F238E27FC236}">
                  <a16:creationId xmlns:a16="http://schemas.microsoft.com/office/drawing/2014/main" id="{649B3F81-3DEB-AF4C-ADC6-BDA7C300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2 w 23"/>
                <a:gd name="T5" fmla="*/ 16 h 23"/>
                <a:gd name="T6" fmla="*/ 20 w 23"/>
                <a:gd name="T7" fmla="*/ 19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8 w 23"/>
                <a:gd name="T15" fmla="*/ 23 h 23"/>
                <a:gd name="T16" fmla="*/ 3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3 w 23"/>
                <a:gd name="T27" fmla="*/ 4 h 23"/>
                <a:gd name="T28" fmla="*/ 8 w 23"/>
                <a:gd name="T29" fmla="*/ 0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0 h 23"/>
                <a:gd name="T36" fmla="*/ 20 w 23"/>
                <a:gd name="T37" fmla="*/ 4 h 23"/>
                <a:gd name="T38" fmla="*/ 22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2" y="16"/>
                  </a:lnTo>
                  <a:lnTo>
                    <a:pt x="20" y="19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147">
              <a:extLst>
                <a:ext uri="{FF2B5EF4-FFF2-40B4-BE49-F238E27FC236}">
                  <a16:creationId xmlns:a16="http://schemas.microsoft.com/office/drawing/2014/main" id="{526AC51A-8AB9-E946-A4B1-905BDFB34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148">
              <a:extLst>
                <a:ext uri="{FF2B5EF4-FFF2-40B4-BE49-F238E27FC236}">
                  <a16:creationId xmlns:a16="http://schemas.microsoft.com/office/drawing/2014/main" id="{56B7376F-549A-E64B-9794-FC30E623F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149">
              <a:extLst>
                <a:ext uri="{FF2B5EF4-FFF2-40B4-BE49-F238E27FC236}">
                  <a16:creationId xmlns:a16="http://schemas.microsoft.com/office/drawing/2014/main" id="{5DF48D99-37A3-8C4D-997E-49D864FD2F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150">
              <a:extLst>
                <a:ext uri="{FF2B5EF4-FFF2-40B4-BE49-F238E27FC236}">
                  <a16:creationId xmlns:a16="http://schemas.microsoft.com/office/drawing/2014/main" id="{88D39241-33E3-374B-ADE5-AA7541205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151">
              <a:extLst>
                <a:ext uri="{FF2B5EF4-FFF2-40B4-BE49-F238E27FC236}">
                  <a16:creationId xmlns:a16="http://schemas.microsoft.com/office/drawing/2014/main" id="{7D8C10CD-0836-9648-BC49-1BE993C29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152">
              <a:extLst>
                <a:ext uri="{FF2B5EF4-FFF2-40B4-BE49-F238E27FC236}">
                  <a16:creationId xmlns:a16="http://schemas.microsoft.com/office/drawing/2014/main" id="{492591E3-289B-E940-B799-56C65ABB4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153">
              <a:extLst>
                <a:ext uri="{FF2B5EF4-FFF2-40B4-BE49-F238E27FC236}">
                  <a16:creationId xmlns:a16="http://schemas.microsoft.com/office/drawing/2014/main" id="{22FD4A3F-402C-9545-B1FF-709A64C24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154">
              <a:extLst>
                <a:ext uri="{FF2B5EF4-FFF2-40B4-BE49-F238E27FC236}">
                  <a16:creationId xmlns:a16="http://schemas.microsoft.com/office/drawing/2014/main" id="{B681E56E-929E-E942-9CFE-72A08CDBF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155">
              <a:extLst>
                <a:ext uri="{FF2B5EF4-FFF2-40B4-BE49-F238E27FC236}">
                  <a16:creationId xmlns:a16="http://schemas.microsoft.com/office/drawing/2014/main" id="{8586201D-D2E5-0149-82EC-63346D432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156">
              <a:extLst>
                <a:ext uri="{FF2B5EF4-FFF2-40B4-BE49-F238E27FC236}">
                  <a16:creationId xmlns:a16="http://schemas.microsoft.com/office/drawing/2014/main" id="{F1D786C2-212A-D24F-B462-1AD111AD6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157">
              <a:extLst>
                <a:ext uri="{FF2B5EF4-FFF2-40B4-BE49-F238E27FC236}">
                  <a16:creationId xmlns:a16="http://schemas.microsoft.com/office/drawing/2014/main" id="{9638BDFC-7568-1044-945F-201B16C80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158">
              <a:extLst>
                <a:ext uri="{FF2B5EF4-FFF2-40B4-BE49-F238E27FC236}">
                  <a16:creationId xmlns:a16="http://schemas.microsoft.com/office/drawing/2014/main" id="{F83B4CB0-921B-8A4C-984B-1CDE38B7C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159">
              <a:extLst>
                <a:ext uri="{FF2B5EF4-FFF2-40B4-BE49-F238E27FC236}">
                  <a16:creationId xmlns:a16="http://schemas.microsoft.com/office/drawing/2014/main" id="{B900B406-B71F-B141-B9BC-44A78FDAC6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160">
              <a:extLst>
                <a:ext uri="{FF2B5EF4-FFF2-40B4-BE49-F238E27FC236}">
                  <a16:creationId xmlns:a16="http://schemas.microsoft.com/office/drawing/2014/main" id="{E0CF2731-0D8B-EF46-9554-03D9368B3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161">
              <a:extLst>
                <a:ext uri="{FF2B5EF4-FFF2-40B4-BE49-F238E27FC236}">
                  <a16:creationId xmlns:a16="http://schemas.microsoft.com/office/drawing/2014/main" id="{CE72F6D3-6A38-D542-ACA7-CDC71F10A2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162">
              <a:extLst>
                <a:ext uri="{FF2B5EF4-FFF2-40B4-BE49-F238E27FC236}">
                  <a16:creationId xmlns:a16="http://schemas.microsoft.com/office/drawing/2014/main" id="{945C754A-B2C0-AA4D-808F-88145E84D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163">
              <a:extLst>
                <a:ext uri="{FF2B5EF4-FFF2-40B4-BE49-F238E27FC236}">
                  <a16:creationId xmlns:a16="http://schemas.microsoft.com/office/drawing/2014/main" id="{BD0C2E8E-CFFE-1841-BE6C-590FA51E9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235">
              <a:extLst>
                <a:ext uri="{FF2B5EF4-FFF2-40B4-BE49-F238E27FC236}">
                  <a16:creationId xmlns:a16="http://schemas.microsoft.com/office/drawing/2014/main" id="{CCDC9141-8438-9046-AA42-770C95A1C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242">
              <a:extLst>
                <a:ext uri="{FF2B5EF4-FFF2-40B4-BE49-F238E27FC236}">
                  <a16:creationId xmlns:a16="http://schemas.microsoft.com/office/drawing/2014/main" id="{BFEA2E51-2D44-5240-9EE8-1288C49746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544763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0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0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3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3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249">
              <a:extLst>
                <a:ext uri="{FF2B5EF4-FFF2-40B4-BE49-F238E27FC236}">
                  <a16:creationId xmlns:a16="http://schemas.microsoft.com/office/drawing/2014/main" id="{ECBB6689-5D56-954A-9CCA-4A6ED350D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544763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0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0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256">
              <a:extLst>
                <a:ext uri="{FF2B5EF4-FFF2-40B4-BE49-F238E27FC236}">
                  <a16:creationId xmlns:a16="http://schemas.microsoft.com/office/drawing/2014/main" id="{8A2F6A32-79AF-E642-A621-AFBA29C55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3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263">
              <a:extLst>
                <a:ext uri="{FF2B5EF4-FFF2-40B4-BE49-F238E27FC236}">
                  <a16:creationId xmlns:a16="http://schemas.microsoft.com/office/drawing/2014/main" id="{CCC39B67-65A1-E74C-9A68-1D35BEFA84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0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3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270">
              <a:extLst>
                <a:ext uri="{FF2B5EF4-FFF2-40B4-BE49-F238E27FC236}">
                  <a16:creationId xmlns:a16="http://schemas.microsoft.com/office/drawing/2014/main" id="{DF355EC7-E726-2D47-8718-7422A1BDF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277">
              <a:extLst>
                <a:ext uri="{FF2B5EF4-FFF2-40B4-BE49-F238E27FC236}">
                  <a16:creationId xmlns:a16="http://schemas.microsoft.com/office/drawing/2014/main" id="{CC67C1F6-8A7C-FB45-94DB-7AFC8DD94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284">
              <a:extLst>
                <a:ext uri="{FF2B5EF4-FFF2-40B4-BE49-F238E27FC236}">
                  <a16:creationId xmlns:a16="http://schemas.microsoft.com/office/drawing/2014/main" id="{0722165E-12A4-6644-9FCB-04287F439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291">
              <a:extLst>
                <a:ext uri="{FF2B5EF4-FFF2-40B4-BE49-F238E27FC236}">
                  <a16:creationId xmlns:a16="http://schemas.microsoft.com/office/drawing/2014/main" id="{64FAE6BA-9AC4-A947-AF2D-67BA2C132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98">
              <a:extLst>
                <a:ext uri="{FF2B5EF4-FFF2-40B4-BE49-F238E27FC236}">
                  <a16:creationId xmlns:a16="http://schemas.microsoft.com/office/drawing/2014/main" id="{0DAD8B7F-D39D-AD43-934C-AE41901E7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197">
              <a:extLst>
                <a:ext uri="{FF2B5EF4-FFF2-40B4-BE49-F238E27FC236}">
                  <a16:creationId xmlns:a16="http://schemas.microsoft.com/office/drawing/2014/main" id="{E93DBF91-50C4-AB49-851B-ECB371EBC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312">
              <a:extLst>
                <a:ext uri="{FF2B5EF4-FFF2-40B4-BE49-F238E27FC236}">
                  <a16:creationId xmlns:a16="http://schemas.microsoft.com/office/drawing/2014/main" id="{4B8C48CC-CFCA-2945-952C-52EEC9D91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0" name="Freeform 49">
            <a:extLst>
              <a:ext uri="{FF2B5EF4-FFF2-40B4-BE49-F238E27FC236}">
                <a16:creationId xmlns:a16="http://schemas.microsoft.com/office/drawing/2014/main" id="{66F328AB-BA2F-1649-BB6B-C31AAD9A193A}"/>
              </a:ext>
            </a:extLst>
          </p:cNvPr>
          <p:cNvSpPr>
            <a:spLocks/>
          </p:cNvSpPr>
          <p:nvPr/>
        </p:nvSpPr>
        <p:spPr bwMode="auto">
          <a:xfrm>
            <a:off x="5095786" y="1744300"/>
            <a:ext cx="831146" cy="200797"/>
          </a:xfrm>
          <a:custGeom>
            <a:avLst/>
            <a:gdLst>
              <a:gd name="T0" fmla="*/ 305 w 347"/>
              <a:gd name="T1" fmla="*/ 84 h 84"/>
              <a:gd name="T2" fmla="*/ 42 w 347"/>
              <a:gd name="T3" fmla="*/ 84 h 84"/>
              <a:gd name="T4" fmla="*/ 0 w 347"/>
              <a:gd name="T5" fmla="*/ 42 h 84"/>
              <a:gd name="T6" fmla="*/ 42 w 347"/>
              <a:gd name="T7" fmla="*/ 0 h 84"/>
              <a:gd name="T8" fmla="*/ 305 w 347"/>
              <a:gd name="T9" fmla="*/ 0 h 84"/>
              <a:gd name="T10" fmla="*/ 347 w 347"/>
              <a:gd name="T11" fmla="*/ 42 h 84"/>
              <a:gd name="T12" fmla="*/ 305 w 347"/>
              <a:gd name="T13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7" h="84">
                <a:moveTo>
                  <a:pt x="305" y="84"/>
                </a:moveTo>
                <a:cubicBezTo>
                  <a:pt x="42" y="84"/>
                  <a:pt x="42" y="84"/>
                  <a:pt x="42" y="84"/>
                </a:cubicBezTo>
                <a:cubicBezTo>
                  <a:pt x="18" y="84"/>
                  <a:pt x="0" y="65"/>
                  <a:pt x="0" y="42"/>
                </a:cubicBezTo>
                <a:cubicBezTo>
                  <a:pt x="0" y="19"/>
                  <a:pt x="18" y="0"/>
                  <a:pt x="42" y="0"/>
                </a:cubicBezTo>
                <a:cubicBezTo>
                  <a:pt x="305" y="0"/>
                  <a:pt x="305" y="0"/>
                  <a:pt x="305" y="0"/>
                </a:cubicBezTo>
                <a:cubicBezTo>
                  <a:pt x="328" y="0"/>
                  <a:pt x="347" y="19"/>
                  <a:pt x="347" y="42"/>
                </a:cubicBezTo>
                <a:cubicBezTo>
                  <a:pt x="347" y="65"/>
                  <a:pt x="328" y="84"/>
                  <a:pt x="305" y="8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7AA02CE5-6AD2-7B4E-9C71-B8AEF3C24C81}"/>
              </a:ext>
            </a:extLst>
          </p:cNvPr>
          <p:cNvGrpSpPr/>
          <p:nvPr/>
        </p:nvGrpSpPr>
        <p:grpSpPr>
          <a:xfrm>
            <a:off x="677067" y="1730514"/>
            <a:ext cx="2171684" cy="1306719"/>
            <a:chOff x="9915526" y="1892300"/>
            <a:chExt cx="1116012" cy="671513"/>
          </a:xfrm>
          <a:solidFill>
            <a:schemeClr val="bg1">
              <a:alpha val="54000"/>
            </a:schemeClr>
          </a:solidFill>
        </p:grpSpPr>
        <p:sp>
          <p:nvSpPr>
            <p:cNvPr id="318" name="Freeform 80">
              <a:extLst>
                <a:ext uri="{FF2B5EF4-FFF2-40B4-BE49-F238E27FC236}">
                  <a16:creationId xmlns:a16="http://schemas.microsoft.com/office/drawing/2014/main" id="{A9BBEE1A-976D-634C-93F2-E3CABE688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9" name="Freeform 81">
              <a:extLst>
                <a:ext uri="{FF2B5EF4-FFF2-40B4-BE49-F238E27FC236}">
                  <a16:creationId xmlns:a16="http://schemas.microsoft.com/office/drawing/2014/main" id="{D0136350-1147-6340-BBA2-D6D312FBA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0" name="Freeform 82">
              <a:extLst>
                <a:ext uri="{FF2B5EF4-FFF2-40B4-BE49-F238E27FC236}">
                  <a16:creationId xmlns:a16="http://schemas.microsoft.com/office/drawing/2014/main" id="{C16F3FED-EEFE-FC4F-A1BF-23D0464AA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1" name="Freeform 83">
              <a:extLst>
                <a:ext uri="{FF2B5EF4-FFF2-40B4-BE49-F238E27FC236}">
                  <a16:creationId xmlns:a16="http://schemas.microsoft.com/office/drawing/2014/main" id="{19347A12-7A95-DC4D-9231-540FB22C8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2" name="Freeform 84">
              <a:extLst>
                <a:ext uri="{FF2B5EF4-FFF2-40B4-BE49-F238E27FC236}">
                  <a16:creationId xmlns:a16="http://schemas.microsoft.com/office/drawing/2014/main" id="{69E1EA1B-6BC3-8E43-97B3-2D6A300E9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3" name="Freeform 85">
              <a:extLst>
                <a:ext uri="{FF2B5EF4-FFF2-40B4-BE49-F238E27FC236}">
                  <a16:creationId xmlns:a16="http://schemas.microsoft.com/office/drawing/2014/main" id="{068CC3EB-454B-A849-A856-A0D8FB0BA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Freeform 86">
              <a:extLst>
                <a:ext uri="{FF2B5EF4-FFF2-40B4-BE49-F238E27FC236}">
                  <a16:creationId xmlns:a16="http://schemas.microsoft.com/office/drawing/2014/main" id="{3A66088E-CBF1-1E49-83AA-F89321980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Freeform 87">
              <a:extLst>
                <a:ext uri="{FF2B5EF4-FFF2-40B4-BE49-F238E27FC236}">
                  <a16:creationId xmlns:a16="http://schemas.microsoft.com/office/drawing/2014/main" id="{BA1E22AB-86B1-C74B-BF27-717F97BE6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1892300"/>
              <a:ext cx="19050" cy="17463"/>
            </a:xfrm>
            <a:custGeom>
              <a:avLst/>
              <a:gdLst>
                <a:gd name="T0" fmla="*/ 25 w 25"/>
                <a:gd name="T1" fmla="*/ 12 h 23"/>
                <a:gd name="T2" fmla="*/ 25 w 25"/>
                <a:gd name="T3" fmla="*/ 12 h 23"/>
                <a:gd name="T4" fmla="*/ 23 w 25"/>
                <a:gd name="T5" fmla="*/ 16 h 23"/>
                <a:gd name="T6" fmla="*/ 21 w 25"/>
                <a:gd name="T7" fmla="*/ 21 h 23"/>
                <a:gd name="T8" fmla="*/ 17 w 25"/>
                <a:gd name="T9" fmla="*/ 23 h 23"/>
                <a:gd name="T10" fmla="*/ 13 w 25"/>
                <a:gd name="T11" fmla="*/ 23 h 23"/>
                <a:gd name="T12" fmla="*/ 13 w 25"/>
                <a:gd name="T13" fmla="*/ 23 h 23"/>
                <a:gd name="T14" fmla="*/ 8 w 25"/>
                <a:gd name="T15" fmla="*/ 23 h 23"/>
                <a:gd name="T16" fmla="*/ 4 w 25"/>
                <a:gd name="T17" fmla="*/ 21 h 23"/>
                <a:gd name="T18" fmla="*/ 2 w 25"/>
                <a:gd name="T19" fmla="*/ 16 h 23"/>
                <a:gd name="T20" fmla="*/ 0 w 25"/>
                <a:gd name="T21" fmla="*/ 12 h 23"/>
                <a:gd name="T22" fmla="*/ 0 w 25"/>
                <a:gd name="T23" fmla="*/ 12 h 23"/>
                <a:gd name="T24" fmla="*/ 2 w 25"/>
                <a:gd name="T25" fmla="*/ 8 h 23"/>
                <a:gd name="T26" fmla="*/ 4 w 25"/>
                <a:gd name="T27" fmla="*/ 4 h 23"/>
                <a:gd name="T28" fmla="*/ 8 w 25"/>
                <a:gd name="T29" fmla="*/ 2 h 23"/>
                <a:gd name="T30" fmla="*/ 13 w 25"/>
                <a:gd name="T31" fmla="*/ 0 h 23"/>
                <a:gd name="T32" fmla="*/ 13 w 25"/>
                <a:gd name="T33" fmla="*/ 0 h 23"/>
                <a:gd name="T34" fmla="*/ 17 w 25"/>
                <a:gd name="T35" fmla="*/ 2 h 23"/>
                <a:gd name="T36" fmla="*/ 21 w 25"/>
                <a:gd name="T37" fmla="*/ 4 h 23"/>
                <a:gd name="T38" fmla="*/ 23 w 25"/>
                <a:gd name="T39" fmla="*/ 8 h 23"/>
                <a:gd name="T40" fmla="*/ 25 w 25"/>
                <a:gd name="T41" fmla="*/ 12 h 23"/>
                <a:gd name="T42" fmla="*/ 25 w 25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25" y="12"/>
                  </a:moveTo>
                  <a:lnTo>
                    <a:pt x="25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Freeform 88">
              <a:extLst>
                <a:ext uri="{FF2B5EF4-FFF2-40B4-BE49-F238E27FC236}">
                  <a16:creationId xmlns:a16="http://schemas.microsoft.com/office/drawing/2014/main" id="{B3D00000-0E77-A248-A6E4-F3A6F9E18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1984375"/>
              <a:ext cx="19050" cy="19050"/>
            </a:xfrm>
            <a:custGeom>
              <a:avLst/>
              <a:gdLst>
                <a:gd name="T0" fmla="*/ 25 w 25"/>
                <a:gd name="T1" fmla="*/ 13 h 25"/>
                <a:gd name="T2" fmla="*/ 25 w 25"/>
                <a:gd name="T3" fmla="*/ 13 h 25"/>
                <a:gd name="T4" fmla="*/ 23 w 25"/>
                <a:gd name="T5" fmla="*/ 17 h 25"/>
                <a:gd name="T6" fmla="*/ 21 w 25"/>
                <a:gd name="T7" fmla="*/ 21 h 25"/>
                <a:gd name="T8" fmla="*/ 17 w 25"/>
                <a:gd name="T9" fmla="*/ 23 h 25"/>
                <a:gd name="T10" fmla="*/ 13 w 25"/>
                <a:gd name="T11" fmla="*/ 25 h 25"/>
                <a:gd name="T12" fmla="*/ 13 w 25"/>
                <a:gd name="T13" fmla="*/ 25 h 25"/>
                <a:gd name="T14" fmla="*/ 8 w 25"/>
                <a:gd name="T15" fmla="*/ 23 h 25"/>
                <a:gd name="T16" fmla="*/ 4 w 25"/>
                <a:gd name="T17" fmla="*/ 21 h 25"/>
                <a:gd name="T18" fmla="*/ 2 w 25"/>
                <a:gd name="T19" fmla="*/ 17 h 25"/>
                <a:gd name="T20" fmla="*/ 0 w 25"/>
                <a:gd name="T21" fmla="*/ 13 h 25"/>
                <a:gd name="T22" fmla="*/ 0 w 25"/>
                <a:gd name="T23" fmla="*/ 13 h 25"/>
                <a:gd name="T24" fmla="*/ 2 w 25"/>
                <a:gd name="T25" fmla="*/ 8 h 25"/>
                <a:gd name="T26" fmla="*/ 4 w 25"/>
                <a:gd name="T27" fmla="*/ 4 h 25"/>
                <a:gd name="T28" fmla="*/ 8 w 25"/>
                <a:gd name="T29" fmla="*/ 2 h 25"/>
                <a:gd name="T30" fmla="*/ 13 w 25"/>
                <a:gd name="T31" fmla="*/ 0 h 25"/>
                <a:gd name="T32" fmla="*/ 13 w 25"/>
                <a:gd name="T33" fmla="*/ 0 h 25"/>
                <a:gd name="T34" fmla="*/ 17 w 25"/>
                <a:gd name="T35" fmla="*/ 2 h 25"/>
                <a:gd name="T36" fmla="*/ 21 w 25"/>
                <a:gd name="T37" fmla="*/ 4 h 25"/>
                <a:gd name="T38" fmla="*/ 23 w 25"/>
                <a:gd name="T39" fmla="*/ 8 h 25"/>
                <a:gd name="T40" fmla="*/ 25 w 25"/>
                <a:gd name="T41" fmla="*/ 13 h 25"/>
                <a:gd name="T42" fmla="*/ 25 w 25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5">
                  <a:moveTo>
                    <a:pt x="25" y="13"/>
                  </a:moveTo>
                  <a:lnTo>
                    <a:pt x="25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3"/>
                  </a:lnTo>
                  <a:lnTo>
                    <a:pt x="2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Freeform 89">
              <a:extLst>
                <a:ext uri="{FF2B5EF4-FFF2-40B4-BE49-F238E27FC236}">
                  <a16:creationId xmlns:a16="http://schemas.microsoft.com/office/drawing/2014/main" id="{FF9402B4-6C5A-F744-AE45-12DD1D0380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076450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0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0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3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3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Freeform 90">
              <a:extLst>
                <a:ext uri="{FF2B5EF4-FFF2-40B4-BE49-F238E27FC236}">
                  <a16:creationId xmlns:a16="http://schemas.microsoft.com/office/drawing/2014/main" id="{AE9B56F8-4463-2F40-AD14-D15F5AC9A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168525"/>
              <a:ext cx="19050" cy="19050"/>
            </a:xfrm>
            <a:custGeom>
              <a:avLst/>
              <a:gdLst>
                <a:gd name="T0" fmla="*/ 25 w 25"/>
                <a:gd name="T1" fmla="*/ 11 h 23"/>
                <a:gd name="T2" fmla="*/ 25 w 25"/>
                <a:gd name="T3" fmla="*/ 11 h 23"/>
                <a:gd name="T4" fmla="*/ 23 w 25"/>
                <a:gd name="T5" fmla="*/ 16 h 23"/>
                <a:gd name="T6" fmla="*/ 21 w 25"/>
                <a:gd name="T7" fmla="*/ 19 h 23"/>
                <a:gd name="T8" fmla="*/ 17 w 25"/>
                <a:gd name="T9" fmla="*/ 23 h 23"/>
                <a:gd name="T10" fmla="*/ 13 w 25"/>
                <a:gd name="T11" fmla="*/ 23 h 23"/>
                <a:gd name="T12" fmla="*/ 13 w 25"/>
                <a:gd name="T13" fmla="*/ 23 h 23"/>
                <a:gd name="T14" fmla="*/ 8 w 25"/>
                <a:gd name="T15" fmla="*/ 23 h 23"/>
                <a:gd name="T16" fmla="*/ 4 w 25"/>
                <a:gd name="T17" fmla="*/ 19 h 23"/>
                <a:gd name="T18" fmla="*/ 2 w 25"/>
                <a:gd name="T19" fmla="*/ 16 h 23"/>
                <a:gd name="T20" fmla="*/ 0 w 25"/>
                <a:gd name="T21" fmla="*/ 11 h 23"/>
                <a:gd name="T22" fmla="*/ 0 w 25"/>
                <a:gd name="T23" fmla="*/ 11 h 23"/>
                <a:gd name="T24" fmla="*/ 2 w 25"/>
                <a:gd name="T25" fmla="*/ 7 h 23"/>
                <a:gd name="T26" fmla="*/ 4 w 25"/>
                <a:gd name="T27" fmla="*/ 4 h 23"/>
                <a:gd name="T28" fmla="*/ 8 w 25"/>
                <a:gd name="T29" fmla="*/ 0 h 23"/>
                <a:gd name="T30" fmla="*/ 13 w 25"/>
                <a:gd name="T31" fmla="*/ 0 h 23"/>
                <a:gd name="T32" fmla="*/ 13 w 25"/>
                <a:gd name="T33" fmla="*/ 0 h 23"/>
                <a:gd name="T34" fmla="*/ 17 w 25"/>
                <a:gd name="T35" fmla="*/ 0 h 23"/>
                <a:gd name="T36" fmla="*/ 21 w 25"/>
                <a:gd name="T37" fmla="*/ 4 h 23"/>
                <a:gd name="T38" fmla="*/ 23 w 25"/>
                <a:gd name="T39" fmla="*/ 7 h 23"/>
                <a:gd name="T40" fmla="*/ 25 w 25"/>
                <a:gd name="T41" fmla="*/ 11 h 23"/>
                <a:gd name="T42" fmla="*/ 25 w 25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3">
                  <a:moveTo>
                    <a:pt x="25" y="11"/>
                  </a:moveTo>
                  <a:lnTo>
                    <a:pt x="25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8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1"/>
                  </a:lnTo>
                  <a:lnTo>
                    <a:pt x="25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Freeform 91">
              <a:extLst>
                <a:ext uri="{FF2B5EF4-FFF2-40B4-BE49-F238E27FC236}">
                  <a16:creationId xmlns:a16="http://schemas.microsoft.com/office/drawing/2014/main" id="{68D19884-8F15-404B-BC8A-9D1D882CAF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260600"/>
              <a:ext cx="19050" cy="20638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Freeform 92">
              <a:extLst>
                <a:ext uri="{FF2B5EF4-FFF2-40B4-BE49-F238E27FC236}">
                  <a16:creationId xmlns:a16="http://schemas.microsoft.com/office/drawing/2014/main" id="{4FBC5267-F566-F04D-AA9D-670B47229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354263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Freeform 93">
              <a:extLst>
                <a:ext uri="{FF2B5EF4-FFF2-40B4-BE49-F238E27FC236}">
                  <a16:creationId xmlns:a16="http://schemas.microsoft.com/office/drawing/2014/main" id="{318BD185-DBAD-4248-A7D9-1698887C2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446338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1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1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4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4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Freeform 94">
              <a:extLst>
                <a:ext uri="{FF2B5EF4-FFF2-40B4-BE49-F238E27FC236}">
                  <a16:creationId xmlns:a16="http://schemas.microsoft.com/office/drawing/2014/main" id="{2A1F9C2F-3368-4E4D-9DFC-BCAE1CE0C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1892300"/>
              <a:ext cx="19050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6 h 23"/>
                <a:gd name="T6" fmla="*/ 21 w 23"/>
                <a:gd name="T7" fmla="*/ 21 h 23"/>
                <a:gd name="T8" fmla="*/ 16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4 w 23"/>
                <a:gd name="T17" fmla="*/ 21 h 23"/>
                <a:gd name="T18" fmla="*/ 1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1 w 23"/>
                <a:gd name="T25" fmla="*/ 8 h 23"/>
                <a:gd name="T26" fmla="*/ 4 w 23"/>
                <a:gd name="T27" fmla="*/ 4 h 23"/>
                <a:gd name="T28" fmla="*/ 7 w 23"/>
                <a:gd name="T29" fmla="*/ 2 h 23"/>
                <a:gd name="T30" fmla="*/ 12 w 23"/>
                <a:gd name="T31" fmla="*/ 0 h 23"/>
                <a:gd name="T32" fmla="*/ 12 w 23"/>
                <a:gd name="T33" fmla="*/ 0 h 23"/>
                <a:gd name="T34" fmla="*/ 16 w 23"/>
                <a:gd name="T35" fmla="*/ 2 h 23"/>
                <a:gd name="T36" fmla="*/ 21 w 23"/>
                <a:gd name="T37" fmla="*/ 4 h 23"/>
                <a:gd name="T38" fmla="*/ 23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Freeform 95">
              <a:extLst>
                <a:ext uri="{FF2B5EF4-FFF2-40B4-BE49-F238E27FC236}">
                  <a16:creationId xmlns:a16="http://schemas.microsoft.com/office/drawing/2014/main" id="{EF49EA50-093C-D54A-8048-F66017F6EE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1984375"/>
              <a:ext cx="19050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3 w 23"/>
                <a:gd name="T5" fmla="*/ 17 h 25"/>
                <a:gd name="T6" fmla="*/ 21 w 23"/>
                <a:gd name="T7" fmla="*/ 21 h 25"/>
                <a:gd name="T8" fmla="*/ 16 w 23"/>
                <a:gd name="T9" fmla="*/ 23 h 25"/>
                <a:gd name="T10" fmla="*/ 12 w 23"/>
                <a:gd name="T11" fmla="*/ 25 h 25"/>
                <a:gd name="T12" fmla="*/ 12 w 23"/>
                <a:gd name="T13" fmla="*/ 25 h 25"/>
                <a:gd name="T14" fmla="*/ 7 w 23"/>
                <a:gd name="T15" fmla="*/ 23 h 25"/>
                <a:gd name="T16" fmla="*/ 4 w 23"/>
                <a:gd name="T17" fmla="*/ 21 h 25"/>
                <a:gd name="T18" fmla="*/ 1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1 w 23"/>
                <a:gd name="T25" fmla="*/ 8 h 25"/>
                <a:gd name="T26" fmla="*/ 4 w 23"/>
                <a:gd name="T27" fmla="*/ 4 h 25"/>
                <a:gd name="T28" fmla="*/ 7 w 23"/>
                <a:gd name="T29" fmla="*/ 2 h 25"/>
                <a:gd name="T30" fmla="*/ 12 w 23"/>
                <a:gd name="T31" fmla="*/ 0 h 25"/>
                <a:gd name="T32" fmla="*/ 12 w 23"/>
                <a:gd name="T33" fmla="*/ 0 h 25"/>
                <a:gd name="T34" fmla="*/ 16 w 23"/>
                <a:gd name="T35" fmla="*/ 2 h 25"/>
                <a:gd name="T36" fmla="*/ 21 w 23"/>
                <a:gd name="T37" fmla="*/ 4 h 25"/>
                <a:gd name="T38" fmla="*/ 23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Freeform 96">
              <a:extLst>
                <a:ext uri="{FF2B5EF4-FFF2-40B4-BE49-F238E27FC236}">
                  <a16:creationId xmlns:a16="http://schemas.microsoft.com/office/drawing/2014/main" id="{512B3320-3734-C843-A742-B0B400AD2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076450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0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0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Freeform 97">
              <a:extLst>
                <a:ext uri="{FF2B5EF4-FFF2-40B4-BE49-F238E27FC236}">
                  <a16:creationId xmlns:a16="http://schemas.microsoft.com/office/drawing/2014/main" id="{DC6E3E7E-5B9D-3B44-9FA4-F60D74C482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168525"/>
              <a:ext cx="19050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6 h 23"/>
                <a:gd name="T6" fmla="*/ 21 w 23"/>
                <a:gd name="T7" fmla="*/ 19 h 23"/>
                <a:gd name="T8" fmla="*/ 16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4 w 23"/>
                <a:gd name="T17" fmla="*/ 19 h 23"/>
                <a:gd name="T18" fmla="*/ 1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1 w 23"/>
                <a:gd name="T25" fmla="*/ 7 h 23"/>
                <a:gd name="T26" fmla="*/ 4 w 23"/>
                <a:gd name="T27" fmla="*/ 4 h 23"/>
                <a:gd name="T28" fmla="*/ 7 w 23"/>
                <a:gd name="T29" fmla="*/ 0 h 23"/>
                <a:gd name="T30" fmla="*/ 12 w 23"/>
                <a:gd name="T31" fmla="*/ 0 h 23"/>
                <a:gd name="T32" fmla="*/ 12 w 23"/>
                <a:gd name="T33" fmla="*/ 0 h 23"/>
                <a:gd name="T34" fmla="*/ 16 w 23"/>
                <a:gd name="T35" fmla="*/ 0 h 23"/>
                <a:gd name="T36" fmla="*/ 21 w 23"/>
                <a:gd name="T37" fmla="*/ 4 h 23"/>
                <a:gd name="T38" fmla="*/ 23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Freeform 98">
              <a:extLst>
                <a:ext uri="{FF2B5EF4-FFF2-40B4-BE49-F238E27FC236}">
                  <a16:creationId xmlns:a16="http://schemas.microsoft.com/office/drawing/2014/main" id="{2BC954CA-4575-4448-88E7-2FBFBD0FF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260600"/>
              <a:ext cx="19050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Freeform 99">
              <a:extLst>
                <a:ext uri="{FF2B5EF4-FFF2-40B4-BE49-F238E27FC236}">
                  <a16:creationId xmlns:a16="http://schemas.microsoft.com/office/drawing/2014/main" id="{C594172B-AD7D-CD4C-9A9C-AD732C033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354263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Freeform 100">
              <a:extLst>
                <a:ext uri="{FF2B5EF4-FFF2-40B4-BE49-F238E27FC236}">
                  <a16:creationId xmlns:a16="http://schemas.microsoft.com/office/drawing/2014/main" id="{0A575E87-129C-0145-9896-C83CACC8A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446338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1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1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Freeform 101">
              <a:extLst>
                <a:ext uri="{FF2B5EF4-FFF2-40B4-BE49-F238E27FC236}">
                  <a16:creationId xmlns:a16="http://schemas.microsoft.com/office/drawing/2014/main" id="{FB1768A7-28CB-4C41-919E-DBA9AA3DEB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2 w 23"/>
                <a:gd name="T5" fmla="*/ 16 h 23"/>
                <a:gd name="T6" fmla="*/ 19 w 23"/>
                <a:gd name="T7" fmla="*/ 21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7 w 23"/>
                <a:gd name="T15" fmla="*/ 23 h 23"/>
                <a:gd name="T16" fmla="*/ 2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2 w 23"/>
                <a:gd name="T27" fmla="*/ 4 h 23"/>
                <a:gd name="T28" fmla="*/ 7 w 23"/>
                <a:gd name="T29" fmla="*/ 2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2 h 23"/>
                <a:gd name="T36" fmla="*/ 19 w 23"/>
                <a:gd name="T37" fmla="*/ 4 h 23"/>
                <a:gd name="T38" fmla="*/ 22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2" y="16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Freeform 102">
              <a:extLst>
                <a:ext uri="{FF2B5EF4-FFF2-40B4-BE49-F238E27FC236}">
                  <a16:creationId xmlns:a16="http://schemas.microsoft.com/office/drawing/2014/main" id="{5B8D406F-9B09-0C48-B415-41B133F179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2 w 23"/>
                <a:gd name="T5" fmla="*/ 17 h 25"/>
                <a:gd name="T6" fmla="*/ 19 w 23"/>
                <a:gd name="T7" fmla="*/ 21 h 25"/>
                <a:gd name="T8" fmla="*/ 16 w 23"/>
                <a:gd name="T9" fmla="*/ 23 h 25"/>
                <a:gd name="T10" fmla="*/ 11 w 23"/>
                <a:gd name="T11" fmla="*/ 25 h 25"/>
                <a:gd name="T12" fmla="*/ 11 w 23"/>
                <a:gd name="T13" fmla="*/ 25 h 25"/>
                <a:gd name="T14" fmla="*/ 7 w 23"/>
                <a:gd name="T15" fmla="*/ 23 h 25"/>
                <a:gd name="T16" fmla="*/ 2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2 w 23"/>
                <a:gd name="T27" fmla="*/ 4 h 25"/>
                <a:gd name="T28" fmla="*/ 7 w 23"/>
                <a:gd name="T29" fmla="*/ 2 h 25"/>
                <a:gd name="T30" fmla="*/ 11 w 23"/>
                <a:gd name="T31" fmla="*/ 0 h 25"/>
                <a:gd name="T32" fmla="*/ 11 w 23"/>
                <a:gd name="T33" fmla="*/ 0 h 25"/>
                <a:gd name="T34" fmla="*/ 16 w 23"/>
                <a:gd name="T35" fmla="*/ 2 h 25"/>
                <a:gd name="T36" fmla="*/ 19 w 23"/>
                <a:gd name="T37" fmla="*/ 4 h 25"/>
                <a:gd name="T38" fmla="*/ 22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2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Freeform 103">
              <a:extLst>
                <a:ext uri="{FF2B5EF4-FFF2-40B4-BE49-F238E27FC236}">
                  <a16:creationId xmlns:a16="http://schemas.microsoft.com/office/drawing/2014/main" id="{33508F54-A557-EE47-998D-9D99AC76BD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3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Freeform 104">
              <a:extLst>
                <a:ext uri="{FF2B5EF4-FFF2-40B4-BE49-F238E27FC236}">
                  <a16:creationId xmlns:a16="http://schemas.microsoft.com/office/drawing/2014/main" id="{11E6A859-E8FD-694A-8F42-7D0A62D65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2 w 23"/>
                <a:gd name="T5" fmla="*/ 16 h 23"/>
                <a:gd name="T6" fmla="*/ 19 w 23"/>
                <a:gd name="T7" fmla="*/ 19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7 w 23"/>
                <a:gd name="T15" fmla="*/ 23 h 23"/>
                <a:gd name="T16" fmla="*/ 2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2 w 23"/>
                <a:gd name="T27" fmla="*/ 4 h 23"/>
                <a:gd name="T28" fmla="*/ 7 w 23"/>
                <a:gd name="T29" fmla="*/ 0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0 h 23"/>
                <a:gd name="T36" fmla="*/ 19 w 23"/>
                <a:gd name="T37" fmla="*/ 4 h 23"/>
                <a:gd name="T38" fmla="*/ 22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2" y="16"/>
                  </a:lnTo>
                  <a:lnTo>
                    <a:pt x="19" y="19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7" y="23"/>
                  </a:lnTo>
                  <a:lnTo>
                    <a:pt x="2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Freeform 105">
              <a:extLst>
                <a:ext uri="{FF2B5EF4-FFF2-40B4-BE49-F238E27FC236}">
                  <a16:creationId xmlns:a16="http://schemas.microsoft.com/office/drawing/2014/main" id="{E2AF790D-BEA6-0142-B445-5B89E01027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Freeform 106">
              <a:extLst>
                <a:ext uri="{FF2B5EF4-FFF2-40B4-BE49-F238E27FC236}">
                  <a16:creationId xmlns:a16="http://schemas.microsoft.com/office/drawing/2014/main" id="{C07988A8-963D-6542-BD48-0F4DD7C9F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Freeform 107">
              <a:extLst>
                <a:ext uri="{FF2B5EF4-FFF2-40B4-BE49-F238E27FC236}">
                  <a16:creationId xmlns:a16="http://schemas.microsoft.com/office/drawing/2014/main" id="{EBB1450E-3764-FD4F-80BD-6E306E8D2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4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4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Freeform 108">
              <a:extLst>
                <a:ext uri="{FF2B5EF4-FFF2-40B4-BE49-F238E27FC236}">
                  <a16:creationId xmlns:a16="http://schemas.microsoft.com/office/drawing/2014/main" id="{4B958D21-B0A2-764F-95F3-34340E3DC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2 w 24"/>
                <a:gd name="T5" fmla="*/ 16 h 23"/>
                <a:gd name="T6" fmla="*/ 20 w 24"/>
                <a:gd name="T7" fmla="*/ 21 h 23"/>
                <a:gd name="T8" fmla="*/ 16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6 w 24"/>
                <a:gd name="T35" fmla="*/ 2 h 23"/>
                <a:gd name="T36" fmla="*/ 20 w 24"/>
                <a:gd name="T37" fmla="*/ 4 h 23"/>
                <a:gd name="T38" fmla="*/ 22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2" y="16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Freeform 109">
              <a:extLst>
                <a:ext uri="{FF2B5EF4-FFF2-40B4-BE49-F238E27FC236}">
                  <a16:creationId xmlns:a16="http://schemas.microsoft.com/office/drawing/2014/main" id="{7FBB91CD-8D40-544E-92F9-8291C9153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2 w 24"/>
                <a:gd name="T5" fmla="*/ 17 h 25"/>
                <a:gd name="T6" fmla="*/ 20 w 24"/>
                <a:gd name="T7" fmla="*/ 21 h 25"/>
                <a:gd name="T8" fmla="*/ 16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6 w 24"/>
                <a:gd name="T35" fmla="*/ 2 h 25"/>
                <a:gd name="T36" fmla="*/ 20 w 24"/>
                <a:gd name="T37" fmla="*/ 4 h 25"/>
                <a:gd name="T38" fmla="*/ 22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Freeform 110">
              <a:extLst>
                <a:ext uri="{FF2B5EF4-FFF2-40B4-BE49-F238E27FC236}">
                  <a16:creationId xmlns:a16="http://schemas.microsoft.com/office/drawing/2014/main" id="{DED9D6E9-F3F5-1943-9BC5-54C414232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0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3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Freeform 111">
              <a:extLst>
                <a:ext uri="{FF2B5EF4-FFF2-40B4-BE49-F238E27FC236}">
                  <a16:creationId xmlns:a16="http://schemas.microsoft.com/office/drawing/2014/main" id="{4BBEB7C5-37C2-5D4F-94A5-2AECEA5BC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2 w 24"/>
                <a:gd name="T5" fmla="*/ 16 h 23"/>
                <a:gd name="T6" fmla="*/ 20 w 24"/>
                <a:gd name="T7" fmla="*/ 19 h 23"/>
                <a:gd name="T8" fmla="*/ 16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6 w 24"/>
                <a:gd name="T35" fmla="*/ 0 h 23"/>
                <a:gd name="T36" fmla="*/ 20 w 24"/>
                <a:gd name="T37" fmla="*/ 4 h 23"/>
                <a:gd name="T38" fmla="*/ 22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2" y="16"/>
                  </a:lnTo>
                  <a:lnTo>
                    <a:pt x="20" y="19"/>
                  </a:lnTo>
                  <a:lnTo>
                    <a:pt x="16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Freeform 112">
              <a:extLst>
                <a:ext uri="{FF2B5EF4-FFF2-40B4-BE49-F238E27FC236}">
                  <a16:creationId xmlns:a16="http://schemas.microsoft.com/office/drawing/2014/main" id="{9BE6086A-B586-F544-A6A7-68416F2ED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Freeform 113">
              <a:extLst>
                <a:ext uri="{FF2B5EF4-FFF2-40B4-BE49-F238E27FC236}">
                  <a16:creationId xmlns:a16="http://schemas.microsoft.com/office/drawing/2014/main" id="{3E8958E2-0CE0-384B-8AA3-AFC4C0357E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Freeform 114">
              <a:extLst>
                <a:ext uri="{FF2B5EF4-FFF2-40B4-BE49-F238E27FC236}">
                  <a16:creationId xmlns:a16="http://schemas.microsoft.com/office/drawing/2014/main" id="{767B8BA6-E46A-1549-A6F2-35DA79B71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1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4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Freeform 115">
              <a:extLst>
                <a:ext uri="{FF2B5EF4-FFF2-40B4-BE49-F238E27FC236}">
                  <a16:creationId xmlns:a16="http://schemas.microsoft.com/office/drawing/2014/main" id="{3132F389-E6C0-EA4F-8A60-75BB0389A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8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8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Freeform 116">
              <a:extLst>
                <a:ext uri="{FF2B5EF4-FFF2-40B4-BE49-F238E27FC236}">
                  <a16:creationId xmlns:a16="http://schemas.microsoft.com/office/drawing/2014/main" id="{18DC9707-0E5F-A04B-B6FD-0EB2D614B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8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8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5" name="Freeform 117">
              <a:extLst>
                <a:ext uri="{FF2B5EF4-FFF2-40B4-BE49-F238E27FC236}">
                  <a16:creationId xmlns:a16="http://schemas.microsoft.com/office/drawing/2014/main" id="{5868365B-8537-DD4A-94C8-A970042AF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6" name="Freeform 118">
              <a:extLst>
                <a:ext uri="{FF2B5EF4-FFF2-40B4-BE49-F238E27FC236}">
                  <a16:creationId xmlns:a16="http://schemas.microsoft.com/office/drawing/2014/main" id="{EA7F907C-11DC-874D-BBC3-90C0C8DB1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8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8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7" name="Freeform 119">
              <a:extLst>
                <a:ext uri="{FF2B5EF4-FFF2-40B4-BE49-F238E27FC236}">
                  <a16:creationId xmlns:a16="http://schemas.microsoft.com/office/drawing/2014/main" id="{7E67389D-5C84-FB47-AF63-124D72A06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8" name="Freeform 120">
              <a:extLst>
                <a:ext uri="{FF2B5EF4-FFF2-40B4-BE49-F238E27FC236}">
                  <a16:creationId xmlns:a16="http://schemas.microsoft.com/office/drawing/2014/main" id="{0AD0469D-0BA9-F848-A886-B1A62D391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9" name="Freeform 121">
              <a:extLst>
                <a:ext uri="{FF2B5EF4-FFF2-40B4-BE49-F238E27FC236}">
                  <a16:creationId xmlns:a16="http://schemas.microsoft.com/office/drawing/2014/main" id="{E99B204B-4475-3446-B556-CF61FF3C3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0" name="Freeform 122">
              <a:extLst>
                <a:ext uri="{FF2B5EF4-FFF2-40B4-BE49-F238E27FC236}">
                  <a16:creationId xmlns:a16="http://schemas.microsoft.com/office/drawing/2014/main" id="{0888EA59-9C72-094B-8D56-1044B5C90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1" name="Freeform 123">
              <a:extLst>
                <a:ext uri="{FF2B5EF4-FFF2-40B4-BE49-F238E27FC236}">
                  <a16:creationId xmlns:a16="http://schemas.microsoft.com/office/drawing/2014/main" id="{8A8DBE17-D1FC-FD44-AD97-C99F60C8D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2" name="Freeform 124">
              <a:extLst>
                <a:ext uri="{FF2B5EF4-FFF2-40B4-BE49-F238E27FC236}">
                  <a16:creationId xmlns:a16="http://schemas.microsoft.com/office/drawing/2014/main" id="{78E641F2-E5F6-C64F-8191-E14FB4B1F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3" name="Freeform 125">
              <a:extLst>
                <a:ext uri="{FF2B5EF4-FFF2-40B4-BE49-F238E27FC236}">
                  <a16:creationId xmlns:a16="http://schemas.microsoft.com/office/drawing/2014/main" id="{04598536-5BF6-C14E-BBED-255934726A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4" name="Freeform 126">
              <a:extLst>
                <a:ext uri="{FF2B5EF4-FFF2-40B4-BE49-F238E27FC236}">
                  <a16:creationId xmlns:a16="http://schemas.microsoft.com/office/drawing/2014/main" id="{7ADF4D9B-DE55-6948-80E0-08E99586B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5" name="Freeform 127">
              <a:extLst>
                <a:ext uri="{FF2B5EF4-FFF2-40B4-BE49-F238E27FC236}">
                  <a16:creationId xmlns:a16="http://schemas.microsoft.com/office/drawing/2014/main" id="{2A729FDD-0FAC-F742-A50D-08826C0CF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6" name="Freeform 128">
              <a:extLst>
                <a:ext uri="{FF2B5EF4-FFF2-40B4-BE49-F238E27FC236}">
                  <a16:creationId xmlns:a16="http://schemas.microsoft.com/office/drawing/2014/main" id="{CA054A48-C45B-BC4C-A0D0-13224CB00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7" name="Freeform 129">
              <a:extLst>
                <a:ext uri="{FF2B5EF4-FFF2-40B4-BE49-F238E27FC236}">
                  <a16:creationId xmlns:a16="http://schemas.microsoft.com/office/drawing/2014/main" id="{C3EDC1E6-3E2C-CA4B-89BA-869E0F2B6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8" name="Freeform 130">
              <a:extLst>
                <a:ext uri="{FF2B5EF4-FFF2-40B4-BE49-F238E27FC236}">
                  <a16:creationId xmlns:a16="http://schemas.microsoft.com/office/drawing/2014/main" id="{0275F8FA-1069-2A41-B944-21CD4749AE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9" name="Freeform 131">
              <a:extLst>
                <a:ext uri="{FF2B5EF4-FFF2-40B4-BE49-F238E27FC236}">
                  <a16:creationId xmlns:a16="http://schemas.microsoft.com/office/drawing/2014/main" id="{66D1F6AE-8630-1F45-ABE2-10F4DEEED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0" name="Freeform 132">
              <a:extLst>
                <a:ext uri="{FF2B5EF4-FFF2-40B4-BE49-F238E27FC236}">
                  <a16:creationId xmlns:a16="http://schemas.microsoft.com/office/drawing/2014/main" id="{9B88FC14-9616-B640-B368-34394DFB50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1" name="Freeform 133">
              <a:extLst>
                <a:ext uri="{FF2B5EF4-FFF2-40B4-BE49-F238E27FC236}">
                  <a16:creationId xmlns:a16="http://schemas.microsoft.com/office/drawing/2014/main" id="{35F67D68-C48C-4B44-81F7-003128645D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2" name="Freeform 134">
              <a:extLst>
                <a:ext uri="{FF2B5EF4-FFF2-40B4-BE49-F238E27FC236}">
                  <a16:creationId xmlns:a16="http://schemas.microsoft.com/office/drawing/2014/main" id="{72F647EB-C888-E244-8FBB-248B2F836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3" name="Freeform 135">
              <a:extLst>
                <a:ext uri="{FF2B5EF4-FFF2-40B4-BE49-F238E27FC236}">
                  <a16:creationId xmlns:a16="http://schemas.microsoft.com/office/drawing/2014/main" id="{D4AB4954-AA9E-464D-82B9-19A3D63C1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4" name="Freeform 136">
              <a:extLst>
                <a:ext uri="{FF2B5EF4-FFF2-40B4-BE49-F238E27FC236}">
                  <a16:creationId xmlns:a16="http://schemas.microsoft.com/office/drawing/2014/main" id="{94590BF8-F268-964A-A1EB-ADDBDE939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3 w 23"/>
                <a:gd name="T5" fmla="*/ 16 h 23"/>
                <a:gd name="T6" fmla="*/ 19 w 23"/>
                <a:gd name="T7" fmla="*/ 21 h 23"/>
                <a:gd name="T8" fmla="*/ 15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3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3 w 23"/>
                <a:gd name="T27" fmla="*/ 4 h 23"/>
                <a:gd name="T28" fmla="*/ 7 w 23"/>
                <a:gd name="T29" fmla="*/ 2 h 23"/>
                <a:gd name="T30" fmla="*/ 12 w 23"/>
                <a:gd name="T31" fmla="*/ 0 h 23"/>
                <a:gd name="T32" fmla="*/ 12 w 23"/>
                <a:gd name="T33" fmla="*/ 0 h 23"/>
                <a:gd name="T34" fmla="*/ 15 w 23"/>
                <a:gd name="T35" fmla="*/ 2 h 23"/>
                <a:gd name="T36" fmla="*/ 19 w 23"/>
                <a:gd name="T37" fmla="*/ 4 h 23"/>
                <a:gd name="T38" fmla="*/ 23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3" y="16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5" name="Freeform 137">
              <a:extLst>
                <a:ext uri="{FF2B5EF4-FFF2-40B4-BE49-F238E27FC236}">
                  <a16:creationId xmlns:a16="http://schemas.microsoft.com/office/drawing/2014/main" id="{7DF32262-E17F-254C-8723-A737C4E13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3 w 23"/>
                <a:gd name="T5" fmla="*/ 17 h 25"/>
                <a:gd name="T6" fmla="*/ 19 w 23"/>
                <a:gd name="T7" fmla="*/ 21 h 25"/>
                <a:gd name="T8" fmla="*/ 15 w 23"/>
                <a:gd name="T9" fmla="*/ 23 h 25"/>
                <a:gd name="T10" fmla="*/ 12 w 23"/>
                <a:gd name="T11" fmla="*/ 25 h 25"/>
                <a:gd name="T12" fmla="*/ 12 w 23"/>
                <a:gd name="T13" fmla="*/ 25 h 25"/>
                <a:gd name="T14" fmla="*/ 7 w 23"/>
                <a:gd name="T15" fmla="*/ 23 h 25"/>
                <a:gd name="T16" fmla="*/ 3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3 w 23"/>
                <a:gd name="T27" fmla="*/ 4 h 25"/>
                <a:gd name="T28" fmla="*/ 7 w 23"/>
                <a:gd name="T29" fmla="*/ 2 h 25"/>
                <a:gd name="T30" fmla="*/ 12 w 23"/>
                <a:gd name="T31" fmla="*/ 0 h 25"/>
                <a:gd name="T32" fmla="*/ 12 w 23"/>
                <a:gd name="T33" fmla="*/ 0 h 25"/>
                <a:gd name="T34" fmla="*/ 15 w 23"/>
                <a:gd name="T35" fmla="*/ 2 h 25"/>
                <a:gd name="T36" fmla="*/ 19 w 23"/>
                <a:gd name="T37" fmla="*/ 4 h 25"/>
                <a:gd name="T38" fmla="*/ 23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6" name="Freeform 138">
              <a:extLst>
                <a:ext uri="{FF2B5EF4-FFF2-40B4-BE49-F238E27FC236}">
                  <a16:creationId xmlns:a16="http://schemas.microsoft.com/office/drawing/2014/main" id="{05347C4D-B4DA-2640-BF97-9BE727A0E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7" name="Freeform 139">
              <a:extLst>
                <a:ext uri="{FF2B5EF4-FFF2-40B4-BE49-F238E27FC236}">
                  <a16:creationId xmlns:a16="http://schemas.microsoft.com/office/drawing/2014/main" id="{CF29B357-F4E8-474A-B18F-798032C41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3 w 23"/>
                <a:gd name="T5" fmla="*/ 16 h 23"/>
                <a:gd name="T6" fmla="*/ 19 w 23"/>
                <a:gd name="T7" fmla="*/ 19 h 23"/>
                <a:gd name="T8" fmla="*/ 15 w 23"/>
                <a:gd name="T9" fmla="*/ 23 h 23"/>
                <a:gd name="T10" fmla="*/ 12 w 23"/>
                <a:gd name="T11" fmla="*/ 23 h 23"/>
                <a:gd name="T12" fmla="*/ 12 w 23"/>
                <a:gd name="T13" fmla="*/ 23 h 23"/>
                <a:gd name="T14" fmla="*/ 7 w 23"/>
                <a:gd name="T15" fmla="*/ 23 h 23"/>
                <a:gd name="T16" fmla="*/ 3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3 w 23"/>
                <a:gd name="T27" fmla="*/ 4 h 23"/>
                <a:gd name="T28" fmla="*/ 7 w 23"/>
                <a:gd name="T29" fmla="*/ 0 h 23"/>
                <a:gd name="T30" fmla="*/ 12 w 23"/>
                <a:gd name="T31" fmla="*/ 0 h 23"/>
                <a:gd name="T32" fmla="*/ 12 w 23"/>
                <a:gd name="T33" fmla="*/ 0 h 23"/>
                <a:gd name="T34" fmla="*/ 15 w 23"/>
                <a:gd name="T35" fmla="*/ 0 h 23"/>
                <a:gd name="T36" fmla="*/ 19 w 23"/>
                <a:gd name="T37" fmla="*/ 4 h 23"/>
                <a:gd name="T38" fmla="*/ 23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3" y="16"/>
                  </a:lnTo>
                  <a:lnTo>
                    <a:pt x="19" y="19"/>
                  </a:lnTo>
                  <a:lnTo>
                    <a:pt x="15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8" name="Freeform 140">
              <a:extLst>
                <a:ext uri="{FF2B5EF4-FFF2-40B4-BE49-F238E27FC236}">
                  <a16:creationId xmlns:a16="http://schemas.microsoft.com/office/drawing/2014/main" id="{D49FB255-B089-5A4E-A383-3401CAFD5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9" name="Freeform 141">
              <a:extLst>
                <a:ext uri="{FF2B5EF4-FFF2-40B4-BE49-F238E27FC236}">
                  <a16:creationId xmlns:a16="http://schemas.microsoft.com/office/drawing/2014/main" id="{20D91376-BEA7-244D-BD7E-20AA30EF5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0" name="Freeform 142">
              <a:extLst>
                <a:ext uri="{FF2B5EF4-FFF2-40B4-BE49-F238E27FC236}">
                  <a16:creationId xmlns:a16="http://schemas.microsoft.com/office/drawing/2014/main" id="{43274B60-80FF-AC4F-BECC-6D0D2BBCA5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1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4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1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4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1" name="Freeform 143">
              <a:extLst>
                <a:ext uri="{FF2B5EF4-FFF2-40B4-BE49-F238E27FC236}">
                  <a16:creationId xmlns:a16="http://schemas.microsoft.com/office/drawing/2014/main" id="{7DDC7B76-6379-3942-946E-C989F79D4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1892300"/>
              <a:ext cx="17463" cy="17463"/>
            </a:xfrm>
            <a:custGeom>
              <a:avLst/>
              <a:gdLst>
                <a:gd name="T0" fmla="*/ 23 w 23"/>
                <a:gd name="T1" fmla="*/ 12 h 23"/>
                <a:gd name="T2" fmla="*/ 23 w 23"/>
                <a:gd name="T3" fmla="*/ 12 h 23"/>
                <a:gd name="T4" fmla="*/ 22 w 23"/>
                <a:gd name="T5" fmla="*/ 16 h 23"/>
                <a:gd name="T6" fmla="*/ 20 w 23"/>
                <a:gd name="T7" fmla="*/ 21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8 w 23"/>
                <a:gd name="T15" fmla="*/ 23 h 23"/>
                <a:gd name="T16" fmla="*/ 3 w 23"/>
                <a:gd name="T17" fmla="*/ 21 h 23"/>
                <a:gd name="T18" fmla="*/ 0 w 23"/>
                <a:gd name="T19" fmla="*/ 16 h 23"/>
                <a:gd name="T20" fmla="*/ 0 w 23"/>
                <a:gd name="T21" fmla="*/ 12 h 23"/>
                <a:gd name="T22" fmla="*/ 0 w 23"/>
                <a:gd name="T23" fmla="*/ 12 h 23"/>
                <a:gd name="T24" fmla="*/ 0 w 23"/>
                <a:gd name="T25" fmla="*/ 8 h 23"/>
                <a:gd name="T26" fmla="*/ 3 w 23"/>
                <a:gd name="T27" fmla="*/ 4 h 23"/>
                <a:gd name="T28" fmla="*/ 8 w 23"/>
                <a:gd name="T29" fmla="*/ 2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2 h 23"/>
                <a:gd name="T36" fmla="*/ 20 w 23"/>
                <a:gd name="T37" fmla="*/ 4 h 23"/>
                <a:gd name="T38" fmla="*/ 22 w 23"/>
                <a:gd name="T39" fmla="*/ 8 h 23"/>
                <a:gd name="T40" fmla="*/ 23 w 23"/>
                <a:gd name="T41" fmla="*/ 12 h 23"/>
                <a:gd name="T42" fmla="*/ 23 w 23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2"/>
                  </a:moveTo>
                  <a:lnTo>
                    <a:pt x="23" y="12"/>
                  </a:lnTo>
                  <a:lnTo>
                    <a:pt x="22" y="16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3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2" name="Freeform 144">
              <a:extLst>
                <a:ext uri="{FF2B5EF4-FFF2-40B4-BE49-F238E27FC236}">
                  <a16:creationId xmlns:a16="http://schemas.microsoft.com/office/drawing/2014/main" id="{17462197-B142-8347-947A-4A2919C63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1984375"/>
              <a:ext cx="17463" cy="19050"/>
            </a:xfrm>
            <a:custGeom>
              <a:avLst/>
              <a:gdLst>
                <a:gd name="T0" fmla="*/ 23 w 23"/>
                <a:gd name="T1" fmla="*/ 13 h 25"/>
                <a:gd name="T2" fmla="*/ 23 w 23"/>
                <a:gd name="T3" fmla="*/ 13 h 25"/>
                <a:gd name="T4" fmla="*/ 22 w 23"/>
                <a:gd name="T5" fmla="*/ 17 h 25"/>
                <a:gd name="T6" fmla="*/ 20 w 23"/>
                <a:gd name="T7" fmla="*/ 21 h 25"/>
                <a:gd name="T8" fmla="*/ 16 w 23"/>
                <a:gd name="T9" fmla="*/ 23 h 25"/>
                <a:gd name="T10" fmla="*/ 11 w 23"/>
                <a:gd name="T11" fmla="*/ 25 h 25"/>
                <a:gd name="T12" fmla="*/ 11 w 23"/>
                <a:gd name="T13" fmla="*/ 25 h 25"/>
                <a:gd name="T14" fmla="*/ 8 w 23"/>
                <a:gd name="T15" fmla="*/ 23 h 25"/>
                <a:gd name="T16" fmla="*/ 3 w 23"/>
                <a:gd name="T17" fmla="*/ 21 h 25"/>
                <a:gd name="T18" fmla="*/ 0 w 23"/>
                <a:gd name="T19" fmla="*/ 17 h 25"/>
                <a:gd name="T20" fmla="*/ 0 w 23"/>
                <a:gd name="T21" fmla="*/ 13 h 25"/>
                <a:gd name="T22" fmla="*/ 0 w 23"/>
                <a:gd name="T23" fmla="*/ 13 h 25"/>
                <a:gd name="T24" fmla="*/ 0 w 23"/>
                <a:gd name="T25" fmla="*/ 8 h 25"/>
                <a:gd name="T26" fmla="*/ 3 w 23"/>
                <a:gd name="T27" fmla="*/ 4 h 25"/>
                <a:gd name="T28" fmla="*/ 8 w 23"/>
                <a:gd name="T29" fmla="*/ 2 h 25"/>
                <a:gd name="T30" fmla="*/ 11 w 23"/>
                <a:gd name="T31" fmla="*/ 0 h 25"/>
                <a:gd name="T32" fmla="*/ 11 w 23"/>
                <a:gd name="T33" fmla="*/ 0 h 25"/>
                <a:gd name="T34" fmla="*/ 16 w 23"/>
                <a:gd name="T35" fmla="*/ 2 h 25"/>
                <a:gd name="T36" fmla="*/ 20 w 23"/>
                <a:gd name="T37" fmla="*/ 4 h 25"/>
                <a:gd name="T38" fmla="*/ 22 w 23"/>
                <a:gd name="T39" fmla="*/ 8 h 25"/>
                <a:gd name="T40" fmla="*/ 23 w 23"/>
                <a:gd name="T41" fmla="*/ 13 h 25"/>
                <a:gd name="T42" fmla="*/ 23 w 23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5">
                  <a:moveTo>
                    <a:pt x="23" y="13"/>
                  </a:moveTo>
                  <a:lnTo>
                    <a:pt x="23" y="13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8"/>
                  </a:lnTo>
                  <a:lnTo>
                    <a:pt x="3" y="4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3" y="13"/>
                  </a:lnTo>
                  <a:lnTo>
                    <a:pt x="2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3" name="Freeform 145">
              <a:extLst>
                <a:ext uri="{FF2B5EF4-FFF2-40B4-BE49-F238E27FC236}">
                  <a16:creationId xmlns:a16="http://schemas.microsoft.com/office/drawing/2014/main" id="{E32C7027-8862-844A-AA17-A72FEB477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076450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4" name="Freeform 146">
              <a:extLst>
                <a:ext uri="{FF2B5EF4-FFF2-40B4-BE49-F238E27FC236}">
                  <a16:creationId xmlns:a16="http://schemas.microsoft.com/office/drawing/2014/main" id="{5468958B-BDB1-954F-BFDC-7CAF9C727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168525"/>
              <a:ext cx="17463" cy="19050"/>
            </a:xfrm>
            <a:custGeom>
              <a:avLst/>
              <a:gdLst>
                <a:gd name="T0" fmla="*/ 23 w 23"/>
                <a:gd name="T1" fmla="*/ 11 h 23"/>
                <a:gd name="T2" fmla="*/ 23 w 23"/>
                <a:gd name="T3" fmla="*/ 11 h 23"/>
                <a:gd name="T4" fmla="*/ 22 w 23"/>
                <a:gd name="T5" fmla="*/ 16 h 23"/>
                <a:gd name="T6" fmla="*/ 20 w 23"/>
                <a:gd name="T7" fmla="*/ 19 h 23"/>
                <a:gd name="T8" fmla="*/ 16 w 23"/>
                <a:gd name="T9" fmla="*/ 23 h 23"/>
                <a:gd name="T10" fmla="*/ 11 w 23"/>
                <a:gd name="T11" fmla="*/ 23 h 23"/>
                <a:gd name="T12" fmla="*/ 11 w 23"/>
                <a:gd name="T13" fmla="*/ 23 h 23"/>
                <a:gd name="T14" fmla="*/ 8 w 23"/>
                <a:gd name="T15" fmla="*/ 23 h 23"/>
                <a:gd name="T16" fmla="*/ 3 w 23"/>
                <a:gd name="T17" fmla="*/ 19 h 23"/>
                <a:gd name="T18" fmla="*/ 0 w 23"/>
                <a:gd name="T19" fmla="*/ 16 h 23"/>
                <a:gd name="T20" fmla="*/ 0 w 23"/>
                <a:gd name="T21" fmla="*/ 11 h 23"/>
                <a:gd name="T22" fmla="*/ 0 w 23"/>
                <a:gd name="T23" fmla="*/ 11 h 23"/>
                <a:gd name="T24" fmla="*/ 0 w 23"/>
                <a:gd name="T25" fmla="*/ 7 h 23"/>
                <a:gd name="T26" fmla="*/ 3 w 23"/>
                <a:gd name="T27" fmla="*/ 4 h 23"/>
                <a:gd name="T28" fmla="*/ 8 w 23"/>
                <a:gd name="T29" fmla="*/ 0 h 23"/>
                <a:gd name="T30" fmla="*/ 11 w 23"/>
                <a:gd name="T31" fmla="*/ 0 h 23"/>
                <a:gd name="T32" fmla="*/ 11 w 23"/>
                <a:gd name="T33" fmla="*/ 0 h 23"/>
                <a:gd name="T34" fmla="*/ 16 w 23"/>
                <a:gd name="T35" fmla="*/ 0 h 23"/>
                <a:gd name="T36" fmla="*/ 20 w 23"/>
                <a:gd name="T37" fmla="*/ 4 h 23"/>
                <a:gd name="T38" fmla="*/ 22 w 23"/>
                <a:gd name="T39" fmla="*/ 7 h 23"/>
                <a:gd name="T40" fmla="*/ 23 w 23"/>
                <a:gd name="T41" fmla="*/ 11 h 23"/>
                <a:gd name="T42" fmla="*/ 23 w 23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3">
                  <a:moveTo>
                    <a:pt x="23" y="11"/>
                  </a:moveTo>
                  <a:lnTo>
                    <a:pt x="23" y="11"/>
                  </a:lnTo>
                  <a:lnTo>
                    <a:pt x="22" y="16"/>
                  </a:lnTo>
                  <a:lnTo>
                    <a:pt x="20" y="19"/>
                  </a:lnTo>
                  <a:lnTo>
                    <a:pt x="16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8" y="23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1"/>
                  </a:lnTo>
                  <a:lnTo>
                    <a:pt x="2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5" name="Freeform 147">
              <a:extLst>
                <a:ext uri="{FF2B5EF4-FFF2-40B4-BE49-F238E27FC236}">
                  <a16:creationId xmlns:a16="http://schemas.microsoft.com/office/drawing/2014/main" id="{DF264B2E-8C78-3B45-8588-D4D79E1F5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260600"/>
              <a:ext cx="17463" cy="20638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6" name="Freeform 148">
              <a:extLst>
                <a:ext uri="{FF2B5EF4-FFF2-40B4-BE49-F238E27FC236}">
                  <a16:creationId xmlns:a16="http://schemas.microsoft.com/office/drawing/2014/main" id="{114F29BA-862A-1641-97AF-89818C956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3542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7" name="Freeform 149">
              <a:extLst>
                <a:ext uri="{FF2B5EF4-FFF2-40B4-BE49-F238E27FC236}">
                  <a16:creationId xmlns:a16="http://schemas.microsoft.com/office/drawing/2014/main" id="{3D2EB5A7-4E76-E94C-8B3C-31D51FFC2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446338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1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1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4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4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1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1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4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4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8" name="Freeform 150">
              <a:extLst>
                <a:ext uri="{FF2B5EF4-FFF2-40B4-BE49-F238E27FC236}">
                  <a16:creationId xmlns:a16="http://schemas.microsoft.com/office/drawing/2014/main" id="{2BF6B5F0-1951-A14E-BF49-7CEF4AE2D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1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4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1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9" name="Freeform 151">
              <a:extLst>
                <a:ext uri="{FF2B5EF4-FFF2-40B4-BE49-F238E27FC236}">
                  <a16:creationId xmlns:a16="http://schemas.microsoft.com/office/drawing/2014/main" id="{D841D4AC-6A33-B148-9109-C4AEBB68A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1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4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4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1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4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0" name="Freeform 152">
              <a:extLst>
                <a:ext uri="{FF2B5EF4-FFF2-40B4-BE49-F238E27FC236}">
                  <a16:creationId xmlns:a16="http://schemas.microsoft.com/office/drawing/2014/main" id="{B83D8F36-857F-5348-BD03-DFACF249A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1" name="Freeform 153">
              <a:extLst>
                <a:ext uri="{FF2B5EF4-FFF2-40B4-BE49-F238E27FC236}">
                  <a16:creationId xmlns:a16="http://schemas.microsoft.com/office/drawing/2014/main" id="{01A18BB1-C693-6F4B-92DA-D6AFE3C7A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1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4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4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1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1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2" name="Freeform 154">
              <a:extLst>
                <a:ext uri="{FF2B5EF4-FFF2-40B4-BE49-F238E27FC236}">
                  <a16:creationId xmlns:a16="http://schemas.microsoft.com/office/drawing/2014/main" id="{B2ACCCAE-04F6-1540-8D92-A1087BA3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3" name="Freeform 155">
              <a:extLst>
                <a:ext uri="{FF2B5EF4-FFF2-40B4-BE49-F238E27FC236}">
                  <a16:creationId xmlns:a16="http://schemas.microsoft.com/office/drawing/2014/main" id="{2DF09A86-7284-3F40-9F68-DBB9A7517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4" name="Freeform 156">
              <a:extLst>
                <a:ext uri="{FF2B5EF4-FFF2-40B4-BE49-F238E27FC236}">
                  <a16:creationId xmlns:a16="http://schemas.microsoft.com/office/drawing/2014/main" id="{7760681A-83CF-1148-9A8C-D980458D2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5" name="Freeform 157">
              <a:extLst>
                <a:ext uri="{FF2B5EF4-FFF2-40B4-BE49-F238E27FC236}">
                  <a16:creationId xmlns:a16="http://schemas.microsoft.com/office/drawing/2014/main" id="{987D84A2-89DB-DE45-8F9B-0F9FB380C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1892300"/>
              <a:ext cx="19050" cy="17463"/>
            </a:xfrm>
            <a:custGeom>
              <a:avLst/>
              <a:gdLst>
                <a:gd name="T0" fmla="*/ 24 w 24"/>
                <a:gd name="T1" fmla="*/ 12 h 23"/>
                <a:gd name="T2" fmla="*/ 24 w 24"/>
                <a:gd name="T3" fmla="*/ 12 h 23"/>
                <a:gd name="T4" fmla="*/ 23 w 24"/>
                <a:gd name="T5" fmla="*/ 16 h 23"/>
                <a:gd name="T6" fmla="*/ 20 w 24"/>
                <a:gd name="T7" fmla="*/ 21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21 h 23"/>
                <a:gd name="T18" fmla="*/ 1 w 24"/>
                <a:gd name="T19" fmla="*/ 16 h 23"/>
                <a:gd name="T20" fmla="*/ 0 w 24"/>
                <a:gd name="T21" fmla="*/ 12 h 23"/>
                <a:gd name="T22" fmla="*/ 0 w 24"/>
                <a:gd name="T23" fmla="*/ 12 h 23"/>
                <a:gd name="T24" fmla="*/ 1 w 24"/>
                <a:gd name="T25" fmla="*/ 8 h 23"/>
                <a:gd name="T26" fmla="*/ 3 w 24"/>
                <a:gd name="T27" fmla="*/ 4 h 23"/>
                <a:gd name="T28" fmla="*/ 7 w 24"/>
                <a:gd name="T29" fmla="*/ 2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2 h 23"/>
                <a:gd name="T36" fmla="*/ 20 w 24"/>
                <a:gd name="T37" fmla="*/ 4 h 23"/>
                <a:gd name="T38" fmla="*/ 23 w 24"/>
                <a:gd name="T39" fmla="*/ 8 h 23"/>
                <a:gd name="T40" fmla="*/ 24 w 24"/>
                <a:gd name="T41" fmla="*/ 12 h 23"/>
                <a:gd name="T42" fmla="*/ 24 w 24"/>
                <a:gd name="T43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2"/>
                  </a:moveTo>
                  <a:lnTo>
                    <a:pt x="24" y="12"/>
                  </a:lnTo>
                  <a:lnTo>
                    <a:pt x="23" y="16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6" name="Freeform 158">
              <a:extLst>
                <a:ext uri="{FF2B5EF4-FFF2-40B4-BE49-F238E27FC236}">
                  <a16:creationId xmlns:a16="http://schemas.microsoft.com/office/drawing/2014/main" id="{2EA6AF72-A436-A642-AF34-7A7707671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1984375"/>
              <a:ext cx="19050" cy="19050"/>
            </a:xfrm>
            <a:custGeom>
              <a:avLst/>
              <a:gdLst>
                <a:gd name="T0" fmla="*/ 24 w 24"/>
                <a:gd name="T1" fmla="*/ 13 h 25"/>
                <a:gd name="T2" fmla="*/ 24 w 24"/>
                <a:gd name="T3" fmla="*/ 13 h 25"/>
                <a:gd name="T4" fmla="*/ 23 w 24"/>
                <a:gd name="T5" fmla="*/ 17 h 25"/>
                <a:gd name="T6" fmla="*/ 20 w 24"/>
                <a:gd name="T7" fmla="*/ 21 h 25"/>
                <a:gd name="T8" fmla="*/ 17 w 24"/>
                <a:gd name="T9" fmla="*/ 23 h 25"/>
                <a:gd name="T10" fmla="*/ 12 w 24"/>
                <a:gd name="T11" fmla="*/ 25 h 25"/>
                <a:gd name="T12" fmla="*/ 12 w 24"/>
                <a:gd name="T13" fmla="*/ 25 h 25"/>
                <a:gd name="T14" fmla="*/ 7 w 24"/>
                <a:gd name="T15" fmla="*/ 23 h 25"/>
                <a:gd name="T16" fmla="*/ 3 w 24"/>
                <a:gd name="T17" fmla="*/ 21 h 25"/>
                <a:gd name="T18" fmla="*/ 1 w 24"/>
                <a:gd name="T19" fmla="*/ 17 h 25"/>
                <a:gd name="T20" fmla="*/ 0 w 24"/>
                <a:gd name="T21" fmla="*/ 13 h 25"/>
                <a:gd name="T22" fmla="*/ 0 w 24"/>
                <a:gd name="T23" fmla="*/ 13 h 25"/>
                <a:gd name="T24" fmla="*/ 1 w 24"/>
                <a:gd name="T25" fmla="*/ 8 h 25"/>
                <a:gd name="T26" fmla="*/ 3 w 24"/>
                <a:gd name="T27" fmla="*/ 4 h 25"/>
                <a:gd name="T28" fmla="*/ 7 w 24"/>
                <a:gd name="T29" fmla="*/ 2 h 25"/>
                <a:gd name="T30" fmla="*/ 12 w 24"/>
                <a:gd name="T31" fmla="*/ 0 h 25"/>
                <a:gd name="T32" fmla="*/ 12 w 24"/>
                <a:gd name="T33" fmla="*/ 0 h 25"/>
                <a:gd name="T34" fmla="*/ 17 w 24"/>
                <a:gd name="T35" fmla="*/ 2 h 25"/>
                <a:gd name="T36" fmla="*/ 20 w 24"/>
                <a:gd name="T37" fmla="*/ 4 h 25"/>
                <a:gd name="T38" fmla="*/ 23 w 24"/>
                <a:gd name="T39" fmla="*/ 8 h 25"/>
                <a:gd name="T40" fmla="*/ 24 w 24"/>
                <a:gd name="T41" fmla="*/ 13 h 25"/>
                <a:gd name="T42" fmla="*/ 24 w 24"/>
                <a:gd name="T43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5">
                  <a:moveTo>
                    <a:pt x="24" y="13"/>
                  </a:moveTo>
                  <a:lnTo>
                    <a:pt x="24" y="13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3" y="8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7" name="Freeform 159">
              <a:extLst>
                <a:ext uri="{FF2B5EF4-FFF2-40B4-BE49-F238E27FC236}">
                  <a16:creationId xmlns:a16="http://schemas.microsoft.com/office/drawing/2014/main" id="{C3E22846-C240-4D46-8F8C-5E3E06304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076450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8" name="Freeform 160">
              <a:extLst>
                <a:ext uri="{FF2B5EF4-FFF2-40B4-BE49-F238E27FC236}">
                  <a16:creationId xmlns:a16="http://schemas.microsoft.com/office/drawing/2014/main" id="{C7B3763C-EC03-154B-A722-C8D9D367E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168525"/>
              <a:ext cx="19050" cy="19050"/>
            </a:xfrm>
            <a:custGeom>
              <a:avLst/>
              <a:gdLst>
                <a:gd name="T0" fmla="*/ 24 w 24"/>
                <a:gd name="T1" fmla="*/ 11 h 23"/>
                <a:gd name="T2" fmla="*/ 24 w 24"/>
                <a:gd name="T3" fmla="*/ 11 h 23"/>
                <a:gd name="T4" fmla="*/ 23 w 24"/>
                <a:gd name="T5" fmla="*/ 16 h 23"/>
                <a:gd name="T6" fmla="*/ 20 w 24"/>
                <a:gd name="T7" fmla="*/ 19 h 23"/>
                <a:gd name="T8" fmla="*/ 17 w 24"/>
                <a:gd name="T9" fmla="*/ 23 h 23"/>
                <a:gd name="T10" fmla="*/ 12 w 24"/>
                <a:gd name="T11" fmla="*/ 23 h 23"/>
                <a:gd name="T12" fmla="*/ 12 w 24"/>
                <a:gd name="T13" fmla="*/ 23 h 23"/>
                <a:gd name="T14" fmla="*/ 7 w 24"/>
                <a:gd name="T15" fmla="*/ 23 h 23"/>
                <a:gd name="T16" fmla="*/ 3 w 24"/>
                <a:gd name="T17" fmla="*/ 19 h 23"/>
                <a:gd name="T18" fmla="*/ 1 w 24"/>
                <a:gd name="T19" fmla="*/ 16 h 23"/>
                <a:gd name="T20" fmla="*/ 0 w 24"/>
                <a:gd name="T21" fmla="*/ 11 h 23"/>
                <a:gd name="T22" fmla="*/ 0 w 24"/>
                <a:gd name="T23" fmla="*/ 11 h 23"/>
                <a:gd name="T24" fmla="*/ 1 w 24"/>
                <a:gd name="T25" fmla="*/ 7 h 23"/>
                <a:gd name="T26" fmla="*/ 3 w 24"/>
                <a:gd name="T27" fmla="*/ 4 h 23"/>
                <a:gd name="T28" fmla="*/ 7 w 24"/>
                <a:gd name="T29" fmla="*/ 0 h 23"/>
                <a:gd name="T30" fmla="*/ 12 w 24"/>
                <a:gd name="T31" fmla="*/ 0 h 23"/>
                <a:gd name="T32" fmla="*/ 12 w 24"/>
                <a:gd name="T33" fmla="*/ 0 h 23"/>
                <a:gd name="T34" fmla="*/ 17 w 24"/>
                <a:gd name="T35" fmla="*/ 0 h 23"/>
                <a:gd name="T36" fmla="*/ 20 w 24"/>
                <a:gd name="T37" fmla="*/ 4 h 23"/>
                <a:gd name="T38" fmla="*/ 23 w 24"/>
                <a:gd name="T39" fmla="*/ 7 h 23"/>
                <a:gd name="T40" fmla="*/ 24 w 24"/>
                <a:gd name="T41" fmla="*/ 11 h 23"/>
                <a:gd name="T42" fmla="*/ 24 w 24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24" y="11"/>
                  </a:moveTo>
                  <a:lnTo>
                    <a:pt x="24" y="11"/>
                  </a:lnTo>
                  <a:lnTo>
                    <a:pt x="23" y="16"/>
                  </a:lnTo>
                  <a:lnTo>
                    <a:pt x="20" y="19"/>
                  </a:lnTo>
                  <a:lnTo>
                    <a:pt x="17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7" y="23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1"/>
                  </a:lnTo>
                  <a:lnTo>
                    <a:pt x="2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9" name="Freeform 161">
              <a:extLst>
                <a:ext uri="{FF2B5EF4-FFF2-40B4-BE49-F238E27FC236}">
                  <a16:creationId xmlns:a16="http://schemas.microsoft.com/office/drawing/2014/main" id="{E940FB6C-96EF-0241-8CC3-E302A3672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260600"/>
              <a:ext cx="19050" cy="20638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0" name="Freeform 162">
              <a:extLst>
                <a:ext uri="{FF2B5EF4-FFF2-40B4-BE49-F238E27FC236}">
                  <a16:creationId xmlns:a16="http://schemas.microsoft.com/office/drawing/2014/main" id="{CFCDB1A7-479A-BE46-A20F-9BAA51B5B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3542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1" name="Freeform 163">
              <a:extLst>
                <a:ext uri="{FF2B5EF4-FFF2-40B4-BE49-F238E27FC236}">
                  <a16:creationId xmlns:a16="http://schemas.microsoft.com/office/drawing/2014/main" id="{C83CF4C1-3EC9-524F-9550-AAF4FBA1F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446338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1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1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4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4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2" name="Freeform 235">
              <a:extLst>
                <a:ext uri="{FF2B5EF4-FFF2-40B4-BE49-F238E27FC236}">
                  <a16:creationId xmlns:a16="http://schemas.microsoft.com/office/drawing/2014/main" id="{F8A5D928-1769-AB4E-9AAF-333A18324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552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3" name="Freeform 242">
              <a:extLst>
                <a:ext uri="{FF2B5EF4-FFF2-40B4-BE49-F238E27FC236}">
                  <a16:creationId xmlns:a16="http://schemas.microsoft.com/office/drawing/2014/main" id="{0DAB4F4E-E23C-9442-8061-9429419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15538" y="2544763"/>
              <a:ext cx="19050" cy="19050"/>
            </a:xfrm>
            <a:custGeom>
              <a:avLst/>
              <a:gdLst>
                <a:gd name="T0" fmla="*/ 25 w 25"/>
                <a:gd name="T1" fmla="*/ 12 h 24"/>
                <a:gd name="T2" fmla="*/ 25 w 25"/>
                <a:gd name="T3" fmla="*/ 12 h 24"/>
                <a:gd name="T4" fmla="*/ 23 w 25"/>
                <a:gd name="T5" fmla="*/ 17 h 24"/>
                <a:gd name="T6" fmla="*/ 21 w 25"/>
                <a:gd name="T7" fmla="*/ 20 h 24"/>
                <a:gd name="T8" fmla="*/ 17 w 25"/>
                <a:gd name="T9" fmla="*/ 23 h 24"/>
                <a:gd name="T10" fmla="*/ 13 w 25"/>
                <a:gd name="T11" fmla="*/ 24 h 24"/>
                <a:gd name="T12" fmla="*/ 13 w 25"/>
                <a:gd name="T13" fmla="*/ 24 h 24"/>
                <a:gd name="T14" fmla="*/ 8 w 25"/>
                <a:gd name="T15" fmla="*/ 23 h 24"/>
                <a:gd name="T16" fmla="*/ 4 w 25"/>
                <a:gd name="T17" fmla="*/ 20 h 24"/>
                <a:gd name="T18" fmla="*/ 2 w 25"/>
                <a:gd name="T19" fmla="*/ 17 h 24"/>
                <a:gd name="T20" fmla="*/ 0 w 25"/>
                <a:gd name="T21" fmla="*/ 12 h 24"/>
                <a:gd name="T22" fmla="*/ 0 w 25"/>
                <a:gd name="T23" fmla="*/ 12 h 24"/>
                <a:gd name="T24" fmla="*/ 2 w 25"/>
                <a:gd name="T25" fmla="*/ 7 h 24"/>
                <a:gd name="T26" fmla="*/ 4 w 25"/>
                <a:gd name="T27" fmla="*/ 3 h 24"/>
                <a:gd name="T28" fmla="*/ 8 w 25"/>
                <a:gd name="T29" fmla="*/ 1 h 24"/>
                <a:gd name="T30" fmla="*/ 13 w 25"/>
                <a:gd name="T31" fmla="*/ 0 h 24"/>
                <a:gd name="T32" fmla="*/ 13 w 25"/>
                <a:gd name="T33" fmla="*/ 0 h 24"/>
                <a:gd name="T34" fmla="*/ 17 w 25"/>
                <a:gd name="T35" fmla="*/ 1 h 24"/>
                <a:gd name="T36" fmla="*/ 21 w 25"/>
                <a:gd name="T37" fmla="*/ 3 h 24"/>
                <a:gd name="T38" fmla="*/ 23 w 25"/>
                <a:gd name="T39" fmla="*/ 7 h 24"/>
                <a:gd name="T40" fmla="*/ 25 w 25"/>
                <a:gd name="T41" fmla="*/ 12 h 24"/>
                <a:gd name="T42" fmla="*/ 25 w 25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24">
                  <a:moveTo>
                    <a:pt x="25" y="12"/>
                  </a:moveTo>
                  <a:lnTo>
                    <a:pt x="25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2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5" y="12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4" name="Freeform 249">
              <a:extLst>
                <a:ext uri="{FF2B5EF4-FFF2-40B4-BE49-F238E27FC236}">
                  <a16:creationId xmlns:a16="http://schemas.microsoft.com/office/drawing/2014/main" id="{A210CB4F-6772-2149-8C68-AE266781A1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15551" y="2544763"/>
              <a:ext cx="19050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21 w 23"/>
                <a:gd name="T7" fmla="*/ 20 h 24"/>
                <a:gd name="T8" fmla="*/ 16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4 w 23"/>
                <a:gd name="T17" fmla="*/ 20 h 24"/>
                <a:gd name="T18" fmla="*/ 1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1 w 23"/>
                <a:gd name="T25" fmla="*/ 7 h 24"/>
                <a:gd name="T26" fmla="*/ 4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6 w 23"/>
                <a:gd name="T35" fmla="*/ 1 h 24"/>
                <a:gd name="T36" fmla="*/ 21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5" name="Freeform 256">
              <a:extLst>
                <a:ext uri="{FF2B5EF4-FFF2-40B4-BE49-F238E27FC236}">
                  <a16:creationId xmlns:a16="http://schemas.microsoft.com/office/drawing/2014/main" id="{FEA35B48-3A4A-2749-B1F3-72D45135B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15563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19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7 w 23"/>
                <a:gd name="T15" fmla="*/ 23 h 24"/>
                <a:gd name="T16" fmla="*/ 2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2 w 23"/>
                <a:gd name="T27" fmla="*/ 3 h 24"/>
                <a:gd name="T28" fmla="*/ 7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19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19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7" y="23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2" y="3"/>
                  </a:lnTo>
                  <a:lnTo>
                    <a:pt x="7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19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6" name="Freeform 263">
              <a:extLst>
                <a:ext uri="{FF2B5EF4-FFF2-40B4-BE49-F238E27FC236}">
                  <a16:creationId xmlns:a16="http://schemas.microsoft.com/office/drawing/2014/main" id="{E966FB5F-93DB-8D40-9793-A468B5E79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3988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2 w 24"/>
                <a:gd name="T5" fmla="*/ 17 h 24"/>
                <a:gd name="T6" fmla="*/ 20 w 24"/>
                <a:gd name="T7" fmla="*/ 20 h 24"/>
                <a:gd name="T8" fmla="*/ 16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6 w 24"/>
                <a:gd name="T35" fmla="*/ 1 h 24"/>
                <a:gd name="T36" fmla="*/ 20 w 24"/>
                <a:gd name="T37" fmla="*/ 3 h 24"/>
                <a:gd name="T38" fmla="*/ 22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7" name="Freeform 270">
              <a:extLst>
                <a:ext uri="{FF2B5EF4-FFF2-40B4-BE49-F238E27FC236}">
                  <a16:creationId xmlns:a16="http://schemas.microsoft.com/office/drawing/2014/main" id="{4E6CDC45-3450-0140-B783-0BAD9D0B2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1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8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8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8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8" name="Freeform 277">
              <a:extLst>
                <a:ext uri="{FF2B5EF4-FFF2-40B4-BE49-F238E27FC236}">
                  <a16:creationId xmlns:a16="http://schemas.microsoft.com/office/drawing/2014/main" id="{A325E539-2557-B34F-AC33-6B9030409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4013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9" name="Freeform 284">
              <a:extLst>
                <a:ext uri="{FF2B5EF4-FFF2-40B4-BE49-F238E27FC236}">
                  <a16:creationId xmlns:a16="http://schemas.microsoft.com/office/drawing/2014/main" id="{17601E3D-175E-D943-A5D6-B3D5C5DA4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1402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0" name="Freeform 291">
              <a:extLst>
                <a:ext uri="{FF2B5EF4-FFF2-40B4-BE49-F238E27FC236}">
                  <a16:creationId xmlns:a16="http://schemas.microsoft.com/office/drawing/2014/main" id="{6C7C6AAB-7049-8C46-B499-A6B049F97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4038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3 w 23"/>
                <a:gd name="T5" fmla="*/ 17 h 24"/>
                <a:gd name="T6" fmla="*/ 19 w 23"/>
                <a:gd name="T7" fmla="*/ 20 h 24"/>
                <a:gd name="T8" fmla="*/ 15 w 23"/>
                <a:gd name="T9" fmla="*/ 23 h 24"/>
                <a:gd name="T10" fmla="*/ 12 w 23"/>
                <a:gd name="T11" fmla="*/ 24 h 24"/>
                <a:gd name="T12" fmla="*/ 12 w 23"/>
                <a:gd name="T13" fmla="*/ 24 h 24"/>
                <a:gd name="T14" fmla="*/ 7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7 w 23"/>
                <a:gd name="T29" fmla="*/ 1 h 24"/>
                <a:gd name="T30" fmla="*/ 12 w 23"/>
                <a:gd name="T31" fmla="*/ 0 h 24"/>
                <a:gd name="T32" fmla="*/ 12 w 23"/>
                <a:gd name="T33" fmla="*/ 0 h 24"/>
                <a:gd name="T34" fmla="*/ 15 w 23"/>
                <a:gd name="T35" fmla="*/ 1 h 24"/>
                <a:gd name="T36" fmla="*/ 19 w 23"/>
                <a:gd name="T37" fmla="*/ 3 h 24"/>
                <a:gd name="T38" fmla="*/ 23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3" y="17"/>
                  </a:lnTo>
                  <a:lnTo>
                    <a:pt x="19" y="20"/>
                  </a:lnTo>
                  <a:lnTo>
                    <a:pt x="15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9" y="3"/>
                  </a:lnTo>
                  <a:lnTo>
                    <a:pt x="23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1" name="Freeform 298">
              <a:extLst>
                <a:ext uri="{FF2B5EF4-FFF2-40B4-BE49-F238E27FC236}">
                  <a16:creationId xmlns:a16="http://schemas.microsoft.com/office/drawing/2014/main" id="{F82175E9-5C3C-E945-922B-10C56C253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4051" y="2544763"/>
              <a:ext cx="17463" cy="19050"/>
            </a:xfrm>
            <a:custGeom>
              <a:avLst/>
              <a:gdLst>
                <a:gd name="T0" fmla="*/ 23 w 23"/>
                <a:gd name="T1" fmla="*/ 12 h 24"/>
                <a:gd name="T2" fmla="*/ 23 w 23"/>
                <a:gd name="T3" fmla="*/ 12 h 24"/>
                <a:gd name="T4" fmla="*/ 22 w 23"/>
                <a:gd name="T5" fmla="*/ 17 h 24"/>
                <a:gd name="T6" fmla="*/ 20 w 23"/>
                <a:gd name="T7" fmla="*/ 20 h 24"/>
                <a:gd name="T8" fmla="*/ 16 w 23"/>
                <a:gd name="T9" fmla="*/ 23 h 24"/>
                <a:gd name="T10" fmla="*/ 11 w 23"/>
                <a:gd name="T11" fmla="*/ 24 h 24"/>
                <a:gd name="T12" fmla="*/ 11 w 23"/>
                <a:gd name="T13" fmla="*/ 24 h 24"/>
                <a:gd name="T14" fmla="*/ 8 w 23"/>
                <a:gd name="T15" fmla="*/ 23 h 24"/>
                <a:gd name="T16" fmla="*/ 3 w 23"/>
                <a:gd name="T17" fmla="*/ 20 h 24"/>
                <a:gd name="T18" fmla="*/ 0 w 23"/>
                <a:gd name="T19" fmla="*/ 17 h 24"/>
                <a:gd name="T20" fmla="*/ 0 w 23"/>
                <a:gd name="T21" fmla="*/ 12 h 24"/>
                <a:gd name="T22" fmla="*/ 0 w 23"/>
                <a:gd name="T23" fmla="*/ 12 h 24"/>
                <a:gd name="T24" fmla="*/ 0 w 23"/>
                <a:gd name="T25" fmla="*/ 7 h 24"/>
                <a:gd name="T26" fmla="*/ 3 w 23"/>
                <a:gd name="T27" fmla="*/ 3 h 24"/>
                <a:gd name="T28" fmla="*/ 8 w 23"/>
                <a:gd name="T29" fmla="*/ 1 h 24"/>
                <a:gd name="T30" fmla="*/ 11 w 23"/>
                <a:gd name="T31" fmla="*/ 0 h 24"/>
                <a:gd name="T32" fmla="*/ 11 w 23"/>
                <a:gd name="T33" fmla="*/ 0 h 24"/>
                <a:gd name="T34" fmla="*/ 16 w 23"/>
                <a:gd name="T35" fmla="*/ 1 h 24"/>
                <a:gd name="T36" fmla="*/ 20 w 23"/>
                <a:gd name="T37" fmla="*/ 3 h 24"/>
                <a:gd name="T38" fmla="*/ 22 w 23"/>
                <a:gd name="T39" fmla="*/ 7 h 24"/>
                <a:gd name="T40" fmla="*/ 23 w 23"/>
                <a:gd name="T41" fmla="*/ 12 h 24"/>
                <a:gd name="T42" fmla="*/ 23 w 23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24">
                  <a:moveTo>
                    <a:pt x="23" y="12"/>
                  </a:moveTo>
                  <a:lnTo>
                    <a:pt x="23" y="12"/>
                  </a:lnTo>
                  <a:lnTo>
                    <a:pt x="22" y="17"/>
                  </a:lnTo>
                  <a:lnTo>
                    <a:pt x="20" y="20"/>
                  </a:lnTo>
                  <a:lnTo>
                    <a:pt x="16" y="23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3"/>
                  </a:lnTo>
                  <a:lnTo>
                    <a:pt x="3" y="20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7"/>
                  </a:lnTo>
                  <a:lnTo>
                    <a:pt x="3" y="3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1"/>
                  </a:lnTo>
                  <a:lnTo>
                    <a:pt x="20" y="3"/>
                  </a:lnTo>
                  <a:lnTo>
                    <a:pt x="22" y="7"/>
                  </a:lnTo>
                  <a:lnTo>
                    <a:pt x="23" y="12"/>
                  </a:ln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2" name="Freeform 411">
              <a:extLst>
                <a:ext uri="{FF2B5EF4-FFF2-40B4-BE49-F238E27FC236}">
                  <a16:creationId xmlns:a16="http://schemas.microsoft.com/office/drawing/2014/main" id="{2620FB61-1744-2941-8324-34322F32F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2476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1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4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4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1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1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1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3" name="Freeform 312">
              <a:extLst>
                <a:ext uri="{FF2B5EF4-FFF2-40B4-BE49-F238E27FC236}">
                  <a16:creationId xmlns:a16="http://schemas.microsoft.com/office/drawing/2014/main" id="{3F30CB57-7236-134C-8023-FDA6EC5A0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2488" y="2544763"/>
              <a:ext cx="19050" cy="19050"/>
            </a:xfrm>
            <a:custGeom>
              <a:avLst/>
              <a:gdLst>
                <a:gd name="T0" fmla="*/ 24 w 24"/>
                <a:gd name="T1" fmla="*/ 12 h 24"/>
                <a:gd name="T2" fmla="*/ 24 w 24"/>
                <a:gd name="T3" fmla="*/ 12 h 24"/>
                <a:gd name="T4" fmla="*/ 23 w 24"/>
                <a:gd name="T5" fmla="*/ 17 h 24"/>
                <a:gd name="T6" fmla="*/ 20 w 24"/>
                <a:gd name="T7" fmla="*/ 20 h 24"/>
                <a:gd name="T8" fmla="*/ 17 w 24"/>
                <a:gd name="T9" fmla="*/ 23 h 24"/>
                <a:gd name="T10" fmla="*/ 12 w 24"/>
                <a:gd name="T11" fmla="*/ 24 h 24"/>
                <a:gd name="T12" fmla="*/ 12 w 24"/>
                <a:gd name="T13" fmla="*/ 24 h 24"/>
                <a:gd name="T14" fmla="*/ 7 w 24"/>
                <a:gd name="T15" fmla="*/ 23 h 24"/>
                <a:gd name="T16" fmla="*/ 3 w 24"/>
                <a:gd name="T17" fmla="*/ 20 h 24"/>
                <a:gd name="T18" fmla="*/ 1 w 24"/>
                <a:gd name="T19" fmla="*/ 17 h 24"/>
                <a:gd name="T20" fmla="*/ 0 w 24"/>
                <a:gd name="T21" fmla="*/ 12 h 24"/>
                <a:gd name="T22" fmla="*/ 0 w 24"/>
                <a:gd name="T23" fmla="*/ 12 h 24"/>
                <a:gd name="T24" fmla="*/ 1 w 24"/>
                <a:gd name="T25" fmla="*/ 7 h 24"/>
                <a:gd name="T26" fmla="*/ 3 w 24"/>
                <a:gd name="T27" fmla="*/ 3 h 24"/>
                <a:gd name="T28" fmla="*/ 7 w 24"/>
                <a:gd name="T29" fmla="*/ 1 h 24"/>
                <a:gd name="T30" fmla="*/ 12 w 24"/>
                <a:gd name="T31" fmla="*/ 0 h 24"/>
                <a:gd name="T32" fmla="*/ 12 w 24"/>
                <a:gd name="T33" fmla="*/ 0 h 24"/>
                <a:gd name="T34" fmla="*/ 17 w 24"/>
                <a:gd name="T35" fmla="*/ 1 h 24"/>
                <a:gd name="T36" fmla="*/ 20 w 24"/>
                <a:gd name="T37" fmla="*/ 3 h 24"/>
                <a:gd name="T38" fmla="*/ 23 w 24"/>
                <a:gd name="T39" fmla="*/ 7 h 24"/>
                <a:gd name="T40" fmla="*/ 24 w 24"/>
                <a:gd name="T41" fmla="*/ 12 h 24"/>
                <a:gd name="T42" fmla="*/ 24 w 24"/>
                <a:gd name="T4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lnTo>
                    <a:pt x="24" y="12"/>
                  </a:lnTo>
                  <a:lnTo>
                    <a:pt x="23" y="17"/>
                  </a:lnTo>
                  <a:lnTo>
                    <a:pt x="20" y="20"/>
                  </a:lnTo>
                  <a:lnTo>
                    <a:pt x="17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7" y="23"/>
                  </a:lnTo>
                  <a:lnTo>
                    <a:pt x="3" y="20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7" y="1"/>
                  </a:lnTo>
                  <a:lnTo>
                    <a:pt x="20" y="3"/>
                  </a:lnTo>
                  <a:lnTo>
                    <a:pt x="23" y="7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B84FDFAC-121A-464C-B994-6E99B1EB4859}"/>
              </a:ext>
            </a:extLst>
          </p:cNvPr>
          <p:cNvGrpSpPr/>
          <p:nvPr/>
        </p:nvGrpSpPr>
        <p:grpSpPr>
          <a:xfrm rot="21218482" flipH="1">
            <a:off x="365340" y="1540687"/>
            <a:ext cx="4080149" cy="2526143"/>
            <a:chOff x="3363913" y="4510088"/>
            <a:chExt cx="912813" cy="565150"/>
          </a:xfrm>
        </p:grpSpPr>
        <p:sp>
          <p:nvSpPr>
            <p:cNvPr id="201" name="Freeform 581">
              <a:extLst>
                <a:ext uri="{FF2B5EF4-FFF2-40B4-BE49-F238E27FC236}">
                  <a16:creationId xmlns:a16="http://schemas.microsoft.com/office/drawing/2014/main" id="{FE469974-B2A6-254D-86EB-5D1780289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3" y="4510088"/>
              <a:ext cx="520700" cy="382588"/>
            </a:xfrm>
            <a:custGeom>
              <a:avLst/>
              <a:gdLst>
                <a:gd name="T0" fmla="*/ 627 w 656"/>
                <a:gd name="T1" fmla="*/ 161 h 483"/>
                <a:gd name="T2" fmla="*/ 566 w 656"/>
                <a:gd name="T3" fmla="*/ 138 h 483"/>
                <a:gd name="T4" fmla="*/ 528 w 656"/>
                <a:gd name="T5" fmla="*/ 224 h 483"/>
                <a:gd name="T6" fmla="*/ 497 w 656"/>
                <a:gd name="T7" fmla="*/ 242 h 483"/>
                <a:gd name="T8" fmla="*/ 486 w 656"/>
                <a:gd name="T9" fmla="*/ 215 h 483"/>
                <a:gd name="T10" fmla="*/ 530 w 656"/>
                <a:gd name="T11" fmla="*/ 114 h 483"/>
                <a:gd name="T12" fmla="*/ 497 w 656"/>
                <a:gd name="T13" fmla="*/ 38 h 483"/>
                <a:gd name="T14" fmla="*/ 429 w 656"/>
                <a:gd name="T15" fmla="*/ 6 h 483"/>
                <a:gd name="T16" fmla="*/ 406 w 656"/>
                <a:gd name="T17" fmla="*/ 14 h 483"/>
                <a:gd name="T18" fmla="*/ 431 w 656"/>
                <a:gd name="T19" fmla="*/ 78 h 483"/>
                <a:gd name="T20" fmla="*/ 406 w 656"/>
                <a:gd name="T21" fmla="*/ 90 h 483"/>
                <a:gd name="T22" fmla="*/ 383 w 656"/>
                <a:gd name="T23" fmla="*/ 53 h 483"/>
                <a:gd name="T24" fmla="*/ 310 w 656"/>
                <a:gd name="T25" fmla="*/ 9 h 483"/>
                <a:gd name="T26" fmla="*/ 244 w 656"/>
                <a:gd name="T27" fmla="*/ 20 h 483"/>
                <a:gd name="T28" fmla="*/ 303 w 656"/>
                <a:gd name="T29" fmla="*/ 81 h 483"/>
                <a:gd name="T30" fmla="*/ 281 w 656"/>
                <a:gd name="T31" fmla="*/ 95 h 483"/>
                <a:gd name="T32" fmla="*/ 247 w 656"/>
                <a:gd name="T33" fmla="*/ 88 h 483"/>
                <a:gd name="T34" fmla="*/ 215 w 656"/>
                <a:gd name="T35" fmla="*/ 45 h 483"/>
                <a:gd name="T36" fmla="*/ 123 w 656"/>
                <a:gd name="T37" fmla="*/ 23 h 483"/>
                <a:gd name="T38" fmla="*/ 79 w 656"/>
                <a:gd name="T39" fmla="*/ 34 h 483"/>
                <a:gd name="T40" fmla="*/ 14 w 656"/>
                <a:gd name="T41" fmla="*/ 6 h 483"/>
                <a:gd name="T42" fmla="*/ 1 w 656"/>
                <a:gd name="T43" fmla="*/ 14 h 483"/>
                <a:gd name="T44" fmla="*/ 29 w 656"/>
                <a:gd name="T45" fmla="*/ 102 h 483"/>
                <a:gd name="T46" fmla="*/ 67 w 656"/>
                <a:gd name="T47" fmla="*/ 130 h 483"/>
                <a:gd name="T48" fmla="*/ 150 w 656"/>
                <a:gd name="T49" fmla="*/ 143 h 483"/>
                <a:gd name="T50" fmla="*/ 177 w 656"/>
                <a:gd name="T51" fmla="*/ 153 h 483"/>
                <a:gd name="T52" fmla="*/ 157 w 656"/>
                <a:gd name="T53" fmla="*/ 182 h 483"/>
                <a:gd name="T54" fmla="*/ 81 w 656"/>
                <a:gd name="T55" fmla="*/ 184 h 483"/>
                <a:gd name="T56" fmla="*/ 78 w 656"/>
                <a:gd name="T57" fmla="*/ 213 h 483"/>
                <a:gd name="T58" fmla="*/ 123 w 656"/>
                <a:gd name="T59" fmla="*/ 251 h 483"/>
                <a:gd name="T60" fmla="*/ 176 w 656"/>
                <a:gd name="T61" fmla="*/ 253 h 483"/>
                <a:gd name="T62" fmla="*/ 251 w 656"/>
                <a:gd name="T63" fmla="*/ 226 h 483"/>
                <a:gd name="T64" fmla="*/ 286 w 656"/>
                <a:gd name="T65" fmla="*/ 232 h 483"/>
                <a:gd name="T66" fmla="*/ 268 w 656"/>
                <a:gd name="T67" fmla="*/ 261 h 483"/>
                <a:gd name="T68" fmla="*/ 202 w 656"/>
                <a:gd name="T69" fmla="*/ 318 h 483"/>
                <a:gd name="T70" fmla="*/ 137 w 656"/>
                <a:gd name="T71" fmla="*/ 319 h 483"/>
                <a:gd name="T72" fmla="*/ 133 w 656"/>
                <a:gd name="T73" fmla="*/ 334 h 483"/>
                <a:gd name="T74" fmla="*/ 195 w 656"/>
                <a:gd name="T75" fmla="*/ 398 h 483"/>
                <a:gd name="T76" fmla="*/ 252 w 656"/>
                <a:gd name="T77" fmla="*/ 413 h 483"/>
                <a:gd name="T78" fmla="*/ 296 w 656"/>
                <a:gd name="T79" fmla="*/ 388 h 483"/>
                <a:gd name="T80" fmla="*/ 348 w 656"/>
                <a:gd name="T81" fmla="*/ 311 h 483"/>
                <a:gd name="T82" fmla="*/ 385 w 656"/>
                <a:gd name="T83" fmla="*/ 295 h 483"/>
                <a:gd name="T84" fmla="*/ 384 w 656"/>
                <a:gd name="T85" fmla="*/ 327 h 483"/>
                <a:gd name="T86" fmla="*/ 351 w 656"/>
                <a:gd name="T87" fmla="*/ 393 h 483"/>
                <a:gd name="T88" fmla="*/ 285 w 656"/>
                <a:gd name="T89" fmla="*/ 446 h 483"/>
                <a:gd name="T90" fmla="*/ 344 w 656"/>
                <a:gd name="T91" fmla="*/ 473 h 483"/>
                <a:gd name="T92" fmla="*/ 447 w 656"/>
                <a:gd name="T93" fmla="*/ 481 h 483"/>
                <a:gd name="T94" fmla="*/ 512 w 656"/>
                <a:gd name="T95" fmla="*/ 443 h 483"/>
                <a:gd name="T96" fmla="*/ 538 w 656"/>
                <a:gd name="T97" fmla="*/ 388 h 483"/>
                <a:gd name="T98" fmla="*/ 516 w 656"/>
                <a:gd name="T99" fmla="*/ 344 h 483"/>
                <a:gd name="T100" fmla="*/ 509 w 656"/>
                <a:gd name="T101" fmla="*/ 309 h 483"/>
                <a:gd name="T102" fmla="*/ 570 w 656"/>
                <a:gd name="T103" fmla="*/ 304 h 483"/>
                <a:gd name="T104" fmla="*/ 621 w 656"/>
                <a:gd name="T105" fmla="*/ 282 h 483"/>
                <a:gd name="T106" fmla="*/ 653 w 656"/>
                <a:gd name="T107" fmla="*/ 242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6" h="483">
                  <a:moveTo>
                    <a:pt x="651" y="202"/>
                  </a:moveTo>
                  <a:lnTo>
                    <a:pt x="651" y="202"/>
                  </a:lnTo>
                  <a:lnTo>
                    <a:pt x="644" y="189"/>
                  </a:lnTo>
                  <a:lnTo>
                    <a:pt x="636" y="174"/>
                  </a:lnTo>
                  <a:lnTo>
                    <a:pt x="636" y="174"/>
                  </a:lnTo>
                  <a:lnTo>
                    <a:pt x="627" y="161"/>
                  </a:lnTo>
                  <a:lnTo>
                    <a:pt x="618" y="148"/>
                  </a:lnTo>
                  <a:lnTo>
                    <a:pt x="596" y="122"/>
                  </a:lnTo>
                  <a:lnTo>
                    <a:pt x="596" y="122"/>
                  </a:lnTo>
                  <a:lnTo>
                    <a:pt x="575" y="102"/>
                  </a:lnTo>
                  <a:lnTo>
                    <a:pt x="575" y="102"/>
                  </a:lnTo>
                  <a:lnTo>
                    <a:pt x="566" y="138"/>
                  </a:lnTo>
                  <a:lnTo>
                    <a:pt x="556" y="169"/>
                  </a:lnTo>
                  <a:lnTo>
                    <a:pt x="556" y="169"/>
                  </a:lnTo>
                  <a:lnTo>
                    <a:pt x="547" y="191"/>
                  </a:lnTo>
                  <a:lnTo>
                    <a:pt x="541" y="203"/>
                  </a:lnTo>
                  <a:lnTo>
                    <a:pt x="535" y="214"/>
                  </a:lnTo>
                  <a:lnTo>
                    <a:pt x="528" y="224"/>
                  </a:lnTo>
                  <a:lnTo>
                    <a:pt x="521" y="232"/>
                  </a:lnTo>
                  <a:lnTo>
                    <a:pt x="514" y="238"/>
                  </a:lnTo>
                  <a:lnTo>
                    <a:pt x="509" y="241"/>
                  </a:lnTo>
                  <a:lnTo>
                    <a:pt x="505" y="242"/>
                  </a:lnTo>
                  <a:lnTo>
                    <a:pt x="505" y="242"/>
                  </a:lnTo>
                  <a:lnTo>
                    <a:pt x="497" y="242"/>
                  </a:lnTo>
                  <a:lnTo>
                    <a:pt x="491" y="241"/>
                  </a:lnTo>
                  <a:lnTo>
                    <a:pt x="487" y="238"/>
                  </a:lnTo>
                  <a:lnTo>
                    <a:pt x="485" y="234"/>
                  </a:lnTo>
                  <a:lnTo>
                    <a:pt x="483" y="229"/>
                  </a:lnTo>
                  <a:lnTo>
                    <a:pt x="483" y="223"/>
                  </a:lnTo>
                  <a:lnTo>
                    <a:pt x="486" y="215"/>
                  </a:lnTo>
                  <a:lnTo>
                    <a:pt x="489" y="208"/>
                  </a:lnTo>
                  <a:lnTo>
                    <a:pt x="489" y="208"/>
                  </a:lnTo>
                  <a:lnTo>
                    <a:pt x="498" y="191"/>
                  </a:lnTo>
                  <a:lnTo>
                    <a:pt x="506" y="173"/>
                  </a:lnTo>
                  <a:lnTo>
                    <a:pt x="530" y="114"/>
                  </a:lnTo>
                  <a:lnTo>
                    <a:pt x="530" y="114"/>
                  </a:lnTo>
                  <a:lnTo>
                    <a:pt x="534" y="103"/>
                  </a:lnTo>
                  <a:lnTo>
                    <a:pt x="538" y="92"/>
                  </a:lnTo>
                  <a:lnTo>
                    <a:pt x="541" y="72"/>
                  </a:lnTo>
                  <a:lnTo>
                    <a:pt x="541" y="72"/>
                  </a:lnTo>
                  <a:lnTo>
                    <a:pt x="518" y="55"/>
                  </a:lnTo>
                  <a:lnTo>
                    <a:pt x="497" y="38"/>
                  </a:lnTo>
                  <a:lnTo>
                    <a:pt x="497" y="38"/>
                  </a:lnTo>
                  <a:lnTo>
                    <a:pt x="486" y="32"/>
                  </a:lnTo>
                  <a:lnTo>
                    <a:pt x="486" y="32"/>
                  </a:lnTo>
                  <a:lnTo>
                    <a:pt x="453" y="17"/>
                  </a:lnTo>
                  <a:lnTo>
                    <a:pt x="453" y="17"/>
                  </a:lnTo>
                  <a:lnTo>
                    <a:pt x="429" y="6"/>
                  </a:lnTo>
                  <a:lnTo>
                    <a:pt x="429" y="6"/>
                  </a:lnTo>
                  <a:lnTo>
                    <a:pt x="422" y="3"/>
                  </a:lnTo>
                  <a:lnTo>
                    <a:pt x="422" y="3"/>
                  </a:lnTo>
                  <a:lnTo>
                    <a:pt x="402" y="0"/>
                  </a:lnTo>
                  <a:lnTo>
                    <a:pt x="402" y="0"/>
                  </a:lnTo>
                  <a:lnTo>
                    <a:pt x="406" y="14"/>
                  </a:lnTo>
                  <a:lnTo>
                    <a:pt x="414" y="32"/>
                  </a:lnTo>
                  <a:lnTo>
                    <a:pt x="414" y="32"/>
                  </a:lnTo>
                  <a:lnTo>
                    <a:pt x="422" y="47"/>
                  </a:lnTo>
                  <a:lnTo>
                    <a:pt x="426" y="59"/>
                  </a:lnTo>
                  <a:lnTo>
                    <a:pt x="430" y="69"/>
                  </a:lnTo>
                  <a:lnTo>
                    <a:pt x="431" y="78"/>
                  </a:lnTo>
                  <a:lnTo>
                    <a:pt x="430" y="84"/>
                  </a:lnTo>
                  <a:lnTo>
                    <a:pt x="428" y="87"/>
                  </a:lnTo>
                  <a:lnTo>
                    <a:pt x="423" y="90"/>
                  </a:lnTo>
                  <a:lnTo>
                    <a:pt x="418" y="90"/>
                  </a:lnTo>
                  <a:lnTo>
                    <a:pt x="418" y="90"/>
                  </a:lnTo>
                  <a:lnTo>
                    <a:pt x="406" y="90"/>
                  </a:lnTo>
                  <a:lnTo>
                    <a:pt x="401" y="88"/>
                  </a:lnTo>
                  <a:lnTo>
                    <a:pt x="397" y="86"/>
                  </a:lnTo>
                  <a:lnTo>
                    <a:pt x="393" y="82"/>
                  </a:lnTo>
                  <a:lnTo>
                    <a:pt x="389" y="75"/>
                  </a:lnTo>
                  <a:lnTo>
                    <a:pt x="385" y="66"/>
                  </a:lnTo>
                  <a:lnTo>
                    <a:pt x="383" y="53"/>
                  </a:lnTo>
                  <a:lnTo>
                    <a:pt x="383" y="53"/>
                  </a:lnTo>
                  <a:lnTo>
                    <a:pt x="373" y="12"/>
                  </a:lnTo>
                  <a:lnTo>
                    <a:pt x="371" y="3"/>
                  </a:lnTo>
                  <a:lnTo>
                    <a:pt x="371" y="3"/>
                  </a:lnTo>
                  <a:lnTo>
                    <a:pt x="351" y="5"/>
                  </a:lnTo>
                  <a:lnTo>
                    <a:pt x="310" y="9"/>
                  </a:lnTo>
                  <a:lnTo>
                    <a:pt x="310" y="9"/>
                  </a:lnTo>
                  <a:lnTo>
                    <a:pt x="258" y="9"/>
                  </a:lnTo>
                  <a:lnTo>
                    <a:pt x="228" y="9"/>
                  </a:lnTo>
                  <a:lnTo>
                    <a:pt x="228" y="9"/>
                  </a:lnTo>
                  <a:lnTo>
                    <a:pt x="233" y="12"/>
                  </a:lnTo>
                  <a:lnTo>
                    <a:pt x="244" y="20"/>
                  </a:lnTo>
                  <a:lnTo>
                    <a:pt x="261" y="34"/>
                  </a:lnTo>
                  <a:lnTo>
                    <a:pt x="280" y="53"/>
                  </a:lnTo>
                  <a:lnTo>
                    <a:pt x="280" y="53"/>
                  </a:lnTo>
                  <a:lnTo>
                    <a:pt x="297" y="70"/>
                  </a:lnTo>
                  <a:lnTo>
                    <a:pt x="302" y="76"/>
                  </a:lnTo>
                  <a:lnTo>
                    <a:pt x="303" y="81"/>
                  </a:lnTo>
                  <a:lnTo>
                    <a:pt x="303" y="82"/>
                  </a:lnTo>
                  <a:lnTo>
                    <a:pt x="303" y="84"/>
                  </a:lnTo>
                  <a:lnTo>
                    <a:pt x="298" y="87"/>
                  </a:lnTo>
                  <a:lnTo>
                    <a:pt x="292" y="91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75" y="96"/>
                  </a:lnTo>
                  <a:lnTo>
                    <a:pt x="270" y="97"/>
                  </a:lnTo>
                  <a:lnTo>
                    <a:pt x="266" y="97"/>
                  </a:lnTo>
                  <a:lnTo>
                    <a:pt x="261" y="97"/>
                  </a:lnTo>
                  <a:lnTo>
                    <a:pt x="254" y="93"/>
                  </a:lnTo>
                  <a:lnTo>
                    <a:pt x="247" y="88"/>
                  </a:lnTo>
                  <a:lnTo>
                    <a:pt x="241" y="81"/>
                  </a:lnTo>
                  <a:lnTo>
                    <a:pt x="237" y="74"/>
                  </a:lnTo>
                  <a:lnTo>
                    <a:pt x="228" y="59"/>
                  </a:lnTo>
                  <a:lnTo>
                    <a:pt x="228" y="59"/>
                  </a:lnTo>
                  <a:lnTo>
                    <a:pt x="222" y="52"/>
                  </a:lnTo>
                  <a:lnTo>
                    <a:pt x="215" y="45"/>
                  </a:lnTo>
                  <a:lnTo>
                    <a:pt x="198" y="29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69" y="15"/>
                  </a:lnTo>
                  <a:lnTo>
                    <a:pt x="148" y="17"/>
                  </a:lnTo>
                  <a:lnTo>
                    <a:pt x="123" y="23"/>
                  </a:lnTo>
                  <a:lnTo>
                    <a:pt x="111" y="27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5" y="33"/>
                  </a:lnTo>
                  <a:lnTo>
                    <a:pt x="90" y="34"/>
                  </a:lnTo>
                  <a:lnTo>
                    <a:pt x="79" y="34"/>
                  </a:lnTo>
                  <a:lnTo>
                    <a:pt x="67" y="33"/>
                  </a:lnTo>
                  <a:lnTo>
                    <a:pt x="55" y="28"/>
                  </a:lnTo>
                  <a:lnTo>
                    <a:pt x="43" y="23"/>
                  </a:lnTo>
                  <a:lnTo>
                    <a:pt x="32" y="1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7" y="3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1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12" y="50"/>
                  </a:lnTo>
                  <a:lnTo>
                    <a:pt x="19" y="78"/>
                  </a:lnTo>
                  <a:lnTo>
                    <a:pt x="24" y="91"/>
                  </a:lnTo>
                  <a:lnTo>
                    <a:pt x="29" y="102"/>
                  </a:lnTo>
                  <a:lnTo>
                    <a:pt x="33" y="111"/>
                  </a:lnTo>
                  <a:lnTo>
                    <a:pt x="38" y="118"/>
                  </a:lnTo>
                  <a:lnTo>
                    <a:pt x="38" y="118"/>
                  </a:lnTo>
                  <a:lnTo>
                    <a:pt x="44" y="121"/>
                  </a:lnTo>
                  <a:lnTo>
                    <a:pt x="55" y="126"/>
                  </a:lnTo>
                  <a:lnTo>
                    <a:pt x="67" y="130"/>
                  </a:lnTo>
                  <a:lnTo>
                    <a:pt x="82" y="134"/>
                  </a:lnTo>
                  <a:lnTo>
                    <a:pt x="99" y="138"/>
                  </a:lnTo>
                  <a:lnTo>
                    <a:pt x="116" y="140"/>
                  </a:lnTo>
                  <a:lnTo>
                    <a:pt x="133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64" y="143"/>
                  </a:lnTo>
                  <a:lnTo>
                    <a:pt x="169" y="144"/>
                  </a:lnTo>
                  <a:lnTo>
                    <a:pt x="173" y="145"/>
                  </a:lnTo>
                  <a:lnTo>
                    <a:pt x="175" y="147"/>
                  </a:lnTo>
                  <a:lnTo>
                    <a:pt x="177" y="149"/>
                  </a:lnTo>
                  <a:lnTo>
                    <a:pt x="177" y="153"/>
                  </a:lnTo>
                  <a:lnTo>
                    <a:pt x="177" y="155"/>
                  </a:lnTo>
                  <a:lnTo>
                    <a:pt x="175" y="162"/>
                  </a:lnTo>
                  <a:lnTo>
                    <a:pt x="171" y="168"/>
                  </a:lnTo>
                  <a:lnTo>
                    <a:pt x="164" y="176"/>
                  </a:lnTo>
                  <a:lnTo>
                    <a:pt x="157" y="182"/>
                  </a:lnTo>
                  <a:lnTo>
                    <a:pt x="157" y="182"/>
                  </a:lnTo>
                  <a:lnTo>
                    <a:pt x="153" y="184"/>
                  </a:lnTo>
                  <a:lnTo>
                    <a:pt x="147" y="186"/>
                  </a:lnTo>
                  <a:lnTo>
                    <a:pt x="135" y="188"/>
                  </a:lnTo>
                  <a:lnTo>
                    <a:pt x="121" y="188"/>
                  </a:lnTo>
                  <a:lnTo>
                    <a:pt x="106" y="186"/>
                  </a:lnTo>
                  <a:lnTo>
                    <a:pt x="81" y="184"/>
                  </a:lnTo>
                  <a:lnTo>
                    <a:pt x="72" y="184"/>
                  </a:lnTo>
                  <a:lnTo>
                    <a:pt x="71" y="185"/>
                  </a:lnTo>
                  <a:lnTo>
                    <a:pt x="70" y="186"/>
                  </a:lnTo>
                  <a:lnTo>
                    <a:pt x="70" y="186"/>
                  </a:lnTo>
                  <a:lnTo>
                    <a:pt x="72" y="197"/>
                  </a:lnTo>
                  <a:lnTo>
                    <a:pt x="78" y="213"/>
                  </a:lnTo>
                  <a:lnTo>
                    <a:pt x="87" y="234"/>
                  </a:lnTo>
                  <a:lnTo>
                    <a:pt x="87" y="234"/>
                  </a:lnTo>
                  <a:lnTo>
                    <a:pt x="90" y="236"/>
                  </a:lnTo>
                  <a:lnTo>
                    <a:pt x="104" y="243"/>
                  </a:lnTo>
                  <a:lnTo>
                    <a:pt x="112" y="247"/>
                  </a:lnTo>
                  <a:lnTo>
                    <a:pt x="123" y="251"/>
                  </a:lnTo>
                  <a:lnTo>
                    <a:pt x="135" y="254"/>
                  </a:lnTo>
                  <a:lnTo>
                    <a:pt x="148" y="257"/>
                  </a:lnTo>
                  <a:lnTo>
                    <a:pt x="148" y="257"/>
                  </a:lnTo>
                  <a:lnTo>
                    <a:pt x="154" y="257"/>
                  </a:lnTo>
                  <a:lnTo>
                    <a:pt x="162" y="257"/>
                  </a:lnTo>
                  <a:lnTo>
                    <a:pt x="176" y="253"/>
                  </a:lnTo>
                  <a:lnTo>
                    <a:pt x="189" y="247"/>
                  </a:lnTo>
                  <a:lnTo>
                    <a:pt x="204" y="241"/>
                  </a:lnTo>
                  <a:lnTo>
                    <a:pt x="220" y="235"/>
                  </a:lnTo>
                  <a:lnTo>
                    <a:pt x="235" y="230"/>
                  </a:lnTo>
                  <a:lnTo>
                    <a:pt x="243" y="228"/>
                  </a:lnTo>
                  <a:lnTo>
                    <a:pt x="251" y="226"/>
                  </a:lnTo>
                  <a:lnTo>
                    <a:pt x="260" y="226"/>
                  </a:lnTo>
                  <a:lnTo>
                    <a:pt x="269" y="226"/>
                  </a:lnTo>
                  <a:lnTo>
                    <a:pt x="269" y="226"/>
                  </a:lnTo>
                  <a:lnTo>
                    <a:pt x="277" y="228"/>
                  </a:lnTo>
                  <a:lnTo>
                    <a:pt x="283" y="230"/>
                  </a:lnTo>
                  <a:lnTo>
                    <a:pt x="286" y="232"/>
                  </a:lnTo>
                  <a:lnTo>
                    <a:pt x="289" y="235"/>
                  </a:lnTo>
                  <a:lnTo>
                    <a:pt x="289" y="238"/>
                  </a:lnTo>
                  <a:lnTo>
                    <a:pt x="286" y="242"/>
                  </a:lnTo>
                  <a:lnTo>
                    <a:pt x="284" y="246"/>
                  </a:lnTo>
                  <a:lnTo>
                    <a:pt x="279" y="251"/>
                  </a:lnTo>
                  <a:lnTo>
                    <a:pt x="268" y="261"/>
                  </a:lnTo>
                  <a:lnTo>
                    <a:pt x="254" y="275"/>
                  </a:lnTo>
                  <a:lnTo>
                    <a:pt x="237" y="289"/>
                  </a:lnTo>
                  <a:lnTo>
                    <a:pt x="220" y="305"/>
                  </a:lnTo>
                  <a:lnTo>
                    <a:pt x="220" y="305"/>
                  </a:lnTo>
                  <a:lnTo>
                    <a:pt x="211" y="312"/>
                  </a:lnTo>
                  <a:lnTo>
                    <a:pt x="202" y="318"/>
                  </a:lnTo>
                  <a:lnTo>
                    <a:pt x="193" y="322"/>
                  </a:lnTo>
                  <a:lnTo>
                    <a:pt x="183" y="323"/>
                  </a:lnTo>
                  <a:lnTo>
                    <a:pt x="175" y="324"/>
                  </a:lnTo>
                  <a:lnTo>
                    <a:pt x="166" y="324"/>
                  </a:lnTo>
                  <a:lnTo>
                    <a:pt x="151" y="322"/>
                  </a:lnTo>
                  <a:lnTo>
                    <a:pt x="137" y="319"/>
                  </a:lnTo>
                  <a:lnTo>
                    <a:pt x="133" y="319"/>
                  </a:lnTo>
                  <a:lnTo>
                    <a:pt x="130" y="319"/>
                  </a:lnTo>
                  <a:lnTo>
                    <a:pt x="128" y="321"/>
                  </a:lnTo>
                  <a:lnTo>
                    <a:pt x="128" y="323"/>
                  </a:lnTo>
                  <a:lnTo>
                    <a:pt x="129" y="328"/>
                  </a:lnTo>
                  <a:lnTo>
                    <a:pt x="133" y="334"/>
                  </a:lnTo>
                  <a:lnTo>
                    <a:pt x="133" y="334"/>
                  </a:lnTo>
                  <a:lnTo>
                    <a:pt x="142" y="348"/>
                  </a:lnTo>
                  <a:lnTo>
                    <a:pt x="153" y="363"/>
                  </a:lnTo>
                  <a:lnTo>
                    <a:pt x="165" y="375"/>
                  </a:lnTo>
                  <a:lnTo>
                    <a:pt x="180" y="387"/>
                  </a:lnTo>
                  <a:lnTo>
                    <a:pt x="195" y="398"/>
                  </a:lnTo>
                  <a:lnTo>
                    <a:pt x="204" y="402"/>
                  </a:lnTo>
                  <a:lnTo>
                    <a:pt x="212" y="405"/>
                  </a:lnTo>
                  <a:lnTo>
                    <a:pt x="222" y="409"/>
                  </a:lnTo>
                  <a:lnTo>
                    <a:pt x="232" y="410"/>
                  </a:lnTo>
                  <a:lnTo>
                    <a:pt x="241" y="413"/>
                  </a:lnTo>
                  <a:lnTo>
                    <a:pt x="252" y="413"/>
                  </a:lnTo>
                  <a:lnTo>
                    <a:pt x="252" y="413"/>
                  </a:lnTo>
                  <a:lnTo>
                    <a:pt x="262" y="413"/>
                  </a:lnTo>
                  <a:lnTo>
                    <a:pt x="272" y="409"/>
                  </a:lnTo>
                  <a:lnTo>
                    <a:pt x="280" y="404"/>
                  </a:lnTo>
                  <a:lnTo>
                    <a:pt x="289" y="397"/>
                  </a:lnTo>
                  <a:lnTo>
                    <a:pt x="296" y="388"/>
                  </a:lnTo>
                  <a:lnTo>
                    <a:pt x="303" y="379"/>
                  </a:lnTo>
                  <a:lnTo>
                    <a:pt x="315" y="358"/>
                  </a:lnTo>
                  <a:lnTo>
                    <a:pt x="329" y="338"/>
                  </a:lnTo>
                  <a:lnTo>
                    <a:pt x="335" y="328"/>
                  </a:lnTo>
                  <a:lnTo>
                    <a:pt x="341" y="318"/>
                  </a:lnTo>
                  <a:lnTo>
                    <a:pt x="348" y="311"/>
                  </a:lnTo>
                  <a:lnTo>
                    <a:pt x="355" y="304"/>
                  </a:lnTo>
                  <a:lnTo>
                    <a:pt x="362" y="299"/>
                  </a:lnTo>
                  <a:lnTo>
                    <a:pt x="371" y="296"/>
                  </a:lnTo>
                  <a:lnTo>
                    <a:pt x="371" y="296"/>
                  </a:lnTo>
                  <a:lnTo>
                    <a:pt x="379" y="295"/>
                  </a:lnTo>
                  <a:lnTo>
                    <a:pt x="385" y="295"/>
                  </a:lnTo>
                  <a:lnTo>
                    <a:pt x="389" y="296"/>
                  </a:lnTo>
                  <a:lnTo>
                    <a:pt x="393" y="299"/>
                  </a:lnTo>
                  <a:lnTo>
                    <a:pt x="394" y="301"/>
                  </a:lnTo>
                  <a:lnTo>
                    <a:pt x="393" y="305"/>
                  </a:lnTo>
                  <a:lnTo>
                    <a:pt x="390" y="315"/>
                  </a:lnTo>
                  <a:lnTo>
                    <a:pt x="384" y="327"/>
                  </a:lnTo>
                  <a:lnTo>
                    <a:pt x="376" y="341"/>
                  </a:lnTo>
                  <a:lnTo>
                    <a:pt x="367" y="358"/>
                  </a:lnTo>
                  <a:lnTo>
                    <a:pt x="360" y="376"/>
                  </a:lnTo>
                  <a:lnTo>
                    <a:pt x="360" y="376"/>
                  </a:lnTo>
                  <a:lnTo>
                    <a:pt x="356" y="385"/>
                  </a:lnTo>
                  <a:lnTo>
                    <a:pt x="351" y="393"/>
                  </a:lnTo>
                  <a:lnTo>
                    <a:pt x="345" y="402"/>
                  </a:lnTo>
                  <a:lnTo>
                    <a:pt x="339" y="409"/>
                  </a:lnTo>
                  <a:lnTo>
                    <a:pt x="325" y="422"/>
                  </a:lnTo>
                  <a:lnTo>
                    <a:pt x="310" y="432"/>
                  </a:lnTo>
                  <a:lnTo>
                    <a:pt x="296" y="440"/>
                  </a:lnTo>
                  <a:lnTo>
                    <a:pt x="285" y="446"/>
                  </a:lnTo>
                  <a:lnTo>
                    <a:pt x="274" y="451"/>
                  </a:lnTo>
                  <a:lnTo>
                    <a:pt x="274" y="451"/>
                  </a:lnTo>
                  <a:lnTo>
                    <a:pt x="286" y="456"/>
                  </a:lnTo>
                  <a:lnTo>
                    <a:pt x="302" y="461"/>
                  </a:lnTo>
                  <a:lnTo>
                    <a:pt x="321" y="467"/>
                  </a:lnTo>
                  <a:lnTo>
                    <a:pt x="344" y="473"/>
                  </a:lnTo>
                  <a:lnTo>
                    <a:pt x="371" y="478"/>
                  </a:lnTo>
                  <a:lnTo>
                    <a:pt x="401" y="481"/>
                  </a:lnTo>
                  <a:lnTo>
                    <a:pt x="416" y="483"/>
                  </a:lnTo>
                  <a:lnTo>
                    <a:pt x="431" y="483"/>
                  </a:lnTo>
                  <a:lnTo>
                    <a:pt x="431" y="483"/>
                  </a:lnTo>
                  <a:lnTo>
                    <a:pt x="447" y="481"/>
                  </a:lnTo>
                  <a:lnTo>
                    <a:pt x="460" y="478"/>
                  </a:lnTo>
                  <a:lnTo>
                    <a:pt x="474" y="473"/>
                  </a:lnTo>
                  <a:lnTo>
                    <a:pt x="486" y="467"/>
                  </a:lnTo>
                  <a:lnTo>
                    <a:pt x="495" y="460"/>
                  </a:lnTo>
                  <a:lnTo>
                    <a:pt x="505" y="451"/>
                  </a:lnTo>
                  <a:lnTo>
                    <a:pt x="512" y="443"/>
                  </a:lnTo>
                  <a:lnTo>
                    <a:pt x="520" y="433"/>
                  </a:lnTo>
                  <a:lnTo>
                    <a:pt x="526" y="423"/>
                  </a:lnTo>
                  <a:lnTo>
                    <a:pt x="530" y="414"/>
                  </a:lnTo>
                  <a:lnTo>
                    <a:pt x="534" y="405"/>
                  </a:lnTo>
                  <a:lnTo>
                    <a:pt x="537" y="397"/>
                  </a:lnTo>
                  <a:lnTo>
                    <a:pt x="538" y="388"/>
                  </a:lnTo>
                  <a:lnTo>
                    <a:pt x="538" y="382"/>
                  </a:lnTo>
                  <a:lnTo>
                    <a:pt x="538" y="376"/>
                  </a:lnTo>
                  <a:lnTo>
                    <a:pt x="535" y="373"/>
                  </a:lnTo>
                  <a:lnTo>
                    <a:pt x="535" y="373"/>
                  </a:lnTo>
                  <a:lnTo>
                    <a:pt x="526" y="358"/>
                  </a:lnTo>
                  <a:lnTo>
                    <a:pt x="516" y="344"/>
                  </a:lnTo>
                  <a:lnTo>
                    <a:pt x="505" y="325"/>
                  </a:lnTo>
                  <a:lnTo>
                    <a:pt x="505" y="325"/>
                  </a:lnTo>
                  <a:lnTo>
                    <a:pt x="505" y="318"/>
                  </a:lnTo>
                  <a:lnTo>
                    <a:pt x="505" y="315"/>
                  </a:lnTo>
                  <a:lnTo>
                    <a:pt x="505" y="311"/>
                  </a:lnTo>
                  <a:lnTo>
                    <a:pt x="509" y="309"/>
                  </a:lnTo>
                  <a:lnTo>
                    <a:pt x="514" y="306"/>
                  </a:lnTo>
                  <a:lnTo>
                    <a:pt x="521" y="305"/>
                  </a:lnTo>
                  <a:lnTo>
                    <a:pt x="532" y="305"/>
                  </a:lnTo>
                  <a:lnTo>
                    <a:pt x="532" y="305"/>
                  </a:lnTo>
                  <a:lnTo>
                    <a:pt x="551" y="306"/>
                  </a:lnTo>
                  <a:lnTo>
                    <a:pt x="570" y="304"/>
                  </a:lnTo>
                  <a:lnTo>
                    <a:pt x="580" y="301"/>
                  </a:lnTo>
                  <a:lnTo>
                    <a:pt x="590" y="299"/>
                  </a:lnTo>
                  <a:lnTo>
                    <a:pt x="598" y="295"/>
                  </a:lnTo>
                  <a:lnTo>
                    <a:pt x="608" y="292"/>
                  </a:lnTo>
                  <a:lnTo>
                    <a:pt x="608" y="292"/>
                  </a:lnTo>
                  <a:lnTo>
                    <a:pt x="621" y="282"/>
                  </a:lnTo>
                  <a:lnTo>
                    <a:pt x="634" y="271"/>
                  </a:lnTo>
                  <a:lnTo>
                    <a:pt x="639" y="264"/>
                  </a:lnTo>
                  <a:lnTo>
                    <a:pt x="644" y="258"/>
                  </a:lnTo>
                  <a:lnTo>
                    <a:pt x="649" y="251"/>
                  </a:lnTo>
                  <a:lnTo>
                    <a:pt x="653" y="242"/>
                  </a:lnTo>
                  <a:lnTo>
                    <a:pt x="653" y="242"/>
                  </a:lnTo>
                  <a:lnTo>
                    <a:pt x="655" y="232"/>
                  </a:lnTo>
                  <a:lnTo>
                    <a:pt x="656" y="221"/>
                  </a:lnTo>
                  <a:lnTo>
                    <a:pt x="655" y="212"/>
                  </a:lnTo>
                  <a:lnTo>
                    <a:pt x="651" y="202"/>
                  </a:lnTo>
                  <a:lnTo>
                    <a:pt x="651" y="202"/>
                  </a:lnTo>
                  <a:close/>
                </a:path>
              </a:pathLst>
            </a:custGeom>
            <a:solidFill>
              <a:srgbClr val="A5DA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582">
              <a:extLst>
                <a:ext uri="{FF2B5EF4-FFF2-40B4-BE49-F238E27FC236}">
                  <a16:creationId xmlns:a16="http://schemas.microsoft.com/office/drawing/2014/main" id="{D7B9EF86-F57F-E94F-8D84-3153C7CEA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4776" y="4721225"/>
              <a:ext cx="361950" cy="274638"/>
            </a:xfrm>
            <a:custGeom>
              <a:avLst/>
              <a:gdLst>
                <a:gd name="T0" fmla="*/ 23 w 456"/>
                <a:gd name="T1" fmla="*/ 176 h 346"/>
                <a:gd name="T2" fmla="*/ 1 w 456"/>
                <a:gd name="T3" fmla="*/ 139 h 346"/>
                <a:gd name="T4" fmla="*/ 5 w 456"/>
                <a:gd name="T5" fmla="*/ 98 h 346"/>
                <a:gd name="T6" fmla="*/ 36 w 456"/>
                <a:gd name="T7" fmla="*/ 59 h 346"/>
                <a:gd name="T8" fmla="*/ 112 w 456"/>
                <a:gd name="T9" fmla="*/ 15 h 346"/>
                <a:gd name="T10" fmla="*/ 100 w 456"/>
                <a:gd name="T11" fmla="*/ 53 h 346"/>
                <a:gd name="T12" fmla="*/ 105 w 456"/>
                <a:gd name="T13" fmla="*/ 92 h 346"/>
                <a:gd name="T14" fmla="*/ 124 w 456"/>
                <a:gd name="T15" fmla="*/ 143 h 346"/>
                <a:gd name="T16" fmla="*/ 138 w 456"/>
                <a:gd name="T17" fmla="*/ 136 h 346"/>
                <a:gd name="T18" fmla="*/ 139 w 456"/>
                <a:gd name="T19" fmla="*/ 96 h 346"/>
                <a:gd name="T20" fmla="*/ 130 w 456"/>
                <a:gd name="T21" fmla="*/ 41 h 346"/>
                <a:gd name="T22" fmla="*/ 151 w 456"/>
                <a:gd name="T23" fmla="*/ 15 h 346"/>
                <a:gd name="T24" fmla="*/ 211 w 456"/>
                <a:gd name="T25" fmla="*/ 1 h 346"/>
                <a:gd name="T26" fmla="*/ 244 w 456"/>
                <a:gd name="T27" fmla="*/ 9 h 346"/>
                <a:gd name="T28" fmla="*/ 215 w 456"/>
                <a:gd name="T29" fmla="*/ 34 h 346"/>
                <a:gd name="T30" fmla="*/ 207 w 456"/>
                <a:gd name="T31" fmla="*/ 59 h 346"/>
                <a:gd name="T32" fmla="*/ 205 w 456"/>
                <a:gd name="T33" fmla="*/ 125 h 346"/>
                <a:gd name="T34" fmla="*/ 220 w 456"/>
                <a:gd name="T35" fmla="*/ 121 h 346"/>
                <a:gd name="T36" fmla="*/ 248 w 456"/>
                <a:gd name="T37" fmla="*/ 74 h 346"/>
                <a:gd name="T38" fmla="*/ 272 w 456"/>
                <a:gd name="T39" fmla="*/ 45 h 346"/>
                <a:gd name="T40" fmla="*/ 304 w 456"/>
                <a:gd name="T41" fmla="*/ 32 h 346"/>
                <a:gd name="T42" fmla="*/ 336 w 456"/>
                <a:gd name="T43" fmla="*/ 47 h 346"/>
                <a:gd name="T44" fmla="*/ 303 w 456"/>
                <a:gd name="T45" fmla="*/ 76 h 346"/>
                <a:gd name="T46" fmla="*/ 295 w 456"/>
                <a:gd name="T47" fmla="*/ 97 h 346"/>
                <a:gd name="T48" fmla="*/ 304 w 456"/>
                <a:gd name="T49" fmla="*/ 115 h 346"/>
                <a:gd name="T50" fmla="*/ 335 w 456"/>
                <a:gd name="T51" fmla="*/ 90 h 346"/>
                <a:gd name="T52" fmla="*/ 383 w 456"/>
                <a:gd name="T53" fmla="*/ 66 h 346"/>
                <a:gd name="T54" fmla="*/ 441 w 456"/>
                <a:gd name="T55" fmla="*/ 93 h 346"/>
                <a:gd name="T56" fmla="*/ 447 w 456"/>
                <a:gd name="T57" fmla="*/ 107 h 346"/>
                <a:gd name="T58" fmla="*/ 422 w 456"/>
                <a:gd name="T59" fmla="*/ 120 h 346"/>
                <a:gd name="T60" fmla="*/ 404 w 456"/>
                <a:gd name="T61" fmla="*/ 145 h 346"/>
                <a:gd name="T62" fmla="*/ 354 w 456"/>
                <a:gd name="T63" fmla="*/ 189 h 346"/>
                <a:gd name="T64" fmla="*/ 292 w 456"/>
                <a:gd name="T65" fmla="*/ 174 h 346"/>
                <a:gd name="T66" fmla="*/ 251 w 456"/>
                <a:gd name="T67" fmla="*/ 174 h 346"/>
                <a:gd name="T68" fmla="*/ 244 w 456"/>
                <a:gd name="T69" fmla="*/ 188 h 346"/>
                <a:gd name="T70" fmla="*/ 266 w 456"/>
                <a:gd name="T71" fmla="*/ 206 h 346"/>
                <a:gd name="T72" fmla="*/ 317 w 456"/>
                <a:gd name="T73" fmla="*/ 213 h 346"/>
                <a:gd name="T74" fmla="*/ 334 w 456"/>
                <a:gd name="T75" fmla="*/ 243 h 346"/>
                <a:gd name="T76" fmla="*/ 294 w 456"/>
                <a:gd name="T77" fmla="*/ 288 h 346"/>
                <a:gd name="T78" fmla="*/ 215 w 456"/>
                <a:gd name="T79" fmla="*/ 242 h 346"/>
                <a:gd name="T80" fmla="*/ 192 w 456"/>
                <a:gd name="T81" fmla="*/ 242 h 346"/>
                <a:gd name="T82" fmla="*/ 196 w 456"/>
                <a:gd name="T83" fmla="*/ 261 h 346"/>
                <a:gd name="T84" fmla="*/ 232 w 456"/>
                <a:gd name="T85" fmla="*/ 278 h 346"/>
                <a:gd name="T86" fmla="*/ 271 w 456"/>
                <a:gd name="T87" fmla="*/ 305 h 346"/>
                <a:gd name="T88" fmla="*/ 220 w 456"/>
                <a:gd name="T89" fmla="*/ 336 h 346"/>
                <a:gd name="T90" fmla="*/ 164 w 456"/>
                <a:gd name="T91" fmla="*/ 329 h 346"/>
                <a:gd name="T92" fmla="*/ 130 w 456"/>
                <a:gd name="T93" fmla="*/ 259 h 346"/>
                <a:gd name="T94" fmla="*/ 118 w 456"/>
                <a:gd name="T95" fmla="*/ 224 h 346"/>
                <a:gd name="T96" fmla="*/ 103 w 456"/>
                <a:gd name="T97" fmla="*/ 220 h 346"/>
                <a:gd name="T98" fmla="*/ 95 w 456"/>
                <a:gd name="T99" fmla="*/ 245 h 346"/>
                <a:gd name="T100" fmla="*/ 128 w 456"/>
                <a:gd name="T101" fmla="*/ 321 h 346"/>
                <a:gd name="T102" fmla="*/ 93 w 456"/>
                <a:gd name="T103" fmla="*/ 345 h 346"/>
                <a:gd name="T104" fmla="*/ 47 w 456"/>
                <a:gd name="T105" fmla="*/ 327 h 346"/>
                <a:gd name="T106" fmla="*/ 25 w 456"/>
                <a:gd name="T107" fmla="*/ 292 h 346"/>
                <a:gd name="T108" fmla="*/ 24 w 456"/>
                <a:gd name="T109" fmla="*/ 252 h 346"/>
                <a:gd name="T110" fmla="*/ 55 w 456"/>
                <a:gd name="T111" fmla="*/ 207 h 346"/>
                <a:gd name="T112" fmla="*/ 65 w 456"/>
                <a:gd name="T113" fmla="*/ 191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56" h="346">
                  <a:moveTo>
                    <a:pt x="59" y="184"/>
                  </a:moveTo>
                  <a:lnTo>
                    <a:pt x="59" y="184"/>
                  </a:lnTo>
                  <a:lnTo>
                    <a:pt x="46" y="180"/>
                  </a:lnTo>
                  <a:lnTo>
                    <a:pt x="23" y="176"/>
                  </a:lnTo>
                  <a:lnTo>
                    <a:pt x="23" y="176"/>
                  </a:lnTo>
                  <a:lnTo>
                    <a:pt x="19" y="174"/>
                  </a:lnTo>
                  <a:lnTo>
                    <a:pt x="17" y="173"/>
                  </a:lnTo>
                  <a:lnTo>
                    <a:pt x="11" y="165"/>
                  </a:lnTo>
                  <a:lnTo>
                    <a:pt x="5" y="154"/>
                  </a:lnTo>
                  <a:lnTo>
                    <a:pt x="1" y="139"/>
                  </a:lnTo>
                  <a:lnTo>
                    <a:pt x="0" y="132"/>
                  </a:lnTo>
                  <a:lnTo>
                    <a:pt x="0" y="124"/>
                  </a:lnTo>
                  <a:lnTo>
                    <a:pt x="1" y="115"/>
                  </a:lnTo>
                  <a:lnTo>
                    <a:pt x="2" y="107"/>
                  </a:lnTo>
                  <a:lnTo>
                    <a:pt x="5" y="98"/>
                  </a:lnTo>
                  <a:lnTo>
                    <a:pt x="8" y="90"/>
                  </a:lnTo>
                  <a:lnTo>
                    <a:pt x="14" y="82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36" y="59"/>
                  </a:lnTo>
                  <a:lnTo>
                    <a:pt x="52" y="47"/>
                  </a:lnTo>
                  <a:lnTo>
                    <a:pt x="67" y="38"/>
                  </a:lnTo>
                  <a:lnTo>
                    <a:pt x="81" y="29"/>
                  </a:lnTo>
                  <a:lnTo>
                    <a:pt x="104" y="18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09" y="22"/>
                  </a:lnTo>
                  <a:lnTo>
                    <a:pt x="106" y="30"/>
                  </a:lnTo>
                  <a:lnTo>
                    <a:pt x="103" y="41"/>
                  </a:lnTo>
                  <a:lnTo>
                    <a:pt x="100" y="53"/>
                  </a:lnTo>
                  <a:lnTo>
                    <a:pt x="100" y="66"/>
                  </a:lnTo>
                  <a:lnTo>
                    <a:pt x="101" y="79"/>
                  </a:lnTo>
                  <a:lnTo>
                    <a:pt x="103" y="85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10" y="104"/>
                  </a:lnTo>
                  <a:lnTo>
                    <a:pt x="115" y="116"/>
                  </a:lnTo>
                  <a:lnTo>
                    <a:pt x="119" y="136"/>
                  </a:lnTo>
                  <a:lnTo>
                    <a:pt x="123" y="142"/>
                  </a:lnTo>
                  <a:lnTo>
                    <a:pt x="124" y="143"/>
                  </a:lnTo>
                  <a:lnTo>
                    <a:pt x="127" y="144"/>
                  </a:lnTo>
                  <a:lnTo>
                    <a:pt x="129" y="144"/>
                  </a:lnTo>
                  <a:lnTo>
                    <a:pt x="132" y="143"/>
                  </a:lnTo>
                  <a:lnTo>
                    <a:pt x="138" y="136"/>
                  </a:lnTo>
                  <a:lnTo>
                    <a:pt x="138" y="136"/>
                  </a:lnTo>
                  <a:lnTo>
                    <a:pt x="140" y="130"/>
                  </a:lnTo>
                  <a:lnTo>
                    <a:pt x="141" y="125"/>
                  </a:lnTo>
                  <a:lnTo>
                    <a:pt x="142" y="118"/>
                  </a:lnTo>
                  <a:lnTo>
                    <a:pt x="142" y="110"/>
                  </a:lnTo>
                  <a:lnTo>
                    <a:pt x="139" y="96"/>
                  </a:lnTo>
                  <a:lnTo>
                    <a:pt x="135" y="79"/>
                  </a:lnTo>
                  <a:lnTo>
                    <a:pt x="132" y="63"/>
                  </a:lnTo>
                  <a:lnTo>
                    <a:pt x="130" y="56"/>
                  </a:lnTo>
                  <a:lnTo>
                    <a:pt x="130" y="49"/>
                  </a:lnTo>
                  <a:lnTo>
                    <a:pt x="130" y="41"/>
                  </a:lnTo>
                  <a:lnTo>
                    <a:pt x="133" y="34"/>
                  </a:lnTo>
                  <a:lnTo>
                    <a:pt x="135" y="28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51" y="15"/>
                  </a:lnTo>
                  <a:lnTo>
                    <a:pt x="163" y="7"/>
                  </a:lnTo>
                  <a:lnTo>
                    <a:pt x="175" y="4"/>
                  </a:lnTo>
                  <a:lnTo>
                    <a:pt x="187" y="1"/>
                  </a:lnTo>
                  <a:lnTo>
                    <a:pt x="199" y="0"/>
                  </a:lnTo>
                  <a:lnTo>
                    <a:pt x="211" y="1"/>
                  </a:lnTo>
                  <a:lnTo>
                    <a:pt x="223" y="3"/>
                  </a:lnTo>
                  <a:lnTo>
                    <a:pt x="236" y="5"/>
                  </a:lnTo>
                  <a:lnTo>
                    <a:pt x="236" y="5"/>
                  </a:lnTo>
                  <a:lnTo>
                    <a:pt x="243" y="7"/>
                  </a:lnTo>
                  <a:lnTo>
                    <a:pt x="244" y="9"/>
                  </a:lnTo>
                  <a:lnTo>
                    <a:pt x="243" y="11"/>
                  </a:lnTo>
                  <a:lnTo>
                    <a:pt x="239" y="15"/>
                  </a:lnTo>
                  <a:lnTo>
                    <a:pt x="232" y="18"/>
                  </a:lnTo>
                  <a:lnTo>
                    <a:pt x="223" y="26"/>
                  </a:lnTo>
                  <a:lnTo>
                    <a:pt x="215" y="34"/>
                  </a:lnTo>
                  <a:lnTo>
                    <a:pt x="211" y="39"/>
                  </a:lnTo>
                  <a:lnTo>
                    <a:pt x="209" y="45"/>
                  </a:lnTo>
                  <a:lnTo>
                    <a:pt x="208" y="52"/>
                  </a:lnTo>
                  <a:lnTo>
                    <a:pt x="207" y="59"/>
                  </a:lnTo>
                  <a:lnTo>
                    <a:pt x="207" y="59"/>
                  </a:lnTo>
                  <a:lnTo>
                    <a:pt x="207" y="76"/>
                  </a:lnTo>
                  <a:lnTo>
                    <a:pt x="205" y="91"/>
                  </a:lnTo>
                  <a:lnTo>
                    <a:pt x="203" y="114"/>
                  </a:lnTo>
                  <a:lnTo>
                    <a:pt x="204" y="122"/>
                  </a:lnTo>
                  <a:lnTo>
                    <a:pt x="205" y="125"/>
                  </a:lnTo>
                  <a:lnTo>
                    <a:pt x="207" y="126"/>
                  </a:lnTo>
                  <a:lnTo>
                    <a:pt x="209" y="126"/>
                  </a:lnTo>
                  <a:lnTo>
                    <a:pt x="211" y="126"/>
                  </a:lnTo>
                  <a:lnTo>
                    <a:pt x="220" y="121"/>
                  </a:lnTo>
                  <a:lnTo>
                    <a:pt x="220" y="121"/>
                  </a:lnTo>
                  <a:lnTo>
                    <a:pt x="228" y="113"/>
                  </a:lnTo>
                  <a:lnTo>
                    <a:pt x="234" y="104"/>
                  </a:lnTo>
                  <a:lnTo>
                    <a:pt x="240" y="93"/>
                  </a:lnTo>
                  <a:lnTo>
                    <a:pt x="244" y="84"/>
                  </a:lnTo>
                  <a:lnTo>
                    <a:pt x="248" y="74"/>
                  </a:lnTo>
                  <a:lnTo>
                    <a:pt x="252" y="64"/>
                  </a:lnTo>
                  <a:lnTo>
                    <a:pt x="257" y="56"/>
                  </a:lnTo>
                  <a:lnTo>
                    <a:pt x="265" y="50"/>
                  </a:lnTo>
                  <a:lnTo>
                    <a:pt x="265" y="50"/>
                  </a:lnTo>
                  <a:lnTo>
                    <a:pt x="272" y="45"/>
                  </a:lnTo>
                  <a:lnTo>
                    <a:pt x="279" y="40"/>
                  </a:lnTo>
                  <a:lnTo>
                    <a:pt x="292" y="35"/>
                  </a:lnTo>
                  <a:lnTo>
                    <a:pt x="301" y="32"/>
                  </a:lnTo>
                  <a:lnTo>
                    <a:pt x="304" y="32"/>
                  </a:lnTo>
                  <a:lnTo>
                    <a:pt x="304" y="32"/>
                  </a:lnTo>
                  <a:lnTo>
                    <a:pt x="318" y="38"/>
                  </a:lnTo>
                  <a:lnTo>
                    <a:pt x="329" y="43"/>
                  </a:lnTo>
                  <a:lnTo>
                    <a:pt x="335" y="46"/>
                  </a:lnTo>
                  <a:lnTo>
                    <a:pt x="335" y="46"/>
                  </a:lnTo>
                  <a:lnTo>
                    <a:pt x="336" y="47"/>
                  </a:lnTo>
                  <a:lnTo>
                    <a:pt x="335" y="49"/>
                  </a:lnTo>
                  <a:lnTo>
                    <a:pt x="331" y="53"/>
                  </a:lnTo>
                  <a:lnTo>
                    <a:pt x="318" y="63"/>
                  </a:lnTo>
                  <a:lnTo>
                    <a:pt x="311" y="70"/>
                  </a:lnTo>
                  <a:lnTo>
                    <a:pt x="303" y="76"/>
                  </a:lnTo>
                  <a:lnTo>
                    <a:pt x="297" y="84"/>
                  </a:lnTo>
                  <a:lnTo>
                    <a:pt x="296" y="87"/>
                  </a:lnTo>
                  <a:lnTo>
                    <a:pt x="295" y="90"/>
                  </a:lnTo>
                  <a:lnTo>
                    <a:pt x="295" y="90"/>
                  </a:lnTo>
                  <a:lnTo>
                    <a:pt x="295" y="97"/>
                  </a:lnTo>
                  <a:lnTo>
                    <a:pt x="295" y="103"/>
                  </a:lnTo>
                  <a:lnTo>
                    <a:pt x="296" y="108"/>
                  </a:lnTo>
                  <a:lnTo>
                    <a:pt x="297" y="113"/>
                  </a:lnTo>
                  <a:lnTo>
                    <a:pt x="301" y="115"/>
                  </a:lnTo>
                  <a:lnTo>
                    <a:pt x="304" y="115"/>
                  </a:lnTo>
                  <a:lnTo>
                    <a:pt x="311" y="111"/>
                  </a:lnTo>
                  <a:lnTo>
                    <a:pt x="317" y="105"/>
                  </a:lnTo>
                  <a:lnTo>
                    <a:pt x="317" y="105"/>
                  </a:lnTo>
                  <a:lnTo>
                    <a:pt x="325" y="97"/>
                  </a:lnTo>
                  <a:lnTo>
                    <a:pt x="335" y="90"/>
                  </a:lnTo>
                  <a:lnTo>
                    <a:pt x="344" y="84"/>
                  </a:lnTo>
                  <a:lnTo>
                    <a:pt x="354" y="78"/>
                  </a:lnTo>
                  <a:lnTo>
                    <a:pt x="371" y="69"/>
                  </a:lnTo>
                  <a:lnTo>
                    <a:pt x="383" y="66"/>
                  </a:lnTo>
                  <a:lnTo>
                    <a:pt x="383" y="66"/>
                  </a:lnTo>
                  <a:lnTo>
                    <a:pt x="388" y="66"/>
                  </a:lnTo>
                  <a:lnTo>
                    <a:pt x="394" y="68"/>
                  </a:lnTo>
                  <a:lnTo>
                    <a:pt x="411" y="75"/>
                  </a:lnTo>
                  <a:lnTo>
                    <a:pt x="441" y="93"/>
                  </a:lnTo>
                  <a:lnTo>
                    <a:pt x="441" y="93"/>
                  </a:lnTo>
                  <a:lnTo>
                    <a:pt x="451" y="98"/>
                  </a:lnTo>
                  <a:lnTo>
                    <a:pt x="456" y="102"/>
                  </a:lnTo>
                  <a:lnTo>
                    <a:pt x="456" y="103"/>
                  </a:lnTo>
                  <a:lnTo>
                    <a:pt x="454" y="104"/>
                  </a:lnTo>
                  <a:lnTo>
                    <a:pt x="447" y="107"/>
                  </a:lnTo>
                  <a:lnTo>
                    <a:pt x="447" y="107"/>
                  </a:lnTo>
                  <a:lnTo>
                    <a:pt x="441" y="109"/>
                  </a:lnTo>
                  <a:lnTo>
                    <a:pt x="435" y="111"/>
                  </a:lnTo>
                  <a:lnTo>
                    <a:pt x="428" y="116"/>
                  </a:lnTo>
                  <a:lnTo>
                    <a:pt x="422" y="120"/>
                  </a:lnTo>
                  <a:lnTo>
                    <a:pt x="416" y="126"/>
                  </a:lnTo>
                  <a:lnTo>
                    <a:pt x="411" y="132"/>
                  </a:lnTo>
                  <a:lnTo>
                    <a:pt x="406" y="138"/>
                  </a:lnTo>
                  <a:lnTo>
                    <a:pt x="404" y="145"/>
                  </a:lnTo>
                  <a:lnTo>
                    <a:pt x="404" y="145"/>
                  </a:lnTo>
                  <a:lnTo>
                    <a:pt x="396" y="160"/>
                  </a:lnTo>
                  <a:lnTo>
                    <a:pt x="388" y="176"/>
                  </a:lnTo>
                  <a:lnTo>
                    <a:pt x="378" y="191"/>
                  </a:lnTo>
                  <a:lnTo>
                    <a:pt x="378" y="191"/>
                  </a:lnTo>
                  <a:lnTo>
                    <a:pt x="354" y="189"/>
                  </a:lnTo>
                  <a:lnTo>
                    <a:pt x="334" y="185"/>
                  </a:lnTo>
                  <a:lnTo>
                    <a:pt x="319" y="183"/>
                  </a:lnTo>
                  <a:lnTo>
                    <a:pt x="319" y="183"/>
                  </a:lnTo>
                  <a:lnTo>
                    <a:pt x="302" y="178"/>
                  </a:lnTo>
                  <a:lnTo>
                    <a:pt x="292" y="174"/>
                  </a:lnTo>
                  <a:lnTo>
                    <a:pt x="280" y="172"/>
                  </a:lnTo>
                  <a:lnTo>
                    <a:pt x="269" y="171"/>
                  </a:lnTo>
                  <a:lnTo>
                    <a:pt x="260" y="172"/>
                  </a:lnTo>
                  <a:lnTo>
                    <a:pt x="255" y="172"/>
                  </a:lnTo>
                  <a:lnTo>
                    <a:pt x="251" y="174"/>
                  </a:lnTo>
                  <a:lnTo>
                    <a:pt x="249" y="177"/>
                  </a:lnTo>
                  <a:lnTo>
                    <a:pt x="246" y="180"/>
                  </a:lnTo>
                  <a:lnTo>
                    <a:pt x="246" y="180"/>
                  </a:lnTo>
                  <a:lnTo>
                    <a:pt x="245" y="184"/>
                  </a:lnTo>
                  <a:lnTo>
                    <a:pt x="244" y="188"/>
                  </a:lnTo>
                  <a:lnTo>
                    <a:pt x="245" y="191"/>
                  </a:lnTo>
                  <a:lnTo>
                    <a:pt x="246" y="194"/>
                  </a:lnTo>
                  <a:lnTo>
                    <a:pt x="250" y="199"/>
                  </a:lnTo>
                  <a:lnTo>
                    <a:pt x="257" y="202"/>
                  </a:lnTo>
                  <a:lnTo>
                    <a:pt x="266" y="206"/>
                  </a:lnTo>
                  <a:lnTo>
                    <a:pt x="275" y="208"/>
                  </a:lnTo>
                  <a:lnTo>
                    <a:pt x="296" y="211"/>
                  </a:lnTo>
                  <a:lnTo>
                    <a:pt x="296" y="211"/>
                  </a:lnTo>
                  <a:lnTo>
                    <a:pt x="307" y="211"/>
                  </a:lnTo>
                  <a:lnTo>
                    <a:pt x="317" y="213"/>
                  </a:lnTo>
                  <a:lnTo>
                    <a:pt x="337" y="218"/>
                  </a:lnTo>
                  <a:lnTo>
                    <a:pt x="356" y="224"/>
                  </a:lnTo>
                  <a:lnTo>
                    <a:pt x="356" y="224"/>
                  </a:lnTo>
                  <a:lnTo>
                    <a:pt x="344" y="234"/>
                  </a:lnTo>
                  <a:lnTo>
                    <a:pt x="334" y="243"/>
                  </a:lnTo>
                  <a:lnTo>
                    <a:pt x="323" y="253"/>
                  </a:lnTo>
                  <a:lnTo>
                    <a:pt x="323" y="253"/>
                  </a:lnTo>
                  <a:lnTo>
                    <a:pt x="303" y="276"/>
                  </a:lnTo>
                  <a:lnTo>
                    <a:pt x="294" y="288"/>
                  </a:lnTo>
                  <a:lnTo>
                    <a:pt x="294" y="288"/>
                  </a:lnTo>
                  <a:lnTo>
                    <a:pt x="279" y="278"/>
                  </a:lnTo>
                  <a:lnTo>
                    <a:pt x="246" y="259"/>
                  </a:lnTo>
                  <a:lnTo>
                    <a:pt x="246" y="259"/>
                  </a:lnTo>
                  <a:lnTo>
                    <a:pt x="230" y="248"/>
                  </a:lnTo>
                  <a:lnTo>
                    <a:pt x="215" y="242"/>
                  </a:lnTo>
                  <a:lnTo>
                    <a:pt x="208" y="240"/>
                  </a:lnTo>
                  <a:lnTo>
                    <a:pt x="202" y="238"/>
                  </a:lnTo>
                  <a:lnTo>
                    <a:pt x="197" y="240"/>
                  </a:lnTo>
                  <a:lnTo>
                    <a:pt x="192" y="242"/>
                  </a:lnTo>
                  <a:lnTo>
                    <a:pt x="192" y="242"/>
                  </a:lnTo>
                  <a:lnTo>
                    <a:pt x="190" y="245"/>
                  </a:lnTo>
                  <a:lnTo>
                    <a:pt x="188" y="248"/>
                  </a:lnTo>
                  <a:lnTo>
                    <a:pt x="190" y="253"/>
                  </a:lnTo>
                  <a:lnTo>
                    <a:pt x="192" y="257"/>
                  </a:lnTo>
                  <a:lnTo>
                    <a:pt x="196" y="261"/>
                  </a:lnTo>
                  <a:lnTo>
                    <a:pt x="202" y="266"/>
                  </a:lnTo>
                  <a:lnTo>
                    <a:pt x="210" y="270"/>
                  </a:lnTo>
                  <a:lnTo>
                    <a:pt x="220" y="275"/>
                  </a:lnTo>
                  <a:lnTo>
                    <a:pt x="220" y="275"/>
                  </a:lnTo>
                  <a:lnTo>
                    <a:pt x="232" y="278"/>
                  </a:lnTo>
                  <a:lnTo>
                    <a:pt x="242" y="283"/>
                  </a:lnTo>
                  <a:lnTo>
                    <a:pt x="257" y="294"/>
                  </a:lnTo>
                  <a:lnTo>
                    <a:pt x="267" y="301"/>
                  </a:lnTo>
                  <a:lnTo>
                    <a:pt x="271" y="305"/>
                  </a:lnTo>
                  <a:lnTo>
                    <a:pt x="271" y="305"/>
                  </a:lnTo>
                  <a:lnTo>
                    <a:pt x="251" y="319"/>
                  </a:lnTo>
                  <a:lnTo>
                    <a:pt x="234" y="330"/>
                  </a:lnTo>
                  <a:lnTo>
                    <a:pt x="227" y="334"/>
                  </a:lnTo>
                  <a:lnTo>
                    <a:pt x="220" y="336"/>
                  </a:lnTo>
                  <a:lnTo>
                    <a:pt x="220" y="336"/>
                  </a:lnTo>
                  <a:lnTo>
                    <a:pt x="182" y="345"/>
                  </a:lnTo>
                  <a:lnTo>
                    <a:pt x="182" y="345"/>
                  </a:lnTo>
                  <a:lnTo>
                    <a:pt x="179" y="342"/>
                  </a:lnTo>
                  <a:lnTo>
                    <a:pt x="170" y="335"/>
                  </a:lnTo>
                  <a:lnTo>
                    <a:pt x="164" y="329"/>
                  </a:lnTo>
                  <a:lnTo>
                    <a:pt x="158" y="321"/>
                  </a:lnTo>
                  <a:lnTo>
                    <a:pt x="152" y="311"/>
                  </a:lnTo>
                  <a:lnTo>
                    <a:pt x="147" y="299"/>
                  </a:lnTo>
                  <a:lnTo>
                    <a:pt x="147" y="299"/>
                  </a:lnTo>
                  <a:lnTo>
                    <a:pt x="130" y="259"/>
                  </a:lnTo>
                  <a:lnTo>
                    <a:pt x="126" y="246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1" y="229"/>
                  </a:lnTo>
                  <a:lnTo>
                    <a:pt x="118" y="224"/>
                  </a:lnTo>
                  <a:lnTo>
                    <a:pt x="116" y="220"/>
                  </a:lnTo>
                  <a:lnTo>
                    <a:pt x="112" y="219"/>
                  </a:lnTo>
                  <a:lnTo>
                    <a:pt x="109" y="218"/>
                  </a:lnTo>
                  <a:lnTo>
                    <a:pt x="106" y="219"/>
                  </a:lnTo>
                  <a:lnTo>
                    <a:pt x="103" y="220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6" y="230"/>
                  </a:lnTo>
                  <a:lnTo>
                    <a:pt x="95" y="237"/>
                  </a:lnTo>
                  <a:lnTo>
                    <a:pt x="95" y="245"/>
                  </a:lnTo>
                  <a:lnTo>
                    <a:pt x="96" y="253"/>
                  </a:lnTo>
                  <a:lnTo>
                    <a:pt x="103" y="269"/>
                  </a:lnTo>
                  <a:lnTo>
                    <a:pt x="109" y="284"/>
                  </a:lnTo>
                  <a:lnTo>
                    <a:pt x="109" y="284"/>
                  </a:lnTo>
                  <a:lnTo>
                    <a:pt x="128" y="321"/>
                  </a:lnTo>
                  <a:lnTo>
                    <a:pt x="141" y="345"/>
                  </a:lnTo>
                  <a:lnTo>
                    <a:pt x="141" y="345"/>
                  </a:lnTo>
                  <a:lnTo>
                    <a:pt x="127" y="346"/>
                  </a:lnTo>
                  <a:lnTo>
                    <a:pt x="111" y="346"/>
                  </a:lnTo>
                  <a:lnTo>
                    <a:pt x="93" y="345"/>
                  </a:lnTo>
                  <a:lnTo>
                    <a:pt x="83" y="342"/>
                  </a:lnTo>
                  <a:lnTo>
                    <a:pt x="72" y="340"/>
                  </a:lnTo>
                  <a:lnTo>
                    <a:pt x="64" y="338"/>
                  </a:lnTo>
                  <a:lnTo>
                    <a:pt x="54" y="333"/>
                  </a:lnTo>
                  <a:lnTo>
                    <a:pt x="47" y="327"/>
                  </a:lnTo>
                  <a:lnTo>
                    <a:pt x="40" y="321"/>
                  </a:lnTo>
                  <a:lnTo>
                    <a:pt x="34" y="312"/>
                  </a:lnTo>
                  <a:lnTo>
                    <a:pt x="29" y="303"/>
                  </a:lnTo>
                  <a:lnTo>
                    <a:pt x="29" y="303"/>
                  </a:lnTo>
                  <a:lnTo>
                    <a:pt x="25" y="292"/>
                  </a:lnTo>
                  <a:lnTo>
                    <a:pt x="24" y="282"/>
                  </a:lnTo>
                  <a:lnTo>
                    <a:pt x="23" y="274"/>
                  </a:lnTo>
                  <a:lnTo>
                    <a:pt x="22" y="265"/>
                  </a:lnTo>
                  <a:lnTo>
                    <a:pt x="23" y="258"/>
                  </a:lnTo>
                  <a:lnTo>
                    <a:pt x="24" y="252"/>
                  </a:lnTo>
                  <a:lnTo>
                    <a:pt x="28" y="240"/>
                  </a:lnTo>
                  <a:lnTo>
                    <a:pt x="34" y="229"/>
                  </a:lnTo>
                  <a:lnTo>
                    <a:pt x="41" y="220"/>
                  </a:lnTo>
                  <a:lnTo>
                    <a:pt x="48" y="213"/>
                  </a:lnTo>
                  <a:lnTo>
                    <a:pt x="55" y="207"/>
                  </a:lnTo>
                  <a:lnTo>
                    <a:pt x="55" y="207"/>
                  </a:lnTo>
                  <a:lnTo>
                    <a:pt x="61" y="202"/>
                  </a:lnTo>
                  <a:lnTo>
                    <a:pt x="64" y="197"/>
                  </a:lnTo>
                  <a:lnTo>
                    <a:pt x="66" y="194"/>
                  </a:lnTo>
                  <a:lnTo>
                    <a:pt x="65" y="191"/>
                  </a:lnTo>
                  <a:lnTo>
                    <a:pt x="64" y="190"/>
                  </a:lnTo>
                  <a:lnTo>
                    <a:pt x="63" y="188"/>
                  </a:lnTo>
                  <a:lnTo>
                    <a:pt x="59" y="184"/>
                  </a:lnTo>
                  <a:lnTo>
                    <a:pt x="59" y="184"/>
                  </a:lnTo>
                  <a:close/>
                </a:path>
              </a:pathLst>
            </a:custGeom>
            <a:solidFill>
              <a:srgbClr val="A5DA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583">
              <a:extLst>
                <a:ext uri="{FF2B5EF4-FFF2-40B4-BE49-F238E27FC236}">
                  <a16:creationId xmlns:a16="http://schemas.microsoft.com/office/drawing/2014/main" id="{5326B70C-2897-5E49-BEC0-04DF12F0B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6813" y="4713288"/>
              <a:ext cx="185738" cy="361950"/>
            </a:xfrm>
            <a:custGeom>
              <a:avLst/>
              <a:gdLst>
                <a:gd name="T0" fmla="*/ 233 w 233"/>
                <a:gd name="T1" fmla="*/ 456 h 456"/>
                <a:gd name="T2" fmla="*/ 214 w 233"/>
                <a:gd name="T3" fmla="*/ 456 h 456"/>
                <a:gd name="T4" fmla="*/ 214 w 233"/>
                <a:gd name="T5" fmla="*/ 305 h 456"/>
                <a:gd name="T6" fmla="*/ 214 w 233"/>
                <a:gd name="T7" fmla="*/ 305 h 456"/>
                <a:gd name="T8" fmla="*/ 212 w 233"/>
                <a:gd name="T9" fmla="*/ 277 h 456"/>
                <a:gd name="T10" fmla="*/ 209 w 233"/>
                <a:gd name="T11" fmla="*/ 253 h 456"/>
                <a:gd name="T12" fmla="*/ 209 w 233"/>
                <a:gd name="T13" fmla="*/ 253 h 456"/>
                <a:gd name="T14" fmla="*/ 206 w 233"/>
                <a:gd name="T15" fmla="*/ 237 h 456"/>
                <a:gd name="T16" fmla="*/ 201 w 233"/>
                <a:gd name="T17" fmla="*/ 223 h 456"/>
                <a:gd name="T18" fmla="*/ 197 w 233"/>
                <a:gd name="T19" fmla="*/ 210 h 456"/>
                <a:gd name="T20" fmla="*/ 191 w 233"/>
                <a:gd name="T21" fmla="*/ 195 h 456"/>
                <a:gd name="T22" fmla="*/ 185 w 233"/>
                <a:gd name="T23" fmla="*/ 183 h 456"/>
                <a:gd name="T24" fmla="*/ 179 w 233"/>
                <a:gd name="T25" fmla="*/ 170 h 456"/>
                <a:gd name="T26" fmla="*/ 163 w 233"/>
                <a:gd name="T27" fmla="*/ 147 h 456"/>
                <a:gd name="T28" fmla="*/ 147 w 233"/>
                <a:gd name="T29" fmla="*/ 126 h 456"/>
                <a:gd name="T30" fmla="*/ 129 w 233"/>
                <a:gd name="T31" fmla="*/ 107 h 456"/>
                <a:gd name="T32" fmla="*/ 111 w 233"/>
                <a:gd name="T33" fmla="*/ 89 h 456"/>
                <a:gd name="T34" fmla="*/ 93 w 233"/>
                <a:gd name="T35" fmla="*/ 74 h 456"/>
                <a:gd name="T36" fmla="*/ 76 w 233"/>
                <a:gd name="T37" fmla="*/ 61 h 456"/>
                <a:gd name="T38" fmla="*/ 59 w 233"/>
                <a:gd name="T39" fmla="*/ 49 h 456"/>
                <a:gd name="T40" fmla="*/ 43 w 233"/>
                <a:gd name="T41" fmla="*/ 39 h 456"/>
                <a:gd name="T42" fmla="*/ 29 w 233"/>
                <a:gd name="T43" fmla="*/ 32 h 456"/>
                <a:gd name="T44" fmla="*/ 8 w 233"/>
                <a:gd name="T45" fmla="*/ 21 h 456"/>
                <a:gd name="T46" fmla="*/ 0 w 233"/>
                <a:gd name="T47" fmla="*/ 17 h 456"/>
                <a:gd name="T48" fmla="*/ 7 w 233"/>
                <a:gd name="T49" fmla="*/ 0 h 456"/>
                <a:gd name="T50" fmla="*/ 7 w 233"/>
                <a:gd name="T51" fmla="*/ 0 h 456"/>
                <a:gd name="T52" fmla="*/ 18 w 233"/>
                <a:gd name="T53" fmla="*/ 4 h 456"/>
                <a:gd name="T54" fmla="*/ 39 w 233"/>
                <a:gd name="T55" fmla="*/ 16 h 456"/>
                <a:gd name="T56" fmla="*/ 55 w 233"/>
                <a:gd name="T57" fmla="*/ 25 h 456"/>
                <a:gd name="T58" fmla="*/ 71 w 233"/>
                <a:gd name="T59" fmla="*/ 34 h 456"/>
                <a:gd name="T60" fmla="*/ 89 w 233"/>
                <a:gd name="T61" fmla="*/ 46 h 456"/>
                <a:gd name="T62" fmla="*/ 107 w 233"/>
                <a:gd name="T63" fmla="*/ 61 h 456"/>
                <a:gd name="T64" fmla="*/ 126 w 233"/>
                <a:gd name="T65" fmla="*/ 77 h 456"/>
                <a:gd name="T66" fmla="*/ 145 w 233"/>
                <a:gd name="T67" fmla="*/ 95 h 456"/>
                <a:gd name="T68" fmla="*/ 163 w 233"/>
                <a:gd name="T69" fmla="*/ 115 h 456"/>
                <a:gd name="T70" fmla="*/ 180 w 233"/>
                <a:gd name="T71" fmla="*/ 137 h 456"/>
                <a:gd name="T72" fmla="*/ 195 w 233"/>
                <a:gd name="T73" fmla="*/ 161 h 456"/>
                <a:gd name="T74" fmla="*/ 203 w 233"/>
                <a:gd name="T75" fmla="*/ 174 h 456"/>
                <a:gd name="T76" fmla="*/ 209 w 233"/>
                <a:gd name="T77" fmla="*/ 189 h 456"/>
                <a:gd name="T78" fmla="*/ 215 w 233"/>
                <a:gd name="T79" fmla="*/ 202 h 456"/>
                <a:gd name="T80" fmla="*/ 220 w 233"/>
                <a:gd name="T81" fmla="*/ 218 h 456"/>
                <a:gd name="T82" fmla="*/ 224 w 233"/>
                <a:gd name="T83" fmla="*/ 234 h 456"/>
                <a:gd name="T84" fmla="*/ 228 w 233"/>
                <a:gd name="T85" fmla="*/ 249 h 456"/>
                <a:gd name="T86" fmla="*/ 228 w 233"/>
                <a:gd name="T87" fmla="*/ 249 h 456"/>
                <a:gd name="T88" fmla="*/ 232 w 233"/>
                <a:gd name="T89" fmla="*/ 276 h 456"/>
                <a:gd name="T90" fmla="*/ 233 w 233"/>
                <a:gd name="T91" fmla="*/ 305 h 456"/>
                <a:gd name="T92" fmla="*/ 233 w 233"/>
                <a:gd name="T93" fmla="*/ 456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3" h="456">
                  <a:moveTo>
                    <a:pt x="233" y="456"/>
                  </a:moveTo>
                  <a:lnTo>
                    <a:pt x="214" y="456"/>
                  </a:lnTo>
                  <a:lnTo>
                    <a:pt x="214" y="305"/>
                  </a:lnTo>
                  <a:lnTo>
                    <a:pt x="214" y="305"/>
                  </a:lnTo>
                  <a:lnTo>
                    <a:pt x="212" y="277"/>
                  </a:lnTo>
                  <a:lnTo>
                    <a:pt x="209" y="253"/>
                  </a:lnTo>
                  <a:lnTo>
                    <a:pt x="209" y="253"/>
                  </a:lnTo>
                  <a:lnTo>
                    <a:pt x="206" y="237"/>
                  </a:lnTo>
                  <a:lnTo>
                    <a:pt x="201" y="223"/>
                  </a:lnTo>
                  <a:lnTo>
                    <a:pt x="197" y="210"/>
                  </a:lnTo>
                  <a:lnTo>
                    <a:pt x="191" y="195"/>
                  </a:lnTo>
                  <a:lnTo>
                    <a:pt x="185" y="183"/>
                  </a:lnTo>
                  <a:lnTo>
                    <a:pt x="179" y="170"/>
                  </a:lnTo>
                  <a:lnTo>
                    <a:pt x="163" y="147"/>
                  </a:lnTo>
                  <a:lnTo>
                    <a:pt x="147" y="126"/>
                  </a:lnTo>
                  <a:lnTo>
                    <a:pt x="129" y="107"/>
                  </a:lnTo>
                  <a:lnTo>
                    <a:pt x="111" y="89"/>
                  </a:lnTo>
                  <a:lnTo>
                    <a:pt x="93" y="74"/>
                  </a:lnTo>
                  <a:lnTo>
                    <a:pt x="76" y="61"/>
                  </a:lnTo>
                  <a:lnTo>
                    <a:pt x="59" y="49"/>
                  </a:lnTo>
                  <a:lnTo>
                    <a:pt x="43" y="39"/>
                  </a:lnTo>
                  <a:lnTo>
                    <a:pt x="29" y="32"/>
                  </a:lnTo>
                  <a:lnTo>
                    <a:pt x="8" y="21"/>
                  </a:lnTo>
                  <a:lnTo>
                    <a:pt x="0" y="17"/>
                  </a:lnTo>
                  <a:lnTo>
                    <a:pt x="7" y="0"/>
                  </a:lnTo>
                  <a:lnTo>
                    <a:pt x="7" y="0"/>
                  </a:lnTo>
                  <a:lnTo>
                    <a:pt x="18" y="4"/>
                  </a:lnTo>
                  <a:lnTo>
                    <a:pt x="39" y="16"/>
                  </a:lnTo>
                  <a:lnTo>
                    <a:pt x="55" y="25"/>
                  </a:lnTo>
                  <a:lnTo>
                    <a:pt x="71" y="34"/>
                  </a:lnTo>
                  <a:lnTo>
                    <a:pt x="89" y="46"/>
                  </a:lnTo>
                  <a:lnTo>
                    <a:pt x="107" y="61"/>
                  </a:lnTo>
                  <a:lnTo>
                    <a:pt x="126" y="77"/>
                  </a:lnTo>
                  <a:lnTo>
                    <a:pt x="145" y="95"/>
                  </a:lnTo>
                  <a:lnTo>
                    <a:pt x="163" y="115"/>
                  </a:lnTo>
                  <a:lnTo>
                    <a:pt x="180" y="137"/>
                  </a:lnTo>
                  <a:lnTo>
                    <a:pt x="195" y="161"/>
                  </a:lnTo>
                  <a:lnTo>
                    <a:pt x="203" y="174"/>
                  </a:lnTo>
                  <a:lnTo>
                    <a:pt x="209" y="189"/>
                  </a:lnTo>
                  <a:lnTo>
                    <a:pt x="215" y="202"/>
                  </a:lnTo>
                  <a:lnTo>
                    <a:pt x="220" y="218"/>
                  </a:lnTo>
                  <a:lnTo>
                    <a:pt x="224" y="234"/>
                  </a:lnTo>
                  <a:lnTo>
                    <a:pt x="228" y="249"/>
                  </a:lnTo>
                  <a:lnTo>
                    <a:pt x="228" y="249"/>
                  </a:lnTo>
                  <a:lnTo>
                    <a:pt x="232" y="276"/>
                  </a:lnTo>
                  <a:lnTo>
                    <a:pt x="233" y="305"/>
                  </a:lnTo>
                  <a:lnTo>
                    <a:pt x="233" y="456"/>
                  </a:lnTo>
                  <a:close/>
                </a:path>
              </a:pathLst>
            </a:custGeom>
            <a:solidFill>
              <a:srgbClr val="A5DA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584">
              <a:extLst>
                <a:ext uri="{FF2B5EF4-FFF2-40B4-BE49-F238E27FC236}">
                  <a16:creationId xmlns:a16="http://schemas.microsoft.com/office/drawing/2014/main" id="{14D9B330-2563-C84E-A750-A21F0D682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438" y="4856163"/>
              <a:ext cx="106363" cy="215900"/>
            </a:xfrm>
            <a:custGeom>
              <a:avLst/>
              <a:gdLst>
                <a:gd name="T0" fmla="*/ 0 w 135"/>
                <a:gd name="T1" fmla="*/ 272 h 272"/>
                <a:gd name="T2" fmla="*/ 0 w 135"/>
                <a:gd name="T3" fmla="*/ 272 h 272"/>
                <a:gd name="T4" fmla="*/ 0 w 135"/>
                <a:gd name="T5" fmla="*/ 262 h 272"/>
                <a:gd name="T6" fmla="*/ 2 w 135"/>
                <a:gd name="T7" fmla="*/ 238 h 272"/>
                <a:gd name="T8" fmla="*/ 3 w 135"/>
                <a:gd name="T9" fmla="*/ 221 h 272"/>
                <a:gd name="T10" fmla="*/ 5 w 135"/>
                <a:gd name="T11" fmla="*/ 201 h 272"/>
                <a:gd name="T12" fmla="*/ 9 w 135"/>
                <a:gd name="T13" fmla="*/ 181 h 272"/>
                <a:gd name="T14" fmla="*/ 14 w 135"/>
                <a:gd name="T15" fmla="*/ 159 h 272"/>
                <a:gd name="T16" fmla="*/ 20 w 135"/>
                <a:gd name="T17" fmla="*/ 136 h 272"/>
                <a:gd name="T18" fmla="*/ 28 w 135"/>
                <a:gd name="T19" fmla="*/ 113 h 272"/>
                <a:gd name="T20" fmla="*/ 39 w 135"/>
                <a:gd name="T21" fmla="*/ 90 h 272"/>
                <a:gd name="T22" fmla="*/ 51 w 135"/>
                <a:gd name="T23" fmla="*/ 68 h 272"/>
                <a:gd name="T24" fmla="*/ 58 w 135"/>
                <a:gd name="T25" fmla="*/ 59 h 272"/>
                <a:gd name="T26" fmla="*/ 67 w 135"/>
                <a:gd name="T27" fmla="*/ 48 h 272"/>
                <a:gd name="T28" fmla="*/ 75 w 135"/>
                <a:gd name="T29" fmla="*/ 38 h 272"/>
                <a:gd name="T30" fmla="*/ 85 w 135"/>
                <a:gd name="T31" fmla="*/ 30 h 272"/>
                <a:gd name="T32" fmla="*/ 95 w 135"/>
                <a:gd name="T33" fmla="*/ 21 h 272"/>
                <a:gd name="T34" fmla="*/ 106 w 135"/>
                <a:gd name="T35" fmla="*/ 13 h 272"/>
                <a:gd name="T36" fmla="*/ 118 w 135"/>
                <a:gd name="T37" fmla="*/ 6 h 272"/>
                <a:gd name="T38" fmla="*/ 131 w 135"/>
                <a:gd name="T39" fmla="*/ 0 h 272"/>
                <a:gd name="T40" fmla="*/ 135 w 135"/>
                <a:gd name="T41" fmla="*/ 8 h 272"/>
                <a:gd name="T42" fmla="*/ 135 w 135"/>
                <a:gd name="T43" fmla="*/ 8 h 272"/>
                <a:gd name="T44" fmla="*/ 123 w 135"/>
                <a:gd name="T45" fmla="*/ 14 h 272"/>
                <a:gd name="T46" fmla="*/ 112 w 135"/>
                <a:gd name="T47" fmla="*/ 21 h 272"/>
                <a:gd name="T48" fmla="*/ 101 w 135"/>
                <a:gd name="T49" fmla="*/ 29 h 272"/>
                <a:gd name="T50" fmla="*/ 91 w 135"/>
                <a:gd name="T51" fmla="*/ 37 h 272"/>
                <a:gd name="T52" fmla="*/ 81 w 135"/>
                <a:gd name="T53" fmla="*/ 45 h 272"/>
                <a:gd name="T54" fmla="*/ 73 w 135"/>
                <a:gd name="T55" fmla="*/ 55 h 272"/>
                <a:gd name="T56" fmla="*/ 66 w 135"/>
                <a:gd name="T57" fmla="*/ 65 h 272"/>
                <a:gd name="T58" fmla="*/ 58 w 135"/>
                <a:gd name="T59" fmla="*/ 75 h 272"/>
                <a:gd name="T60" fmla="*/ 46 w 135"/>
                <a:gd name="T61" fmla="*/ 96 h 272"/>
                <a:gd name="T62" fmla="*/ 37 w 135"/>
                <a:gd name="T63" fmla="*/ 118 h 272"/>
                <a:gd name="T64" fmla="*/ 28 w 135"/>
                <a:gd name="T65" fmla="*/ 140 h 272"/>
                <a:gd name="T66" fmla="*/ 22 w 135"/>
                <a:gd name="T67" fmla="*/ 162 h 272"/>
                <a:gd name="T68" fmla="*/ 17 w 135"/>
                <a:gd name="T69" fmla="*/ 183 h 272"/>
                <a:gd name="T70" fmla="*/ 14 w 135"/>
                <a:gd name="T71" fmla="*/ 204 h 272"/>
                <a:gd name="T72" fmla="*/ 13 w 135"/>
                <a:gd name="T73" fmla="*/ 222 h 272"/>
                <a:gd name="T74" fmla="*/ 10 w 135"/>
                <a:gd name="T75" fmla="*/ 238 h 272"/>
                <a:gd name="T76" fmla="*/ 10 w 135"/>
                <a:gd name="T77" fmla="*/ 262 h 272"/>
                <a:gd name="T78" fmla="*/ 10 w 135"/>
                <a:gd name="T79" fmla="*/ 272 h 272"/>
                <a:gd name="T80" fmla="*/ 0 w 135"/>
                <a:gd name="T81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272">
                  <a:moveTo>
                    <a:pt x="0" y="272"/>
                  </a:moveTo>
                  <a:lnTo>
                    <a:pt x="0" y="272"/>
                  </a:lnTo>
                  <a:lnTo>
                    <a:pt x="0" y="262"/>
                  </a:lnTo>
                  <a:lnTo>
                    <a:pt x="2" y="238"/>
                  </a:lnTo>
                  <a:lnTo>
                    <a:pt x="3" y="221"/>
                  </a:lnTo>
                  <a:lnTo>
                    <a:pt x="5" y="201"/>
                  </a:lnTo>
                  <a:lnTo>
                    <a:pt x="9" y="181"/>
                  </a:lnTo>
                  <a:lnTo>
                    <a:pt x="14" y="159"/>
                  </a:lnTo>
                  <a:lnTo>
                    <a:pt x="20" y="136"/>
                  </a:lnTo>
                  <a:lnTo>
                    <a:pt x="28" y="113"/>
                  </a:lnTo>
                  <a:lnTo>
                    <a:pt x="39" y="90"/>
                  </a:lnTo>
                  <a:lnTo>
                    <a:pt x="51" y="68"/>
                  </a:lnTo>
                  <a:lnTo>
                    <a:pt x="58" y="59"/>
                  </a:lnTo>
                  <a:lnTo>
                    <a:pt x="67" y="48"/>
                  </a:lnTo>
                  <a:lnTo>
                    <a:pt x="75" y="38"/>
                  </a:lnTo>
                  <a:lnTo>
                    <a:pt x="85" y="30"/>
                  </a:lnTo>
                  <a:lnTo>
                    <a:pt x="95" y="21"/>
                  </a:lnTo>
                  <a:lnTo>
                    <a:pt x="106" y="13"/>
                  </a:lnTo>
                  <a:lnTo>
                    <a:pt x="118" y="6"/>
                  </a:lnTo>
                  <a:lnTo>
                    <a:pt x="131" y="0"/>
                  </a:lnTo>
                  <a:lnTo>
                    <a:pt x="135" y="8"/>
                  </a:lnTo>
                  <a:lnTo>
                    <a:pt x="135" y="8"/>
                  </a:lnTo>
                  <a:lnTo>
                    <a:pt x="123" y="14"/>
                  </a:lnTo>
                  <a:lnTo>
                    <a:pt x="112" y="21"/>
                  </a:lnTo>
                  <a:lnTo>
                    <a:pt x="101" y="29"/>
                  </a:lnTo>
                  <a:lnTo>
                    <a:pt x="91" y="37"/>
                  </a:lnTo>
                  <a:lnTo>
                    <a:pt x="81" y="45"/>
                  </a:lnTo>
                  <a:lnTo>
                    <a:pt x="73" y="55"/>
                  </a:lnTo>
                  <a:lnTo>
                    <a:pt x="66" y="65"/>
                  </a:lnTo>
                  <a:lnTo>
                    <a:pt x="58" y="75"/>
                  </a:lnTo>
                  <a:lnTo>
                    <a:pt x="46" y="96"/>
                  </a:lnTo>
                  <a:lnTo>
                    <a:pt x="37" y="118"/>
                  </a:lnTo>
                  <a:lnTo>
                    <a:pt x="28" y="140"/>
                  </a:lnTo>
                  <a:lnTo>
                    <a:pt x="22" y="162"/>
                  </a:lnTo>
                  <a:lnTo>
                    <a:pt x="17" y="183"/>
                  </a:lnTo>
                  <a:lnTo>
                    <a:pt x="14" y="204"/>
                  </a:lnTo>
                  <a:lnTo>
                    <a:pt x="13" y="222"/>
                  </a:lnTo>
                  <a:lnTo>
                    <a:pt x="10" y="238"/>
                  </a:lnTo>
                  <a:lnTo>
                    <a:pt x="10" y="262"/>
                  </a:lnTo>
                  <a:lnTo>
                    <a:pt x="10" y="272"/>
                  </a:lnTo>
                  <a:lnTo>
                    <a:pt x="0" y="272"/>
                  </a:lnTo>
                  <a:close/>
                </a:path>
              </a:pathLst>
            </a:custGeom>
            <a:solidFill>
              <a:srgbClr val="A5DA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E96440E-0B1F-9A44-B582-ADF6A4BBD1DF}"/>
              </a:ext>
            </a:extLst>
          </p:cNvPr>
          <p:cNvGrpSpPr/>
          <p:nvPr/>
        </p:nvGrpSpPr>
        <p:grpSpPr>
          <a:xfrm>
            <a:off x="1312563" y="3742196"/>
            <a:ext cx="4155202" cy="2285548"/>
            <a:chOff x="5921376" y="2249488"/>
            <a:chExt cx="1760538" cy="968375"/>
          </a:xfrm>
          <a:effectLst>
            <a:outerShdw blurRad="317500" sx="102000" sy="102000" algn="ctr" rotWithShape="0">
              <a:schemeClr val="accent1">
                <a:lumMod val="75000"/>
                <a:alpha val="25000"/>
              </a:schemeClr>
            </a:outerShdw>
          </a:effectLst>
        </p:grpSpPr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7C8FF2A7-0B24-5C40-B419-B5BFEA3A7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376" y="2314575"/>
              <a:ext cx="879475" cy="903288"/>
            </a:xfrm>
            <a:custGeom>
              <a:avLst/>
              <a:gdLst>
                <a:gd name="T0" fmla="*/ 1093 w 1107"/>
                <a:gd name="T1" fmla="*/ 1136 h 1136"/>
                <a:gd name="T2" fmla="*/ 15 w 1107"/>
                <a:gd name="T3" fmla="*/ 1136 h 1136"/>
                <a:gd name="T4" fmla="*/ 15 w 1107"/>
                <a:gd name="T5" fmla="*/ 1136 h 1136"/>
                <a:gd name="T6" fmla="*/ 9 w 1107"/>
                <a:gd name="T7" fmla="*/ 1135 h 1136"/>
                <a:gd name="T8" fmla="*/ 4 w 1107"/>
                <a:gd name="T9" fmla="*/ 1132 h 1136"/>
                <a:gd name="T10" fmla="*/ 1 w 1107"/>
                <a:gd name="T11" fmla="*/ 1127 h 1136"/>
                <a:gd name="T12" fmla="*/ 0 w 1107"/>
                <a:gd name="T13" fmla="*/ 1121 h 1136"/>
                <a:gd name="T14" fmla="*/ 0 w 1107"/>
                <a:gd name="T15" fmla="*/ 15 h 1136"/>
                <a:gd name="T16" fmla="*/ 0 w 1107"/>
                <a:gd name="T17" fmla="*/ 15 h 1136"/>
                <a:gd name="T18" fmla="*/ 1 w 1107"/>
                <a:gd name="T19" fmla="*/ 9 h 1136"/>
                <a:gd name="T20" fmla="*/ 4 w 1107"/>
                <a:gd name="T21" fmla="*/ 5 h 1136"/>
                <a:gd name="T22" fmla="*/ 9 w 1107"/>
                <a:gd name="T23" fmla="*/ 1 h 1136"/>
                <a:gd name="T24" fmla="*/ 15 w 1107"/>
                <a:gd name="T25" fmla="*/ 0 h 1136"/>
                <a:gd name="T26" fmla="*/ 1093 w 1107"/>
                <a:gd name="T27" fmla="*/ 0 h 1136"/>
                <a:gd name="T28" fmla="*/ 1093 w 1107"/>
                <a:gd name="T29" fmla="*/ 0 h 1136"/>
                <a:gd name="T30" fmla="*/ 1099 w 1107"/>
                <a:gd name="T31" fmla="*/ 1 h 1136"/>
                <a:gd name="T32" fmla="*/ 1104 w 1107"/>
                <a:gd name="T33" fmla="*/ 5 h 1136"/>
                <a:gd name="T34" fmla="*/ 1106 w 1107"/>
                <a:gd name="T35" fmla="*/ 9 h 1136"/>
                <a:gd name="T36" fmla="*/ 1107 w 1107"/>
                <a:gd name="T37" fmla="*/ 15 h 1136"/>
                <a:gd name="T38" fmla="*/ 1107 w 1107"/>
                <a:gd name="T39" fmla="*/ 1121 h 1136"/>
                <a:gd name="T40" fmla="*/ 1107 w 1107"/>
                <a:gd name="T41" fmla="*/ 1121 h 1136"/>
                <a:gd name="T42" fmla="*/ 1106 w 1107"/>
                <a:gd name="T43" fmla="*/ 1127 h 1136"/>
                <a:gd name="T44" fmla="*/ 1104 w 1107"/>
                <a:gd name="T45" fmla="*/ 1132 h 1136"/>
                <a:gd name="T46" fmla="*/ 1099 w 1107"/>
                <a:gd name="T47" fmla="*/ 1135 h 1136"/>
                <a:gd name="T48" fmla="*/ 1093 w 1107"/>
                <a:gd name="T49" fmla="*/ 1136 h 1136"/>
                <a:gd name="T50" fmla="*/ 1093 w 1107"/>
                <a:gd name="T51" fmla="*/ 1136 h 1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07" h="1136">
                  <a:moveTo>
                    <a:pt x="1093" y="1136"/>
                  </a:moveTo>
                  <a:lnTo>
                    <a:pt x="15" y="1136"/>
                  </a:lnTo>
                  <a:lnTo>
                    <a:pt x="15" y="1136"/>
                  </a:lnTo>
                  <a:lnTo>
                    <a:pt x="9" y="1135"/>
                  </a:lnTo>
                  <a:lnTo>
                    <a:pt x="4" y="1132"/>
                  </a:lnTo>
                  <a:lnTo>
                    <a:pt x="1" y="1127"/>
                  </a:lnTo>
                  <a:lnTo>
                    <a:pt x="0" y="112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9"/>
                  </a:lnTo>
                  <a:lnTo>
                    <a:pt x="4" y="5"/>
                  </a:lnTo>
                  <a:lnTo>
                    <a:pt x="9" y="1"/>
                  </a:lnTo>
                  <a:lnTo>
                    <a:pt x="15" y="0"/>
                  </a:lnTo>
                  <a:lnTo>
                    <a:pt x="1093" y="0"/>
                  </a:lnTo>
                  <a:lnTo>
                    <a:pt x="1093" y="0"/>
                  </a:lnTo>
                  <a:lnTo>
                    <a:pt x="1099" y="1"/>
                  </a:lnTo>
                  <a:lnTo>
                    <a:pt x="1104" y="5"/>
                  </a:lnTo>
                  <a:lnTo>
                    <a:pt x="1106" y="9"/>
                  </a:lnTo>
                  <a:lnTo>
                    <a:pt x="1107" y="15"/>
                  </a:lnTo>
                  <a:lnTo>
                    <a:pt x="1107" y="1121"/>
                  </a:lnTo>
                  <a:lnTo>
                    <a:pt x="1107" y="1121"/>
                  </a:lnTo>
                  <a:lnTo>
                    <a:pt x="1106" y="1127"/>
                  </a:lnTo>
                  <a:lnTo>
                    <a:pt x="1104" y="1132"/>
                  </a:lnTo>
                  <a:lnTo>
                    <a:pt x="1099" y="1135"/>
                  </a:lnTo>
                  <a:lnTo>
                    <a:pt x="1093" y="1136"/>
                  </a:lnTo>
                  <a:lnTo>
                    <a:pt x="1093" y="113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491">
              <a:extLst>
                <a:ext uri="{FF2B5EF4-FFF2-40B4-BE49-F238E27FC236}">
                  <a16:creationId xmlns:a16="http://schemas.microsoft.com/office/drawing/2014/main" id="{D3CE2A9B-8EB2-AF46-9CD3-565D110D93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8688" y="2339975"/>
              <a:ext cx="792163" cy="814388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492">
              <a:extLst>
                <a:ext uri="{FF2B5EF4-FFF2-40B4-BE49-F238E27FC236}">
                  <a16:creationId xmlns:a16="http://schemas.microsoft.com/office/drawing/2014/main" id="{402B3318-C075-5F41-9EF8-77688C7CD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1" y="2249488"/>
              <a:ext cx="819150" cy="904875"/>
            </a:xfrm>
            <a:custGeom>
              <a:avLst/>
              <a:gdLst>
                <a:gd name="T0" fmla="*/ 0 w 1033"/>
                <a:gd name="T1" fmla="*/ 1141 h 1141"/>
                <a:gd name="T2" fmla="*/ 0 w 1033"/>
                <a:gd name="T3" fmla="*/ 1141 h 1141"/>
                <a:gd name="T4" fmla="*/ 0 w 1033"/>
                <a:gd name="T5" fmla="*/ 1141 h 1141"/>
                <a:gd name="T6" fmla="*/ 63 w 1033"/>
                <a:gd name="T7" fmla="*/ 1122 h 1141"/>
                <a:gd name="T8" fmla="*/ 127 w 1033"/>
                <a:gd name="T9" fmla="*/ 1105 h 1141"/>
                <a:gd name="T10" fmla="*/ 192 w 1033"/>
                <a:gd name="T11" fmla="*/ 1092 h 1141"/>
                <a:gd name="T12" fmla="*/ 257 w 1033"/>
                <a:gd name="T13" fmla="*/ 1080 h 1141"/>
                <a:gd name="T14" fmla="*/ 321 w 1033"/>
                <a:gd name="T15" fmla="*/ 1072 h 1141"/>
                <a:gd name="T16" fmla="*/ 386 w 1033"/>
                <a:gd name="T17" fmla="*/ 1066 h 1141"/>
                <a:gd name="T18" fmla="*/ 452 w 1033"/>
                <a:gd name="T19" fmla="*/ 1061 h 1141"/>
                <a:gd name="T20" fmla="*/ 517 w 1033"/>
                <a:gd name="T21" fmla="*/ 1060 h 1141"/>
                <a:gd name="T22" fmla="*/ 582 w 1033"/>
                <a:gd name="T23" fmla="*/ 1061 h 1141"/>
                <a:gd name="T24" fmla="*/ 647 w 1033"/>
                <a:gd name="T25" fmla="*/ 1066 h 1141"/>
                <a:gd name="T26" fmla="*/ 713 w 1033"/>
                <a:gd name="T27" fmla="*/ 1072 h 1141"/>
                <a:gd name="T28" fmla="*/ 778 w 1033"/>
                <a:gd name="T29" fmla="*/ 1080 h 1141"/>
                <a:gd name="T30" fmla="*/ 842 w 1033"/>
                <a:gd name="T31" fmla="*/ 1092 h 1141"/>
                <a:gd name="T32" fmla="*/ 906 w 1033"/>
                <a:gd name="T33" fmla="*/ 1105 h 1141"/>
                <a:gd name="T34" fmla="*/ 970 w 1033"/>
                <a:gd name="T35" fmla="*/ 1122 h 1141"/>
                <a:gd name="T36" fmla="*/ 1033 w 1033"/>
                <a:gd name="T37" fmla="*/ 1141 h 1141"/>
                <a:gd name="T38" fmla="*/ 1033 w 1033"/>
                <a:gd name="T39" fmla="*/ 1141 h 1141"/>
                <a:gd name="T40" fmla="*/ 1033 w 1033"/>
                <a:gd name="T41" fmla="*/ 81 h 1141"/>
                <a:gd name="T42" fmla="*/ 1033 w 1033"/>
                <a:gd name="T43" fmla="*/ 81 h 1141"/>
                <a:gd name="T44" fmla="*/ 1033 w 1033"/>
                <a:gd name="T45" fmla="*/ 81 h 1141"/>
                <a:gd name="T46" fmla="*/ 970 w 1033"/>
                <a:gd name="T47" fmla="*/ 62 h 1141"/>
                <a:gd name="T48" fmla="*/ 906 w 1033"/>
                <a:gd name="T49" fmla="*/ 45 h 1141"/>
                <a:gd name="T50" fmla="*/ 842 w 1033"/>
                <a:gd name="T51" fmla="*/ 32 h 1141"/>
                <a:gd name="T52" fmla="*/ 778 w 1033"/>
                <a:gd name="T53" fmla="*/ 20 h 1141"/>
                <a:gd name="T54" fmla="*/ 713 w 1033"/>
                <a:gd name="T55" fmla="*/ 11 h 1141"/>
                <a:gd name="T56" fmla="*/ 647 w 1033"/>
                <a:gd name="T57" fmla="*/ 5 h 1141"/>
                <a:gd name="T58" fmla="*/ 582 w 1033"/>
                <a:gd name="T59" fmla="*/ 1 h 1141"/>
                <a:gd name="T60" fmla="*/ 517 w 1033"/>
                <a:gd name="T61" fmla="*/ 0 h 1141"/>
                <a:gd name="T62" fmla="*/ 452 w 1033"/>
                <a:gd name="T63" fmla="*/ 1 h 1141"/>
                <a:gd name="T64" fmla="*/ 386 w 1033"/>
                <a:gd name="T65" fmla="*/ 5 h 1141"/>
                <a:gd name="T66" fmla="*/ 321 w 1033"/>
                <a:gd name="T67" fmla="*/ 11 h 1141"/>
                <a:gd name="T68" fmla="*/ 257 w 1033"/>
                <a:gd name="T69" fmla="*/ 20 h 1141"/>
                <a:gd name="T70" fmla="*/ 192 w 1033"/>
                <a:gd name="T71" fmla="*/ 32 h 1141"/>
                <a:gd name="T72" fmla="*/ 127 w 1033"/>
                <a:gd name="T73" fmla="*/ 45 h 1141"/>
                <a:gd name="T74" fmla="*/ 63 w 1033"/>
                <a:gd name="T75" fmla="*/ 62 h 1141"/>
                <a:gd name="T76" fmla="*/ 0 w 1033"/>
                <a:gd name="T77" fmla="*/ 81 h 1141"/>
                <a:gd name="T78" fmla="*/ 0 w 1033"/>
                <a:gd name="T79" fmla="*/ 81 h 1141"/>
                <a:gd name="T80" fmla="*/ 0 w 1033"/>
                <a:gd name="T81" fmla="*/ 1141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33" h="1141">
                  <a:moveTo>
                    <a:pt x="0" y="1141"/>
                  </a:moveTo>
                  <a:lnTo>
                    <a:pt x="0" y="1141"/>
                  </a:lnTo>
                  <a:lnTo>
                    <a:pt x="0" y="1141"/>
                  </a:lnTo>
                  <a:lnTo>
                    <a:pt x="63" y="1122"/>
                  </a:lnTo>
                  <a:lnTo>
                    <a:pt x="127" y="1105"/>
                  </a:lnTo>
                  <a:lnTo>
                    <a:pt x="192" y="1092"/>
                  </a:lnTo>
                  <a:lnTo>
                    <a:pt x="257" y="1080"/>
                  </a:lnTo>
                  <a:lnTo>
                    <a:pt x="321" y="1072"/>
                  </a:lnTo>
                  <a:lnTo>
                    <a:pt x="386" y="1066"/>
                  </a:lnTo>
                  <a:lnTo>
                    <a:pt x="452" y="1061"/>
                  </a:lnTo>
                  <a:lnTo>
                    <a:pt x="517" y="1060"/>
                  </a:lnTo>
                  <a:lnTo>
                    <a:pt x="582" y="1061"/>
                  </a:lnTo>
                  <a:lnTo>
                    <a:pt x="647" y="1066"/>
                  </a:lnTo>
                  <a:lnTo>
                    <a:pt x="713" y="1072"/>
                  </a:lnTo>
                  <a:lnTo>
                    <a:pt x="778" y="1080"/>
                  </a:lnTo>
                  <a:lnTo>
                    <a:pt x="842" y="1092"/>
                  </a:lnTo>
                  <a:lnTo>
                    <a:pt x="906" y="1105"/>
                  </a:lnTo>
                  <a:lnTo>
                    <a:pt x="970" y="1122"/>
                  </a:lnTo>
                  <a:lnTo>
                    <a:pt x="1033" y="1141"/>
                  </a:lnTo>
                  <a:lnTo>
                    <a:pt x="1033" y="1141"/>
                  </a:lnTo>
                  <a:lnTo>
                    <a:pt x="1033" y="81"/>
                  </a:lnTo>
                  <a:lnTo>
                    <a:pt x="1033" y="81"/>
                  </a:lnTo>
                  <a:lnTo>
                    <a:pt x="1033" y="81"/>
                  </a:lnTo>
                  <a:lnTo>
                    <a:pt x="970" y="62"/>
                  </a:lnTo>
                  <a:lnTo>
                    <a:pt x="906" y="45"/>
                  </a:lnTo>
                  <a:lnTo>
                    <a:pt x="842" y="32"/>
                  </a:lnTo>
                  <a:lnTo>
                    <a:pt x="778" y="20"/>
                  </a:lnTo>
                  <a:lnTo>
                    <a:pt x="713" y="11"/>
                  </a:lnTo>
                  <a:lnTo>
                    <a:pt x="647" y="5"/>
                  </a:lnTo>
                  <a:lnTo>
                    <a:pt x="582" y="1"/>
                  </a:lnTo>
                  <a:lnTo>
                    <a:pt x="517" y="0"/>
                  </a:lnTo>
                  <a:lnTo>
                    <a:pt x="452" y="1"/>
                  </a:lnTo>
                  <a:lnTo>
                    <a:pt x="386" y="5"/>
                  </a:lnTo>
                  <a:lnTo>
                    <a:pt x="321" y="11"/>
                  </a:lnTo>
                  <a:lnTo>
                    <a:pt x="257" y="20"/>
                  </a:lnTo>
                  <a:lnTo>
                    <a:pt x="192" y="32"/>
                  </a:lnTo>
                  <a:lnTo>
                    <a:pt x="127" y="45"/>
                  </a:lnTo>
                  <a:lnTo>
                    <a:pt x="63" y="6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493">
              <a:extLst>
                <a:ext uri="{FF2B5EF4-FFF2-40B4-BE49-F238E27FC236}">
                  <a16:creationId xmlns:a16="http://schemas.microsoft.com/office/drawing/2014/main" id="{0603F0F1-B950-B942-A656-2C89B7E44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063" y="2366963"/>
              <a:ext cx="633413" cy="49213"/>
            </a:xfrm>
            <a:custGeom>
              <a:avLst/>
              <a:gdLst>
                <a:gd name="T0" fmla="*/ 798 w 798"/>
                <a:gd name="T1" fmla="*/ 63 h 63"/>
                <a:gd name="T2" fmla="*/ 798 w 798"/>
                <a:gd name="T3" fmla="*/ 63 h 63"/>
                <a:gd name="T4" fmla="*/ 798 w 798"/>
                <a:gd name="T5" fmla="*/ 63 h 63"/>
                <a:gd name="T6" fmla="*/ 748 w 798"/>
                <a:gd name="T7" fmla="*/ 48 h 63"/>
                <a:gd name="T8" fmla="*/ 700 w 798"/>
                <a:gd name="T9" fmla="*/ 36 h 63"/>
                <a:gd name="T10" fmla="*/ 650 w 798"/>
                <a:gd name="T11" fmla="*/ 25 h 63"/>
                <a:gd name="T12" fmla="*/ 600 w 798"/>
                <a:gd name="T13" fmla="*/ 16 h 63"/>
                <a:gd name="T14" fmla="*/ 550 w 798"/>
                <a:gd name="T15" fmla="*/ 10 h 63"/>
                <a:gd name="T16" fmla="*/ 499 w 798"/>
                <a:gd name="T17" fmla="*/ 5 h 63"/>
                <a:gd name="T18" fmla="*/ 450 w 798"/>
                <a:gd name="T19" fmla="*/ 1 h 63"/>
                <a:gd name="T20" fmla="*/ 399 w 798"/>
                <a:gd name="T21" fmla="*/ 0 h 63"/>
                <a:gd name="T22" fmla="*/ 348 w 798"/>
                <a:gd name="T23" fmla="*/ 1 h 63"/>
                <a:gd name="T24" fmla="*/ 298 w 798"/>
                <a:gd name="T25" fmla="*/ 5 h 63"/>
                <a:gd name="T26" fmla="*/ 248 w 798"/>
                <a:gd name="T27" fmla="*/ 10 h 63"/>
                <a:gd name="T28" fmla="*/ 198 w 798"/>
                <a:gd name="T29" fmla="*/ 16 h 63"/>
                <a:gd name="T30" fmla="*/ 148 w 798"/>
                <a:gd name="T31" fmla="*/ 25 h 63"/>
                <a:gd name="T32" fmla="*/ 99 w 798"/>
                <a:gd name="T33" fmla="*/ 36 h 63"/>
                <a:gd name="T34" fmla="*/ 49 w 798"/>
                <a:gd name="T35" fmla="*/ 48 h 63"/>
                <a:gd name="T36" fmla="*/ 0 w 798"/>
                <a:gd name="T3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8" h="63">
                  <a:moveTo>
                    <a:pt x="798" y="63"/>
                  </a:moveTo>
                  <a:lnTo>
                    <a:pt x="798" y="63"/>
                  </a:lnTo>
                  <a:lnTo>
                    <a:pt x="798" y="63"/>
                  </a:lnTo>
                  <a:lnTo>
                    <a:pt x="748" y="48"/>
                  </a:lnTo>
                  <a:lnTo>
                    <a:pt x="700" y="36"/>
                  </a:lnTo>
                  <a:lnTo>
                    <a:pt x="650" y="25"/>
                  </a:lnTo>
                  <a:lnTo>
                    <a:pt x="600" y="16"/>
                  </a:lnTo>
                  <a:lnTo>
                    <a:pt x="550" y="10"/>
                  </a:lnTo>
                  <a:lnTo>
                    <a:pt x="499" y="5"/>
                  </a:lnTo>
                  <a:lnTo>
                    <a:pt x="450" y="1"/>
                  </a:lnTo>
                  <a:lnTo>
                    <a:pt x="399" y="0"/>
                  </a:lnTo>
                  <a:lnTo>
                    <a:pt x="348" y="1"/>
                  </a:lnTo>
                  <a:lnTo>
                    <a:pt x="298" y="5"/>
                  </a:lnTo>
                  <a:lnTo>
                    <a:pt x="248" y="10"/>
                  </a:lnTo>
                  <a:lnTo>
                    <a:pt x="198" y="16"/>
                  </a:lnTo>
                  <a:lnTo>
                    <a:pt x="148" y="25"/>
                  </a:lnTo>
                  <a:lnTo>
                    <a:pt x="99" y="36"/>
                  </a:lnTo>
                  <a:lnTo>
                    <a:pt x="49" y="48"/>
                  </a:lnTo>
                  <a:lnTo>
                    <a:pt x="0" y="63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494">
              <a:extLst>
                <a:ext uri="{FF2B5EF4-FFF2-40B4-BE49-F238E27FC236}">
                  <a16:creationId xmlns:a16="http://schemas.microsoft.com/office/drawing/2014/main" id="{920F7C58-2AC0-D04B-94A2-CF5D8C3A8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063" y="2446338"/>
              <a:ext cx="633413" cy="50800"/>
            </a:xfrm>
            <a:custGeom>
              <a:avLst/>
              <a:gdLst>
                <a:gd name="T0" fmla="*/ 798 w 798"/>
                <a:gd name="T1" fmla="*/ 63 h 63"/>
                <a:gd name="T2" fmla="*/ 798 w 798"/>
                <a:gd name="T3" fmla="*/ 63 h 63"/>
                <a:gd name="T4" fmla="*/ 798 w 798"/>
                <a:gd name="T5" fmla="*/ 63 h 63"/>
                <a:gd name="T6" fmla="*/ 748 w 798"/>
                <a:gd name="T7" fmla="*/ 49 h 63"/>
                <a:gd name="T8" fmla="*/ 700 w 798"/>
                <a:gd name="T9" fmla="*/ 35 h 63"/>
                <a:gd name="T10" fmla="*/ 650 w 798"/>
                <a:gd name="T11" fmla="*/ 25 h 63"/>
                <a:gd name="T12" fmla="*/ 600 w 798"/>
                <a:gd name="T13" fmla="*/ 16 h 63"/>
                <a:gd name="T14" fmla="*/ 550 w 798"/>
                <a:gd name="T15" fmla="*/ 9 h 63"/>
                <a:gd name="T16" fmla="*/ 499 w 798"/>
                <a:gd name="T17" fmla="*/ 4 h 63"/>
                <a:gd name="T18" fmla="*/ 450 w 798"/>
                <a:gd name="T19" fmla="*/ 2 h 63"/>
                <a:gd name="T20" fmla="*/ 399 w 798"/>
                <a:gd name="T21" fmla="*/ 0 h 63"/>
                <a:gd name="T22" fmla="*/ 348 w 798"/>
                <a:gd name="T23" fmla="*/ 2 h 63"/>
                <a:gd name="T24" fmla="*/ 298 w 798"/>
                <a:gd name="T25" fmla="*/ 4 h 63"/>
                <a:gd name="T26" fmla="*/ 248 w 798"/>
                <a:gd name="T27" fmla="*/ 9 h 63"/>
                <a:gd name="T28" fmla="*/ 198 w 798"/>
                <a:gd name="T29" fmla="*/ 16 h 63"/>
                <a:gd name="T30" fmla="*/ 148 w 798"/>
                <a:gd name="T31" fmla="*/ 25 h 63"/>
                <a:gd name="T32" fmla="*/ 99 w 798"/>
                <a:gd name="T33" fmla="*/ 35 h 63"/>
                <a:gd name="T34" fmla="*/ 49 w 798"/>
                <a:gd name="T35" fmla="*/ 49 h 63"/>
                <a:gd name="T36" fmla="*/ 0 w 798"/>
                <a:gd name="T3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8" h="63">
                  <a:moveTo>
                    <a:pt x="798" y="63"/>
                  </a:moveTo>
                  <a:lnTo>
                    <a:pt x="798" y="63"/>
                  </a:lnTo>
                  <a:lnTo>
                    <a:pt x="798" y="63"/>
                  </a:lnTo>
                  <a:lnTo>
                    <a:pt x="748" y="49"/>
                  </a:lnTo>
                  <a:lnTo>
                    <a:pt x="700" y="35"/>
                  </a:lnTo>
                  <a:lnTo>
                    <a:pt x="650" y="25"/>
                  </a:lnTo>
                  <a:lnTo>
                    <a:pt x="600" y="16"/>
                  </a:lnTo>
                  <a:lnTo>
                    <a:pt x="550" y="9"/>
                  </a:lnTo>
                  <a:lnTo>
                    <a:pt x="499" y="4"/>
                  </a:lnTo>
                  <a:lnTo>
                    <a:pt x="450" y="2"/>
                  </a:lnTo>
                  <a:lnTo>
                    <a:pt x="399" y="0"/>
                  </a:lnTo>
                  <a:lnTo>
                    <a:pt x="348" y="2"/>
                  </a:lnTo>
                  <a:lnTo>
                    <a:pt x="298" y="4"/>
                  </a:lnTo>
                  <a:lnTo>
                    <a:pt x="248" y="9"/>
                  </a:lnTo>
                  <a:lnTo>
                    <a:pt x="198" y="16"/>
                  </a:lnTo>
                  <a:lnTo>
                    <a:pt x="148" y="25"/>
                  </a:lnTo>
                  <a:lnTo>
                    <a:pt x="99" y="35"/>
                  </a:lnTo>
                  <a:lnTo>
                    <a:pt x="49" y="49"/>
                  </a:lnTo>
                  <a:lnTo>
                    <a:pt x="0" y="63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495">
              <a:extLst>
                <a:ext uri="{FF2B5EF4-FFF2-40B4-BE49-F238E27FC236}">
                  <a16:creationId xmlns:a16="http://schemas.microsoft.com/office/drawing/2014/main" id="{29CF53DA-1E33-E243-876A-627EEBC20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063" y="2525713"/>
              <a:ext cx="633413" cy="49213"/>
            </a:xfrm>
            <a:custGeom>
              <a:avLst/>
              <a:gdLst>
                <a:gd name="T0" fmla="*/ 798 w 798"/>
                <a:gd name="T1" fmla="*/ 62 h 62"/>
                <a:gd name="T2" fmla="*/ 798 w 798"/>
                <a:gd name="T3" fmla="*/ 62 h 62"/>
                <a:gd name="T4" fmla="*/ 798 w 798"/>
                <a:gd name="T5" fmla="*/ 62 h 62"/>
                <a:gd name="T6" fmla="*/ 748 w 798"/>
                <a:gd name="T7" fmla="*/ 48 h 62"/>
                <a:gd name="T8" fmla="*/ 700 w 798"/>
                <a:gd name="T9" fmla="*/ 35 h 62"/>
                <a:gd name="T10" fmla="*/ 650 w 798"/>
                <a:gd name="T11" fmla="*/ 25 h 62"/>
                <a:gd name="T12" fmla="*/ 600 w 798"/>
                <a:gd name="T13" fmla="*/ 15 h 62"/>
                <a:gd name="T14" fmla="*/ 550 w 798"/>
                <a:gd name="T15" fmla="*/ 9 h 62"/>
                <a:gd name="T16" fmla="*/ 499 w 798"/>
                <a:gd name="T17" fmla="*/ 4 h 62"/>
                <a:gd name="T18" fmla="*/ 450 w 798"/>
                <a:gd name="T19" fmla="*/ 1 h 62"/>
                <a:gd name="T20" fmla="*/ 399 w 798"/>
                <a:gd name="T21" fmla="*/ 0 h 62"/>
                <a:gd name="T22" fmla="*/ 348 w 798"/>
                <a:gd name="T23" fmla="*/ 1 h 62"/>
                <a:gd name="T24" fmla="*/ 298 w 798"/>
                <a:gd name="T25" fmla="*/ 4 h 62"/>
                <a:gd name="T26" fmla="*/ 248 w 798"/>
                <a:gd name="T27" fmla="*/ 9 h 62"/>
                <a:gd name="T28" fmla="*/ 198 w 798"/>
                <a:gd name="T29" fmla="*/ 15 h 62"/>
                <a:gd name="T30" fmla="*/ 148 w 798"/>
                <a:gd name="T31" fmla="*/ 25 h 62"/>
                <a:gd name="T32" fmla="*/ 99 w 798"/>
                <a:gd name="T33" fmla="*/ 35 h 62"/>
                <a:gd name="T34" fmla="*/ 49 w 798"/>
                <a:gd name="T35" fmla="*/ 48 h 62"/>
                <a:gd name="T36" fmla="*/ 0 w 798"/>
                <a:gd name="T3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8" h="62">
                  <a:moveTo>
                    <a:pt x="798" y="62"/>
                  </a:moveTo>
                  <a:lnTo>
                    <a:pt x="798" y="62"/>
                  </a:lnTo>
                  <a:lnTo>
                    <a:pt x="798" y="62"/>
                  </a:lnTo>
                  <a:lnTo>
                    <a:pt x="748" y="48"/>
                  </a:lnTo>
                  <a:lnTo>
                    <a:pt x="700" y="35"/>
                  </a:lnTo>
                  <a:lnTo>
                    <a:pt x="650" y="25"/>
                  </a:lnTo>
                  <a:lnTo>
                    <a:pt x="600" y="15"/>
                  </a:lnTo>
                  <a:lnTo>
                    <a:pt x="550" y="9"/>
                  </a:lnTo>
                  <a:lnTo>
                    <a:pt x="499" y="4"/>
                  </a:lnTo>
                  <a:lnTo>
                    <a:pt x="450" y="1"/>
                  </a:lnTo>
                  <a:lnTo>
                    <a:pt x="399" y="0"/>
                  </a:lnTo>
                  <a:lnTo>
                    <a:pt x="348" y="1"/>
                  </a:lnTo>
                  <a:lnTo>
                    <a:pt x="298" y="4"/>
                  </a:lnTo>
                  <a:lnTo>
                    <a:pt x="248" y="9"/>
                  </a:lnTo>
                  <a:lnTo>
                    <a:pt x="198" y="15"/>
                  </a:lnTo>
                  <a:lnTo>
                    <a:pt x="148" y="25"/>
                  </a:lnTo>
                  <a:lnTo>
                    <a:pt x="99" y="35"/>
                  </a:lnTo>
                  <a:lnTo>
                    <a:pt x="49" y="48"/>
                  </a:lnTo>
                  <a:lnTo>
                    <a:pt x="0" y="62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496">
              <a:extLst>
                <a:ext uri="{FF2B5EF4-FFF2-40B4-BE49-F238E27FC236}">
                  <a16:creationId xmlns:a16="http://schemas.microsoft.com/office/drawing/2014/main" id="{1E0AF7E5-858C-B54B-8112-116DF9450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063" y="2605088"/>
              <a:ext cx="633413" cy="49213"/>
            </a:xfrm>
            <a:custGeom>
              <a:avLst/>
              <a:gdLst>
                <a:gd name="T0" fmla="*/ 798 w 798"/>
                <a:gd name="T1" fmla="*/ 62 h 62"/>
                <a:gd name="T2" fmla="*/ 798 w 798"/>
                <a:gd name="T3" fmla="*/ 62 h 62"/>
                <a:gd name="T4" fmla="*/ 798 w 798"/>
                <a:gd name="T5" fmla="*/ 62 h 62"/>
                <a:gd name="T6" fmla="*/ 748 w 798"/>
                <a:gd name="T7" fmla="*/ 47 h 62"/>
                <a:gd name="T8" fmla="*/ 700 w 798"/>
                <a:gd name="T9" fmla="*/ 35 h 62"/>
                <a:gd name="T10" fmla="*/ 650 w 798"/>
                <a:gd name="T11" fmla="*/ 24 h 62"/>
                <a:gd name="T12" fmla="*/ 600 w 798"/>
                <a:gd name="T13" fmla="*/ 16 h 62"/>
                <a:gd name="T14" fmla="*/ 550 w 798"/>
                <a:gd name="T15" fmla="*/ 8 h 62"/>
                <a:gd name="T16" fmla="*/ 499 w 798"/>
                <a:gd name="T17" fmla="*/ 3 h 62"/>
                <a:gd name="T18" fmla="*/ 450 w 798"/>
                <a:gd name="T19" fmla="*/ 1 h 62"/>
                <a:gd name="T20" fmla="*/ 399 w 798"/>
                <a:gd name="T21" fmla="*/ 0 h 62"/>
                <a:gd name="T22" fmla="*/ 348 w 798"/>
                <a:gd name="T23" fmla="*/ 1 h 62"/>
                <a:gd name="T24" fmla="*/ 298 w 798"/>
                <a:gd name="T25" fmla="*/ 3 h 62"/>
                <a:gd name="T26" fmla="*/ 248 w 798"/>
                <a:gd name="T27" fmla="*/ 8 h 62"/>
                <a:gd name="T28" fmla="*/ 198 w 798"/>
                <a:gd name="T29" fmla="*/ 16 h 62"/>
                <a:gd name="T30" fmla="*/ 148 w 798"/>
                <a:gd name="T31" fmla="*/ 24 h 62"/>
                <a:gd name="T32" fmla="*/ 99 w 798"/>
                <a:gd name="T33" fmla="*/ 35 h 62"/>
                <a:gd name="T34" fmla="*/ 49 w 798"/>
                <a:gd name="T35" fmla="*/ 47 h 62"/>
                <a:gd name="T36" fmla="*/ 0 w 798"/>
                <a:gd name="T3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8" h="62">
                  <a:moveTo>
                    <a:pt x="798" y="62"/>
                  </a:moveTo>
                  <a:lnTo>
                    <a:pt x="798" y="62"/>
                  </a:lnTo>
                  <a:lnTo>
                    <a:pt x="798" y="62"/>
                  </a:lnTo>
                  <a:lnTo>
                    <a:pt x="748" y="47"/>
                  </a:lnTo>
                  <a:lnTo>
                    <a:pt x="700" y="35"/>
                  </a:lnTo>
                  <a:lnTo>
                    <a:pt x="650" y="24"/>
                  </a:lnTo>
                  <a:lnTo>
                    <a:pt x="600" y="16"/>
                  </a:lnTo>
                  <a:lnTo>
                    <a:pt x="550" y="8"/>
                  </a:lnTo>
                  <a:lnTo>
                    <a:pt x="499" y="3"/>
                  </a:lnTo>
                  <a:lnTo>
                    <a:pt x="450" y="1"/>
                  </a:lnTo>
                  <a:lnTo>
                    <a:pt x="399" y="0"/>
                  </a:lnTo>
                  <a:lnTo>
                    <a:pt x="348" y="1"/>
                  </a:lnTo>
                  <a:lnTo>
                    <a:pt x="298" y="3"/>
                  </a:lnTo>
                  <a:lnTo>
                    <a:pt x="248" y="8"/>
                  </a:lnTo>
                  <a:lnTo>
                    <a:pt x="198" y="16"/>
                  </a:lnTo>
                  <a:lnTo>
                    <a:pt x="148" y="24"/>
                  </a:lnTo>
                  <a:lnTo>
                    <a:pt x="99" y="35"/>
                  </a:lnTo>
                  <a:lnTo>
                    <a:pt x="49" y="47"/>
                  </a:lnTo>
                  <a:lnTo>
                    <a:pt x="0" y="62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497">
              <a:extLst>
                <a:ext uri="{FF2B5EF4-FFF2-40B4-BE49-F238E27FC236}">
                  <a16:creationId xmlns:a16="http://schemas.microsoft.com/office/drawing/2014/main" id="{A2E4B194-96C9-9247-9FE7-9DDEA5058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063" y="2684463"/>
              <a:ext cx="633413" cy="49213"/>
            </a:xfrm>
            <a:custGeom>
              <a:avLst/>
              <a:gdLst>
                <a:gd name="T0" fmla="*/ 798 w 798"/>
                <a:gd name="T1" fmla="*/ 63 h 63"/>
                <a:gd name="T2" fmla="*/ 798 w 798"/>
                <a:gd name="T3" fmla="*/ 63 h 63"/>
                <a:gd name="T4" fmla="*/ 798 w 798"/>
                <a:gd name="T5" fmla="*/ 63 h 63"/>
                <a:gd name="T6" fmla="*/ 748 w 798"/>
                <a:gd name="T7" fmla="*/ 48 h 63"/>
                <a:gd name="T8" fmla="*/ 700 w 798"/>
                <a:gd name="T9" fmla="*/ 35 h 63"/>
                <a:gd name="T10" fmla="*/ 650 w 798"/>
                <a:gd name="T11" fmla="*/ 24 h 63"/>
                <a:gd name="T12" fmla="*/ 600 w 798"/>
                <a:gd name="T13" fmla="*/ 16 h 63"/>
                <a:gd name="T14" fmla="*/ 550 w 798"/>
                <a:gd name="T15" fmla="*/ 8 h 63"/>
                <a:gd name="T16" fmla="*/ 499 w 798"/>
                <a:gd name="T17" fmla="*/ 4 h 63"/>
                <a:gd name="T18" fmla="*/ 450 w 798"/>
                <a:gd name="T19" fmla="*/ 1 h 63"/>
                <a:gd name="T20" fmla="*/ 399 w 798"/>
                <a:gd name="T21" fmla="*/ 0 h 63"/>
                <a:gd name="T22" fmla="*/ 348 w 798"/>
                <a:gd name="T23" fmla="*/ 1 h 63"/>
                <a:gd name="T24" fmla="*/ 298 w 798"/>
                <a:gd name="T25" fmla="*/ 4 h 63"/>
                <a:gd name="T26" fmla="*/ 248 w 798"/>
                <a:gd name="T27" fmla="*/ 8 h 63"/>
                <a:gd name="T28" fmla="*/ 198 w 798"/>
                <a:gd name="T29" fmla="*/ 16 h 63"/>
                <a:gd name="T30" fmla="*/ 148 w 798"/>
                <a:gd name="T31" fmla="*/ 24 h 63"/>
                <a:gd name="T32" fmla="*/ 99 w 798"/>
                <a:gd name="T33" fmla="*/ 35 h 63"/>
                <a:gd name="T34" fmla="*/ 49 w 798"/>
                <a:gd name="T35" fmla="*/ 48 h 63"/>
                <a:gd name="T36" fmla="*/ 0 w 798"/>
                <a:gd name="T3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8" h="63">
                  <a:moveTo>
                    <a:pt x="798" y="63"/>
                  </a:moveTo>
                  <a:lnTo>
                    <a:pt x="798" y="63"/>
                  </a:lnTo>
                  <a:lnTo>
                    <a:pt x="798" y="63"/>
                  </a:lnTo>
                  <a:lnTo>
                    <a:pt x="748" y="48"/>
                  </a:lnTo>
                  <a:lnTo>
                    <a:pt x="700" y="35"/>
                  </a:lnTo>
                  <a:lnTo>
                    <a:pt x="650" y="24"/>
                  </a:lnTo>
                  <a:lnTo>
                    <a:pt x="600" y="16"/>
                  </a:lnTo>
                  <a:lnTo>
                    <a:pt x="550" y="8"/>
                  </a:lnTo>
                  <a:lnTo>
                    <a:pt x="499" y="4"/>
                  </a:lnTo>
                  <a:lnTo>
                    <a:pt x="450" y="1"/>
                  </a:lnTo>
                  <a:lnTo>
                    <a:pt x="399" y="0"/>
                  </a:lnTo>
                  <a:lnTo>
                    <a:pt x="348" y="1"/>
                  </a:lnTo>
                  <a:lnTo>
                    <a:pt x="298" y="4"/>
                  </a:lnTo>
                  <a:lnTo>
                    <a:pt x="248" y="8"/>
                  </a:lnTo>
                  <a:lnTo>
                    <a:pt x="198" y="16"/>
                  </a:lnTo>
                  <a:lnTo>
                    <a:pt x="148" y="24"/>
                  </a:lnTo>
                  <a:lnTo>
                    <a:pt x="99" y="35"/>
                  </a:lnTo>
                  <a:lnTo>
                    <a:pt x="49" y="48"/>
                  </a:lnTo>
                  <a:lnTo>
                    <a:pt x="0" y="63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498">
              <a:extLst>
                <a:ext uri="{FF2B5EF4-FFF2-40B4-BE49-F238E27FC236}">
                  <a16:creationId xmlns:a16="http://schemas.microsoft.com/office/drawing/2014/main" id="{941833A8-1E5A-DF4A-806C-4B609AE72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063" y="2763838"/>
              <a:ext cx="633413" cy="49213"/>
            </a:xfrm>
            <a:custGeom>
              <a:avLst/>
              <a:gdLst>
                <a:gd name="T0" fmla="*/ 798 w 798"/>
                <a:gd name="T1" fmla="*/ 62 h 62"/>
                <a:gd name="T2" fmla="*/ 798 w 798"/>
                <a:gd name="T3" fmla="*/ 62 h 62"/>
                <a:gd name="T4" fmla="*/ 798 w 798"/>
                <a:gd name="T5" fmla="*/ 62 h 62"/>
                <a:gd name="T6" fmla="*/ 748 w 798"/>
                <a:gd name="T7" fmla="*/ 48 h 62"/>
                <a:gd name="T8" fmla="*/ 700 w 798"/>
                <a:gd name="T9" fmla="*/ 35 h 62"/>
                <a:gd name="T10" fmla="*/ 650 w 798"/>
                <a:gd name="T11" fmla="*/ 25 h 62"/>
                <a:gd name="T12" fmla="*/ 600 w 798"/>
                <a:gd name="T13" fmla="*/ 15 h 62"/>
                <a:gd name="T14" fmla="*/ 550 w 798"/>
                <a:gd name="T15" fmla="*/ 9 h 62"/>
                <a:gd name="T16" fmla="*/ 499 w 798"/>
                <a:gd name="T17" fmla="*/ 4 h 62"/>
                <a:gd name="T18" fmla="*/ 450 w 798"/>
                <a:gd name="T19" fmla="*/ 0 h 62"/>
                <a:gd name="T20" fmla="*/ 399 w 798"/>
                <a:gd name="T21" fmla="*/ 0 h 62"/>
                <a:gd name="T22" fmla="*/ 348 w 798"/>
                <a:gd name="T23" fmla="*/ 0 h 62"/>
                <a:gd name="T24" fmla="*/ 298 w 798"/>
                <a:gd name="T25" fmla="*/ 4 h 62"/>
                <a:gd name="T26" fmla="*/ 248 w 798"/>
                <a:gd name="T27" fmla="*/ 9 h 62"/>
                <a:gd name="T28" fmla="*/ 198 w 798"/>
                <a:gd name="T29" fmla="*/ 15 h 62"/>
                <a:gd name="T30" fmla="*/ 148 w 798"/>
                <a:gd name="T31" fmla="*/ 25 h 62"/>
                <a:gd name="T32" fmla="*/ 99 w 798"/>
                <a:gd name="T33" fmla="*/ 35 h 62"/>
                <a:gd name="T34" fmla="*/ 49 w 798"/>
                <a:gd name="T35" fmla="*/ 48 h 62"/>
                <a:gd name="T36" fmla="*/ 0 w 798"/>
                <a:gd name="T3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8" h="62">
                  <a:moveTo>
                    <a:pt x="798" y="62"/>
                  </a:moveTo>
                  <a:lnTo>
                    <a:pt x="798" y="62"/>
                  </a:lnTo>
                  <a:lnTo>
                    <a:pt x="798" y="62"/>
                  </a:lnTo>
                  <a:lnTo>
                    <a:pt x="748" y="48"/>
                  </a:lnTo>
                  <a:lnTo>
                    <a:pt x="700" y="35"/>
                  </a:lnTo>
                  <a:lnTo>
                    <a:pt x="650" y="25"/>
                  </a:lnTo>
                  <a:lnTo>
                    <a:pt x="600" y="15"/>
                  </a:lnTo>
                  <a:lnTo>
                    <a:pt x="550" y="9"/>
                  </a:lnTo>
                  <a:lnTo>
                    <a:pt x="499" y="4"/>
                  </a:lnTo>
                  <a:lnTo>
                    <a:pt x="450" y="0"/>
                  </a:lnTo>
                  <a:lnTo>
                    <a:pt x="399" y="0"/>
                  </a:lnTo>
                  <a:lnTo>
                    <a:pt x="348" y="0"/>
                  </a:lnTo>
                  <a:lnTo>
                    <a:pt x="298" y="4"/>
                  </a:lnTo>
                  <a:lnTo>
                    <a:pt x="248" y="9"/>
                  </a:lnTo>
                  <a:lnTo>
                    <a:pt x="198" y="15"/>
                  </a:lnTo>
                  <a:lnTo>
                    <a:pt x="148" y="25"/>
                  </a:lnTo>
                  <a:lnTo>
                    <a:pt x="99" y="35"/>
                  </a:lnTo>
                  <a:lnTo>
                    <a:pt x="49" y="48"/>
                  </a:lnTo>
                  <a:lnTo>
                    <a:pt x="0" y="62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499">
              <a:extLst>
                <a:ext uri="{FF2B5EF4-FFF2-40B4-BE49-F238E27FC236}">
                  <a16:creationId xmlns:a16="http://schemas.microsoft.com/office/drawing/2014/main" id="{DA41013A-ADDE-494B-8B29-5D5558D85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063" y="2841625"/>
              <a:ext cx="633413" cy="50800"/>
            </a:xfrm>
            <a:custGeom>
              <a:avLst/>
              <a:gdLst>
                <a:gd name="T0" fmla="*/ 798 w 798"/>
                <a:gd name="T1" fmla="*/ 62 h 62"/>
                <a:gd name="T2" fmla="*/ 798 w 798"/>
                <a:gd name="T3" fmla="*/ 62 h 62"/>
                <a:gd name="T4" fmla="*/ 798 w 798"/>
                <a:gd name="T5" fmla="*/ 62 h 62"/>
                <a:gd name="T6" fmla="*/ 748 w 798"/>
                <a:gd name="T7" fmla="*/ 48 h 62"/>
                <a:gd name="T8" fmla="*/ 700 w 798"/>
                <a:gd name="T9" fmla="*/ 35 h 62"/>
                <a:gd name="T10" fmla="*/ 650 w 798"/>
                <a:gd name="T11" fmla="*/ 24 h 62"/>
                <a:gd name="T12" fmla="*/ 600 w 798"/>
                <a:gd name="T13" fmla="*/ 15 h 62"/>
                <a:gd name="T14" fmla="*/ 550 w 798"/>
                <a:gd name="T15" fmla="*/ 8 h 62"/>
                <a:gd name="T16" fmla="*/ 499 w 798"/>
                <a:gd name="T17" fmla="*/ 3 h 62"/>
                <a:gd name="T18" fmla="*/ 450 w 798"/>
                <a:gd name="T19" fmla="*/ 1 h 62"/>
                <a:gd name="T20" fmla="*/ 399 w 798"/>
                <a:gd name="T21" fmla="*/ 0 h 62"/>
                <a:gd name="T22" fmla="*/ 348 w 798"/>
                <a:gd name="T23" fmla="*/ 1 h 62"/>
                <a:gd name="T24" fmla="*/ 298 w 798"/>
                <a:gd name="T25" fmla="*/ 3 h 62"/>
                <a:gd name="T26" fmla="*/ 248 w 798"/>
                <a:gd name="T27" fmla="*/ 8 h 62"/>
                <a:gd name="T28" fmla="*/ 198 w 798"/>
                <a:gd name="T29" fmla="*/ 15 h 62"/>
                <a:gd name="T30" fmla="*/ 148 w 798"/>
                <a:gd name="T31" fmla="*/ 24 h 62"/>
                <a:gd name="T32" fmla="*/ 99 w 798"/>
                <a:gd name="T33" fmla="*/ 35 h 62"/>
                <a:gd name="T34" fmla="*/ 49 w 798"/>
                <a:gd name="T35" fmla="*/ 48 h 62"/>
                <a:gd name="T36" fmla="*/ 0 w 798"/>
                <a:gd name="T3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8" h="62">
                  <a:moveTo>
                    <a:pt x="798" y="62"/>
                  </a:moveTo>
                  <a:lnTo>
                    <a:pt x="798" y="62"/>
                  </a:lnTo>
                  <a:lnTo>
                    <a:pt x="798" y="62"/>
                  </a:lnTo>
                  <a:lnTo>
                    <a:pt x="748" y="48"/>
                  </a:lnTo>
                  <a:lnTo>
                    <a:pt x="700" y="35"/>
                  </a:lnTo>
                  <a:lnTo>
                    <a:pt x="650" y="24"/>
                  </a:lnTo>
                  <a:lnTo>
                    <a:pt x="600" y="15"/>
                  </a:lnTo>
                  <a:lnTo>
                    <a:pt x="550" y="8"/>
                  </a:lnTo>
                  <a:lnTo>
                    <a:pt x="499" y="3"/>
                  </a:lnTo>
                  <a:lnTo>
                    <a:pt x="450" y="1"/>
                  </a:lnTo>
                  <a:lnTo>
                    <a:pt x="399" y="0"/>
                  </a:lnTo>
                  <a:lnTo>
                    <a:pt x="348" y="1"/>
                  </a:lnTo>
                  <a:lnTo>
                    <a:pt x="298" y="3"/>
                  </a:lnTo>
                  <a:lnTo>
                    <a:pt x="248" y="8"/>
                  </a:lnTo>
                  <a:lnTo>
                    <a:pt x="198" y="15"/>
                  </a:lnTo>
                  <a:lnTo>
                    <a:pt x="148" y="24"/>
                  </a:lnTo>
                  <a:lnTo>
                    <a:pt x="99" y="35"/>
                  </a:lnTo>
                  <a:lnTo>
                    <a:pt x="49" y="48"/>
                  </a:lnTo>
                  <a:lnTo>
                    <a:pt x="0" y="62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500">
              <a:extLst>
                <a:ext uri="{FF2B5EF4-FFF2-40B4-BE49-F238E27FC236}">
                  <a16:creationId xmlns:a16="http://schemas.microsoft.com/office/drawing/2014/main" id="{FE3B061F-711F-F244-B301-FF01A6E85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063" y="2921000"/>
              <a:ext cx="633413" cy="49213"/>
            </a:xfrm>
            <a:custGeom>
              <a:avLst/>
              <a:gdLst>
                <a:gd name="T0" fmla="*/ 798 w 798"/>
                <a:gd name="T1" fmla="*/ 63 h 63"/>
                <a:gd name="T2" fmla="*/ 798 w 798"/>
                <a:gd name="T3" fmla="*/ 63 h 63"/>
                <a:gd name="T4" fmla="*/ 798 w 798"/>
                <a:gd name="T5" fmla="*/ 63 h 63"/>
                <a:gd name="T6" fmla="*/ 748 w 798"/>
                <a:gd name="T7" fmla="*/ 48 h 63"/>
                <a:gd name="T8" fmla="*/ 700 w 798"/>
                <a:gd name="T9" fmla="*/ 35 h 63"/>
                <a:gd name="T10" fmla="*/ 650 w 798"/>
                <a:gd name="T11" fmla="*/ 25 h 63"/>
                <a:gd name="T12" fmla="*/ 600 w 798"/>
                <a:gd name="T13" fmla="*/ 15 h 63"/>
                <a:gd name="T14" fmla="*/ 550 w 798"/>
                <a:gd name="T15" fmla="*/ 9 h 63"/>
                <a:gd name="T16" fmla="*/ 499 w 798"/>
                <a:gd name="T17" fmla="*/ 5 h 63"/>
                <a:gd name="T18" fmla="*/ 450 w 798"/>
                <a:gd name="T19" fmla="*/ 1 h 63"/>
                <a:gd name="T20" fmla="*/ 399 w 798"/>
                <a:gd name="T21" fmla="*/ 0 h 63"/>
                <a:gd name="T22" fmla="*/ 348 w 798"/>
                <a:gd name="T23" fmla="*/ 1 h 63"/>
                <a:gd name="T24" fmla="*/ 298 w 798"/>
                <a:gd name="T25" fmla="*/ 5 h 63"/>
                <a:gd name="T26" fmla="*/ 248 w 798"/>
                <a:gd name="T27" fmla="*/ 9 h 63"/>
                <a:gd name="T28" fmla="*/ 198 w 798"/>
                <a:gd name="T29" fmla="*/ 15 h 63"/>
                <a:gd name="T30" fmla="*/ 148 w 798"/>
                <a:gd name="T31" fmla="*/ 25 h 63"/>
                <a:gd name="T32" fmla="*/ 99 w 798"/>
                <a:gd name="T33" fmla="*/ 35 h 63"/>
                <a:gd name="T34" fmla="*/ 49 w 798"/>
                <a:gd name="T35" fmla="*/ 48 h 63"/>
                <a:gd name="T36" fmla="*/ 0 w 798"/>
                <a:gd name="T3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8" h="63">
                  <a:moveTo>
                    <a:pt x="798" y="63"/>
                  </a:moveTo>
                  <a:lnTo>
                    <a:pt x="798" y="63"/>
                  </a:lnTo>
                  <a:lnTo>
                    <a:pt x="798" y="63"/>
                  </a:lnTo>
                  <a:lnTo>
                    <a:pt x="748" y="48"/>
                  </a:lnTo>
                  <a:lnTo>
                    <a:pt x="700" y="35"/>
                  </a:lnTo>
                  <a:lnTo>
                    <a:pt x="650" y="25"/>
                  </a:lnTo>
                  <a:lnTo>
                    <a:pt x="600" y="15"/>
                  </a:lnTo>
                  <a:lnTo>
                    <a:pt x="550" y="9"/>
                  </a:lnTo>
                  <a:lnTo>
                    <a:pt x="499" y="5"/>
                  </a:lnTo>
                  <a:lnTo>
                    <a:pt x="450" y="1"/>
                  </a:lnTo>
                  <a:lnTo>
                    <a:pt x="399" y="0"/>
                  </a:lnTo>
                  <a:lnTo>
                    <a:pt x="348" y="1"/>
                  </a:lnTo>
                  <a:lnTo>
                    <a:pt x="298" y="5"/>
                  </a:lnTo>
                  <a:lnTo>
                    <a:pt x="248" y="9"/>
                  </a:lnTo>
                  <a:lnTo>
                    <a:pt x="198" y="15"/>
                  </a:lnTo>
                  <a:lnTo>
                    <a:pt x="148" y="25"/>
                  </a:lnTo>
                  <a:lnTo>
                    <a:pt x="99" y="35"/>
                  </a:lnTo>
                  <a:lnTo>
                    <a:pt x="49" y="48"/>
                  </a:lnTo>
                  <a:lnTo>
                    <a:pt x="0" y="63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501">
              <a:extLst>
                <a:ext uri="{FF2B5EF4-FFF2-40B4-BE49-F238E27FC236}">
                  <a16:creationId xmlns:a16="http://schemas.microsoft.com/office/drawing/2014/main" id="{23235456-E13F-E140-ABA8-1750A18EBE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0851" y="2314575"/>
              <a:ext cx="881063" cy="903288"/>
            </a:xfrm>
            <a:custGeom>
              <a:avLst/>
              <a:gdLst>
                <a:gd name="T0" fmla="*/ 16 w 1109"/>
                <a:gd name="T1" fmla="*/ 1136 h 1136"/>
                <a:gd name="T2" fmla="*/ 1094 w 1109"/>
                <a:gd name="T3" fmla="*/ 1136 h 1136"/>
                <a:gd name="T4" fmla="*/ 1094 w 1109"/>
                <a:gd name="T5" fmla="*/ 1136 h 1136"/>
                <a:gd name="T6" fmla="*/ 1100 w 1109"/>
                <a:gd name="T7" fmla="*/ 1135 h 1136"/>
                <a:gd name="T8" fmla="*/ 1104 w 1109"/>
                <a:gd name="T9" fmla="*/ 1132 h 1136"/>
                <a:gd name="T10" fmla="*/ 1108 w 1109"/>
                <a:gd name="T11" fmla="*/ 1127 h 1136"/>
                <a:gd name="T12" fmla="*/ 1109 w 1109"/>
                <a:gd name="T13" fmla="*/ 1121 h 1136"/>
                <a:gd name="T14" fmla="*/ 1109 w 1109"/>
                <a:gd name="T15" fmla="*/ 15 h 1136"/>
                <a:gd name="T16" fmla="*/ 1109 w 1109"/>
                <a:gd name="T17" fmla="*/ 15 h 1136"/>
                <a:gd name="T18" fmla="*/ 1108 w 1109"/>
                <a:gd name="T19" fmla="*/ 9 h 1136"/>
                <a:gd name="T20" fmla="*/ 1104 w 1109"/>
                <a:gd name="T21" fmla="*/ 5 h 1136"/>
                <a:gd name="T22" fmla="*/ 1100 w 1109"/>
                <a:gd name="T23" fmla="*/ 1 h 1136"/>
                <a:gd name="T24" fmla="*/ 1094 w 1109"/>
                <a:gd name="T25" fmla="*/ 0 h 1136"/>
                <a:gd name="T26" fmla="*/ 16 w 1109"/>
                <a:gd name="T27" fmla="*/ 0 h 1136"/>
                <a:gd name="T28" fmla="*/ 16 w 1109"/>
                <a:gd name="T29" fmla="*/ 0 h 1136"/>
                <a:gd name="T30" fmla="*/ 10 w 1109"/>
                <a:gd name="T31" fmla="*/ 1 h 1136"/>
                <a:gd name="T32" fmla="*/ 5 w 1109"/>
                <a:gd name="T33" fmla="*/ 5 h 1136"/>
                <a:gd name="T34" fmla="*/ 1 w 1109"/>
                <a:gd name="T35" fmla="*/ 9 h 1136"/>
                <a:gd name="T36" fmla="*/ 0 w 1109"/>
                <a:gd name="T37" fmla="*/ 15 h 1136"/>
                <a:gd name="T38" fmla="*/ 0 w 1109"/>
                <a:gd name="T39" fmla="*/ 1121 h 1136"/>
                <a:gd name="T40" fmla="*/ 0 w 1109"/>
                <a:gd name="T41" fmla="*/ 1121 h 1136"/>
                <a:gd name="T42" fmla="*/ 1 w 1109"/>
                <a:gd name="T43" fmla="*/ 1127 h 1136"/>
                <a:gd name="T44" fmla="*/ 5 w 1109"/>
                <a:gd name="T45" fmla="*/ 1132 h 1136"/>
                <a:gd name="T46" fmla="*/ 10 w 1109"/>
                <a:gd name="T47" fmla="*/ 1135 h 1136"/>
                <a:gd name="T48" fmla="*/ 16 w 1109"/>
                <a:gd name="T49" fmla="*/ 1136 h 1136"/>
                <a:gd name="T50" fmla="*/ 16 w 1109"/>
                <a:gd name="T51" fmla="*/ 1136 h 1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09" h="1136">
                  <a:moveTo>
                    <a:pt x="16" y="1136"/>
                  </a:moveTo>
                  <a:lnTo>
                    <a:pt x="1094" y="1136"/>
                  </a:lnTo>
                  <a:lnTo>
                    <a:pt x="1094" y="1136"/>
                  </a:lnTo>
                  <a:lnTo>
                    <a:pt x="1100" y="1135"/>
                  </a:lnTo>
                  <a:lnTo>
                    <a:pt x="1104" y="1132"/>
                  </a:lnTo>
                  <a:lnTo>
                    <a:pt x="1108" y="1127"/>
                  </a:lnTo>
                  <a:lnTo>
                    <a:pt x="1109" y="1121"/>
                  </a:lnTo>
                  <a:lnTo>
                    <a:pt x="1109" y="15"/>
                  </a:lnTo>
                  <a:lnTo>
                    <a:pt x="1109" y="15"/>
                  </a:lnTo>
                  <a:lnTo>
                    <a:pt x="1108" y="9"/>
                  </a:lnTo>
                  <a:lnTo>
                    <a:pt x="1104" y="5"/>
                  </a:lnTo>
                  <a:lnTo>
                    <a:pt x="1100" y="1"/>
                  </a:lnTo>
                  <a:lnTo>
                    <a:pt x="109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1"/>
                  </a:lnTo>
                  <a:lnTo>
                    <a:pt x="5" y="5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121"/>
                  </a:lnTo>
                  <a:lnTo>
                    <a:pt x="0" y="1121"/>
                  </a:lnTo>
                  <a:lnTo>
                    <a:pt x="1" y="1127"/>
                  </a:lnTo>
                  <a:lnTo>
                    <a:pt x="5" y="1132"/>
                  </a:lnTo>
                  <a:lnTo>
                    <a:pt x="10" y="1135"/>
                  </a:lnTo>
                  <a:lnTo>
                    <a:pt x="16" y="1136"/>
                  </a:lnTo>
                  <a:lnTo>
                    <a:pt x="16" y="1136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502">
              <a:extLst>
                <a:ext uri="{FF2B5EF4-FFF2-40B4-BE49-F238E27FC236}">
                  <a16:creationId xmlns:a16="http://schemas.microsoft.com/office/drawing/2014/main" id="{B324BA26-E8D8-4641-BC27-741111DA2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0851" y="2339975"/>
              <a:ext cx="793750" cy="814388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503">
              <a:extLst>
                <a:ext uri="{FF2B5EF4-FFF2-40B4-BE49-F238E27FC236}">
                  <a16:creationId xmlns:a16="http://schemas.microsoft.com/office/drawing/2014/main" id="{00182201-09CA-0045-8891-09B40AD03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0851" y="2249488"/>
              <a:ext cx="820738" cy="904875"/>
            </a:xfrm>
            <a:custGeom>
              <a:avLst/>
              <a:gdLst>
                <a:gd name="T0" fmla="*/ 1034 w 1034"/>
                <a:gd name="T1" fmla="*/ 1141 h 1141"/>
                <a:gd name="T2" fmla="*/ 1034 w 1034"/>
                <a:gd name="T3" fmla="*/ 1141 h 1141"/>
                <a:gd name="T4" fmla="*/ 1034 w 1034"/>
                <a:gd name="T5" fmla="*/ 1141 h 1141"/>
                <a:gd name="T6" fmla="*/ 971 w 1034"/>
                <a:gd name="T7" fmla="*/ 1122 h 1141"/>
                <a:gd name="T8" fmla="*/ 907 w 1034"/>
                <a:gd name="T9" fmla="*/ 1105 h 1141"/>
                <a:gd name="T10" fmla="*/ 843 w 1034"/>
                <a:gd name="T11" fmla="*/ 1092 h 1141"/>
                <a:gd name="T12" fmla="*/ 778 w 1034"/>
                <a:gd name="T13" fmla="*/ 1080 h 1141"/>
                <a:gd name="T14" fmla="*/ 714 w 1034"/>
                <a:gd name="T15" fmla="*/ 1072 h 1141"/>
                <a:gd name="T16" fmla="*/ 648 w 1034"/>
                <a:gd name="T17" fmla="*/ 1066 h 1141"/>
                <a:gd name="T18" fmla="*/ 583 w 1034"/>
                <a:gd name="T19" fmla="*/ 1061 h 1141"/>
                <a:gd name="T20" fmla="*/ 518 w 1034"/>
                <a:gd name="T21" fmla="*/ 1060 h 1141"/>
                <a:gd name="T22" fmla="*/ 453 w 1034"/>
                <a:gd name="T23" fmla="*/ 1061 h 1141"/>
                <a:gd name="T24" fmla="*/ 387 w 1034"/>
                <a:gd name="T25" fmla="*/ 1066 h 1141"/>
                <a:gd name="T26" fmla="*/ 322 w 1034"/>
                <a:gd name="T27" fmla="*/ 1072 h 1141"/>
                <a:gd name="T28" fmla="*/ 257 w 1034"/>
                <a:gd name="T29" fmla="*/ 1080 h 1141"/>
                <a:gd name="T30" fmla="*/ 193 w 1034"/>
                <a:gd name="T31" fmla="*/ 1092 h 1141"/>
                <a:gd name="T32" fmla="*/ 128 w 1034"/>
                <a:gd name="T33" fmla="*/ 1105 h 1141"/>
                <a:gd name="T34" fmla="*/ 64 w 1034"/>
                <a:gd name="T35" fmla="*/ 1122 h 1141"/>
                <a:gd name="T36" fmla="*/ 0 w 1034"/>
                <a:gd name="T37" fmla="*/ 1141 h 1141"/>
                <a:gd name="T38" fmla="*/ 0 w 1034"/>
                <a:gd name="T39" fmla="*/ 1141 h 1141"/>
                <a:gd name="T40" fmla="*/ 0 w 1034"/>
                <a:gd name="T41" fmla="*/ 81 h 1141"/>
                <a:gd name="T42" fmla="*/ 0 w 1034"/>
                <a:gd name="T43" fmla="*/ 81 h 1141"/>
                <a:gd name="T44" fmla="*/ 0 w 1034"/>
                <a:gd name="T45" fmla="*/ 81 h 1141"/>
                <a:gd name="T46" fmla="*/ 64 w 1034"/>
                <a:gd name="T47" fmla="*/ 62 h 1141"/>
                <a:gd name="T48" fmla="*/ 128 w 1034"/>
                <a:gd name="T49" fmla="*/ 45 h 1141"/>
                <a:gd name="T50" fmla="*/ 193 w 1034"/>
                <a:gd name="T51" fmla="*/ 32 h 1141"/>
                <a:gd name="T52" fmla="*/ 257 w 1034"/>
                <a:gd name="T53" fmla="*/ 20 h 1141"/>
                <a:gd name="T54" fmla="*/ 322 w 1034"/>
                <a:gd name="T55" fmla="*/ 11 h 1141"/>
                <a:gd name="T56" fmla="*/ 387 w 1034"/>
                <a:gd name="T57" fmla="*/ 5 h 1141"/>
                <a:gd name="T58" fmla="*/ 453 w 1034"/>
                <a:gd name="T59" fmla="*/ 1 h 1141"/>
                <a:gd name="T60" fmla="*/ 518 w 1034"/>
                <a:gd name="T61" fmla="*/ 0 h 1141"/>
                <a:gd name="T62" fmla="*/ 583 w 1034"/>
                <a:gd name="T63" fmla="*/ 1 h 1141"/>
                <a:gd name="T64" fmla="*/ 648 w 1034"/>
                <a:gd name="T65" fmla="*/ 5 h 1141"/>
                <a:gd name="T66" fmla="*/ 714 w 1034"/>
                <a:gd name="T67" fmla="*/ 11 h 1141"/>
                <a:gd name="T68" fmla="*/ 778 w 1034"/>
                <a:gd name="T69" fmla="*/ 20 h 1141"/>
                <a:gd name="T70" fmla="*/ 843 w 1034"/>
                <a:gd name="T71" fmla="*/ 32 h 1141"/>
                <a:gd name="T72" fmla="*/ 907 w 1034"/>
                <a:gd name="T73" fmla="*/ 45 h 1141"/>
                <a:gd name="T74" fmla="*/ 971 w 1034"/>
                <a:gd name="T75" fmla="*/ 62 h 1141"/>
                <a:gd name="T76" fmla="*/ 1034 w 1034"/>
                <a:gd name="T77" fmla="*/ 81 h 1141"/>
                <a:gd name="T78" fmla="*/ 1034 w 1034"/>
                <a:gd name="T79" fmla="*/ 81 h 1141"/>
                <a:gd name="T80" fmla="*/ 1034 w 1034"/>
                <a:gd name="T81" fmla="*/ 1141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34" h="1141">
                  <a:moveTo>
                    <a:pt x="1034" y="1141"/>
                  </a:moveTo>
                  <a:lnTo>
                    <a:pt x="1034" y="1141"/>
                  </a:lnTo>
                  <a:lnTo>
                    <a:pt x="1034" y="1141"/>
                  </a:lnTo>
                  <a:lnTo>
                    <a:pt x="971" y="1122"/>
                  </a:lnTo>
                  <a:lnTo>
                    <a:pt x="907" y="1105"/>
                  </a:lnTo>
                  <a:lnTo>
                    <a:pt x="843" y="1092"/>
                  </a:lnTo>
                  <a:lnTo>
                    <a:pt x="778" y="1080"/>
                  </a:lnTo>
                  <a:lnTo>
                    <a:pt x="714" y="1072"/>
                  </a:lnTo>
                  <a:lnTo>
                    <a:pt x="648" y="1066"/>
                  </a:lnTo>
                  <a:lnTo>
                    <a:pt x="583" y="1061"/>
                  </a:lnTo>
                  <a:lnTo>
                    <a:pt x="518" y="1060"/>
                  </a:lnTo>
                  <a:lnTo>
                    <a:pt x="453" y="1061"/>
                  </a:lnTo>
                  <a:lnTo>
                    <a:pt x="387" y="1066"/>
                  </a:lnTo>
                  <a:lnTo>
                    <a:pt x="322" y="1072"/>
                  </a:lnTo>
                  <a:lnTo>
                    <a:pt x="257" y="1080"/>
                  </a:lnTo>
                  <a:lnTo>
                    <a:pt x="193" y="1092"/>
                  </a:lnTo>
                  <a:lnTo>
                    <a:pt x="128" y="1105"/>
                  </a:lnTo>
                  <a:lnTo>
                    <a:pt x="64" y="1122"/>
                  </a:lnTo>
                  <a:lnTo>
                    <a:pt x="0" y="1141"/>
                  </a:lnTo>
                  <a:lnTo>
                    <a:pt x="0" y="114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64" y="62"/>
                  </a:lnTo>
                  <a:lnTo>
                    <a:pt x="128" y="45"/>
                  </a:lnTo>
                  <a:lnTo>
                    <a:pt x="193" y="32"/>
                  </a:lnTo>
                  <a:lnTo>
                    <a:pt x="257" y="20"/>
                  </a:lnTo>
                  <a:lnTo>
                    <a:pt x="322" y="11"/>
                  </a:lnTo>
                  <a:lnTo>
                    <a:pt x="387" y="5"/>
                  </a:lnTo>
                  <a:lnTo>
                    <a:pt x="453" y="1"/>
                  </a:lnTo>
                  <a:lnTo>
                    <a:pt x="518" y="0"/>
                  </a:lnTo>
                  <a:lnTo>
                    <a:pt x="583" y="1"/>
                  </a:lnTo>
                  <a:lnTo>
                    <a:pt x="648" y="5"/>
                  </a:lnTo>
                  <a:lnTo>
                    <a:pt x="714" y="11"/>
                  </a:lnTo>
                  <a:lnTo>
                    <a:pt x="778" y="20"/>
                  </a:lnTo>
                  <a:lnTo>
                    <a:pt x="843" y="32"/>
                  </a:lnTo>
                  <a:lnTo>
                    <a:pt x="907" y="45"/>
                  </a:lnTo>
                  <a:lnTo>
                    <a:pt x="971" y="62"/>
                  </a:lnTo>
                  <a:lnTo>
                    <a:pt x="1034" y="81"/>
                  </a:lnTo>
                  <a:lnTo>
                    <a:pt x="1034" y="81"/>
                  </a:lnTo>
                  <a:lnTo>
                    <a:pt x="1034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504">
              <a:extLst>
                <a:ext uri="{FF2B5EF4-FFF2-40B4-BE49-F238E27FC236}">
                  <a16:creationId xmlns:a16="http://schemas.microsoft.com/office/drawing/2014/main" id="{2EE3DE69-3625-AF45-BF09-3256B2E9B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2366963"/>
              <a:ext cx="631825" cy="49213"/>
            </a:xfrm>
            <a:custGeom>
              <a:avLst/>
              <a:gdLst>
                <a:gd name="T0" fmla="*/ 0 w 797"/>
                <a:gd name="T1" fmla="*/ 63 h 63"/>
                <a:gd name="T2" fmla="*/ 0 w 797"/>
                <a:gd name="T3" fmla="*/ 63 h 63"/>
                <a:gd name="T4" fmla="*/ 0 w 797"/>
                <a:gd name="T5" fmla="*/ 63 h 63"/>
                <a:gd name="T6" fmla="*/ 48 w 797"/>
                <a:gd name="T7" fmla="*/ 48 h 63"/>
                <a:gd name="T8" fmla="*/ 98 w 797"/>
                <a:gd name="T9" fmla="*/ 36 h 63"/>
                <a:gd name="T10" fmla="*/ 147 w 797"/>
                <a:gd name="T11" fmla="*/ 25 h 63"/>
                <a:gd name="T12" fmla="*/ 197 w 797"/>
                <a:gd name="T13" fmla="*/ 16 h 63"/>
                <a:gd name="T14" fmla="*/ 248 w 797"/>
                <a:gd name="T15" fmla="*/ 10 h 63"/>
                <a:gd name="T16" fmla="*/ 297 w 797"/>
                <a:gd name="T17" fmla="*/ 5 h 63"/>
                <a:gd name="T18" fmla="*/ 348 w 797"/>
                <a:gd name="T19" fmla="*/ 1 h 63"/>
                <a:gd name="T20" fmla="*/ 399 w 797"/>
                <a:gd name="T21" fmla="*/ 0 h 63"/>
                <a:gd name="T22" fmla="*/ 449 w 797"/>
                <a:gd name="T23" fmla="*/ 1 h 63"/>
                <a:gd name="T24" fmla="*/ 499 w 797"/>
                <a:gd name="T25" fmla="*/ 5 h 63"/>
                <a:gd name="T26" fmla="*/ 550 w 797"/>
                <a:gd name="T27" fmla="*/ 10 h 63"/>
                <a:gd name="T28" fmla="*/ 600 w 797"/>
                <a:gd name="T29" fmla="*/ 16 h 63"/>
                <a:gd name="T30" fmla="*/ 649 w 797"/>
                <a:gd name="T31" fmla="*/ 25 h 63"/>
                <a:gd name="T32" fmla="*/ 699 w 797"/>
                <a:gd name="T33" fmla="*/ 36 h 63"/>
                <a:gd name="T34" fmla="*/ 748 w 797"/>
                <a:gd name="T35" fmla="*/ 48 h 63"/>
                <a:gd name="T36" fmla="*/ 797 w 797"/>
                <a:gd name="T3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7" h="63"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48" y="48"/>
                  </a:lnTo>
                  <a:lnTo>
                    <a:pt x="98" y="36"/>
                  </a:lnTo>
                  <a:lnTo>
                    <a:pt x="147" y="25"/>
                  </a:lnTo>
                  <a:lnTo>
                    <a:pt x="197" y="16"/>
                  </a:lnTo>
                  <a:lnTo>
                    <a:pt x="248" y="10"/>
                  </a:lnTo>
                  <a:lnTo>
                    <a:pt x="297" y="5"/>
                  </a:lnTo>
                  <a:lnTo>
                    <a:pt x="348" y="1"/>
                  </a:lnTo>
                  <a:lnTo>
                    <a:pt x="399" y="0"/>
                  </a:lnTo>
                  <a:lnTo>
                    <a:pt x="449" y="1"/>
                  </a:lnTo>
                  <a:lnTo>
                    <a:pt x="499" y="5"/>
                  </a:lnTo>
                  <a:lnTo>
                    <a:pt x="550" y="10"/>
                  </a:lnTo>
                  <a:lnTo>
                    <a:pt x="600" y="16"/>
                  </a:lnTo>
                  <a:lnTo>
                    <a:pt x="649" y="25"/>
                  </a:lnTo>
                  <a:lnTo>
                    <a:pt x="699" y="36"/>
                  </a:lnTo>
                  <a:lnTo>
                    <a:pt x="748" y="48"/>
                  </a:lnTo>
                  <a:lnTo>
                    <a:pt x="797" y="63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505">
              <a:extLst>
                <a:ext uri="{FF2B5EF4-FFF2-40B4-BE49-F238E27FC236}">
                  <a16:creationId xmlns:a16="http://schemas.microsoft.com/office/drawing/2014/main" id="{E9DEEFF0-37FC-214D-8451-A5B24BDD7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2446338"/>
              <a:ext cx="631825" cy="50800"/>
            </a:xfrm>
            <a:custGeom>
              <a:avLst/>
              <a:gdLst>
                <a:gd name="T0" fmla="*/ 0 w 797"/>
                <a:gd name="T1" fmla="*/ 63 h 63"/>
                <a:gd name="T2" fmla="*/ 0 w 797"/>
                <a:gd name="T3" fmla="*/ 63 h 63"/>
                <a:gd name="T4" fmla="*/ 0 w 797"/>
                <a:gd name="T5" fmla="*/ 63 h 63"/>
                <a:gd name="T6" fmla="*/ 48 w 797"/>
                <a:gd name="T7" fmla="*/ 49 h 63"/>
                <a:gd name="T8" fmla="*/ 98 w 797"/>
                <a:gd name="T9" fmla="*/ 35 h 63"/>
                <a:gd name="T10" fmla="*/ 147 w 797"/>
                <a:gd name="T11" fmla="*/ 25 h 63"/>
                <a:gd name="T12" fmla="*/ 197 w 797"/>
                <a:gd name="T13" fmla="*/ 16 h 63"/>
                <a:gd name="T14" fmla="*/ 248 w 797"/>
                <a:gd name="T15" fmla="*/ 9 h 63"/>
                <a:gd name="T16" fmla="*/ 297 w 797"/>
                <a:gd name="T17" fmla="*/ 4 h 63"/>
                <a:gd name="T18" fmla="*/ 348 w 797"/>
                <a:gd name="T19" fmla="*/ 2 h 63"/>
                <a:gd name="T20" fmla="*/ 399 w 797"/>
                <a:gd name="T21" fmla="*/ 0 h 63"/>
                <a:gd name="T22" fmla="*/ 449 w 797"/>
                <a:gd name="T23" fmla="*/ 2 h 63"/>
                <a:gd name="T24" fmla="*/ 499 w 797"/>
                <a:gd name="T25" fmla="*/ 4 h 63"/>
                <a:gd name="T26" fmla="*/ 550 w 797"/>
                <a:gd name="T27" fmla="*/ 9 h 63"/>
                <a:gd name="T28" fmla="*/ 600 w 797"/>
                <a:gd name="T29" fmla="*/ 16 h 63"/>
                <a:gd name="T30" fmla="*/ 649 w 797"/>
                <a:gd name="T31" fmla="*/ 25 h 63"/>
                <a:gd name="T32" fmla="*/ 699 w 797"/>
                <a:gd name="T33" fmla="*/ 35 h 63"/>
                <a:gd name="T34" fmla="*/ 748 w 797"/>
                <a:gd name="T35" fmla="*/ 49 h 63"/>
                <a:gd name="T36" fmla="*/ 797 w 797"/>
                <a:gd name="T3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7" h="63"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48" y="49"/>
                  </a:lnTo>
                  <a:lnTo>
                    <a:pt x="98" y="35"/>
                  </a:lnTo>
                  <a:lnTo>
                    <a:pt x="147" y="25"/>
                  </a:lnTo>
                  <a:lnTo>
                    <a:pt x="197" y="16"/>
                  </a:lnTo>
                  <a:lnTo>
                    <a:pt x="248" y="9"/>
                  </a:lnTo>
                  <a:lnTo>
                    <a:pt x="297" y="4"/>
                  </a:lnTo>
                  <a:lnTo>
                    <a:pt x="348" y="2"/>
                  </a:lnTo>
                  <a:lnTo>
                    <a:pt x="399" y="0"/>
                  </a:lnTo>
                  <a:lnTo>
                    <a:pt x="449" y="2"/>
                  </a:lnTo>
                  <a:lnTo>
                    <a:pt x="499" y="4"/>
                  </a:lnTo>
                  <a:lnTo>
                    <a:pt x="550" y="9"/>
                  </a:lnTo>
                  <a:lnTo>
                    <a:pt x="600" y="16"/>
                  </a:lnTo>
                  <a:lnTo>
                    <a:pt x="649" y="25"/>
                  </a:lnTo>
                  <a:lnTo>
                    <a:pt x="699" y="35"/>
                  </a:lnTo>
                  <a:lnTo>
                    <a:pt x="748" y="49"/>
                  </a:lnTo>
                  <a:lnTo>
                    <a:pt x="797" y="63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506">
              <a:extLst>
                <a:ext uri="{FF2B5EF4-FFF2-40B4-BE49-F238E27FC236}">
                  <a16:creationId xmlns:a16="http://schemas.microsoft.com/office/drawing/2014/main" id="{5FE55400-C7AF-9945-87B4-0EC4780A0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2525713"/>
              <a:ext cx="631825" cy="49213"/>
            </a:xfrm>
            <a:custGeom>
              <a:avLst/>
              <a:gdLst>
                <a:gd name="T0" fmla="*/ 0 w 797"/>
                <a:gd name="T1" fmla="*/ 62 h 62"/>
                <a:gd name="T2" fmla="*/ 0 w 797"/>
                <a:gd name="T3" fmla="*/ 62 h 62"/>
                <a:gd name="T4" fmla="*/ 0 w 797"/>
                <a:gd name="T5" fmla="*/ 62 h 62"/>
                <a:gd name="T6" fmla="*/ 48 w 797"/>
                <a:gd name="T7" fmla="*/ 48 h 62"/>
                <a:gd name="T8" fmla="*/ 98 w 797"/>
                <a:gd name="T9" fmla="*/ 35 h 62"/>
                <a:gd name="T10" fmla="*/ 147 w 797"/>
                <a:gd name="T11" fmla="*/ 25 h 62"/>
                <a:gd name="T12" fmla="*/ 197 w 797"/>
                <a:gd name="T13" fmla="*/ 15 h 62"/>
                <a:gd name="T14" fmla="*/ 248 w 797"/>
                <a:gd name="T15" fmla="*/ 9 h 62"/>
                <a:gd name="T16" fmla="*/ 297 w 797"/>
                <a:gd name="T17" fmla="*/ 4 h 62"/>
                <a:gd name="T18" fmla="*/ 348 w 797"/>
                <a:gd name="T19" fmla="*/ 1 h 62"/>
                <a:gd name="T20" fmla="*/ 399 w 797"/>
                <a:gd name="T21" fmla="*/ 0 h 62"/>
                <a:gd name="T22" fmla="*/ 449 w 797"/>
                <a:gd name="T23" fmla="*/ 1 h 62"/>
                <a:gd name="T24" fmla="*/ 499 w 797"/>
                <a:gd name="T25" fmla="*/ 4 h 62"/>
                <a:gd name="T26" fmla="*/ 550 w 797"/>
                <a:gd name="T27" fmla="*/ 9 h 62"/>
                <a:gd name="T28" fmla="*/ 600 w 797"/>
                <a:gd name="T29" fmla="*/ 15 h 62"/>
                <a:gd name="T30" fmla="*/ 649 w 797"/>
                <a:gd name="T31" fmla="*/ 25 h 62"/>
                <a:gd name="T32" fmla="*/ 699 w 797"/>
                <a:gd name="T33" fmla="*/ 35 h 62"/>
                <a:gd name="T34" fmla="*/ 748 w 797"/>
                <a:gd name="T35" fmla="*/ 48 h 62"/>
                <a:gd name="T36" fmla="*/ 797 w 797"/>
                <a:gd name="T3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7" h="62">
                  <a:moveTo>
                    <a:pt x="0" y="62"/>
                  </a:moveTo>
                  <a:lnTo>
                    <a:pt x="0" y="62"/>
                  </a:lnTo>
                  <a:lnTo>
                    <a:pt x="0" y="62"/>
                  </a:lnTo>
                  <a:lnTo>
                    <a:pt x="48" y="48"/>
                  </a:lnTo>
                  <a:lnTo>
                    <a:pt x="98" y="35"/>
                  </a:lnTo>
                  <a:lnTo>
                    <a:pt x="147" y="25"/>
                  </a:lnTo>
                  <a:lnTo>
                    <a:pt x="197" y="15"/>
                  </a:lnTo>
                  <a:lnTo>
                    <a:pt x="248" y="9"/>
                  </a:lnTo>
                  <a:lnTo>
                    <a:pt x="297" y="4"/>
                  </a:lnTo>
                  <a:lnTo>
                    <a:pt x="348" y="1"/>
                  </a:lnTo>
                  <a:lnTo>
                    <a:pt x="399" y="0"/>
                  </a:lnTo>
                  <a:lnTo>
                    <a:pt x="449" y="1"/>
                  </a:lnTo>
                  <a:lnTo>
                    <a:pt x="499" y="4"/>
                  </a:lnTo>
                  <a:lnTo>
                    <a:pt x="550" y="9"/>
                  </a:lnTo>
                  <a:lnTo>
                    <a:pt x="600" y="15"/>
                  </a:lnTo>
                  <a:lnTo>
                    <a:pt x="649" y="25"/>
                  </a:lnTo>
                  <a:lnTo>
                    <a:pt x="699" y="35"/>
                  </a:lnTo>
                  <a:lnTo>
                    <a:pt x="748" y="48"/>
                  </a:lnTo>
                  <a:lnTo>
                    <a:pt x="797" y="62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507">
              <a:extLst>
                <a:ext uri="{FF2B5EF4-FFF2-40B4-BE49-F238E27FC236}">
                  <a16:creationId xmlns:a16="http://schemas.microsoft.com/office/drawing/2014/main" id="{8A46D600-600F-7C49-AAB6-60BC2A355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2605088"/>
              <a:ext cx="631825" cy="49213"/>
            </a:xfrm>
            <a:custGeom>
              <a:avLst/>
              <a:gdLst>
                <a:gd name="T0" fmla="*/ 0 w 797"/>
                <a:gd name="T1" fmla="*/ 62 h 62"/>
                <a:gd name="T2" fmla="*/ 0 w 797"/>
                <a:gd name="T3" fmla="*/ 62 h 62"/>
                <a:gd name="T4" fmla="*/ 0 w 797"/>
                <a:gd name="T5" fmla="*/ 62 h 62"/>
                <a:gd name="T6" fmla="*/ 48 w 797"/>
                <a:gd name="T7" fmla="*/ 47 h 62"/>
                <a:gd name="T8" fmla="*/ 98 w 797"/>
                <a:gd name="T9" fmla="*/ 35 h 62"/>
                <a:gd name="T10" fmla="*/ 147 w 797"/>
                <a:gd name="T11" fmla="*/ 24 h 62"/>
                <a:gd name="T12" fmla="*/ 197 w 797"/>
                <a:gd name="T13" fmla="*/ 16 h 62"/>
                <a:gd name="T14" fmla="*/ 248 w 797"/>
                <a:gd name="T15" fmla="*/ 8 h 62"/>
                <a:gd name="T16" fmla="*/ 297 w 797"/>
                <a:gd name="T17" fmla="*/ 3 h 62"/>
                <a:gd name="T18" fmla="*/ 348 w 797"/>
                <a:gd name="T19" fmla="*/ 1 h 62"/>
                <a:gd name="T20" fmla="*/ 399 w 797"/>
                <a:gd name="T21" fmla="*/ 0 h 62"/>
                <a:gd name="T22" fmla="*/ 449 w 797"/>
                <a:gd name="T23" fmla="*/ 1 h 62"/>
                <a:gd name="T24" fmla="*/ 499 w 797"/>
                <a:gd name="T25" fmla="*/ 3 h 62"/>
                <a:gd name="T26" fmla="*/ 550 w 797"/>
                <a:gd name="T27" fmla="*/ 8 h 62"/>
                <a:gd name="T28" fmla="*/ 600 w 797"/>
                <a:gd name="T29" fmla="*/ 16 h 62"/>
                <a:gd name="T30" fmla="*/ 649 w 797"/>
                <a:gd name="T31" fmla="*/ 24 h 62"/>
                <a:gd name="T32" fmla="*/ 699 w 797"/>
                <a:gd name="T33" fmla="*/ 35 h 62"/>
                <a:gd name="T34" fmla="*/ 748 w 797"/>
                <a:gd name="T35" fmla="*/ 47 h 62"/>
                <a:gd name="T36" fmla="*/ 797 w 797"/>
                <a:gd name="T3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7" h="62">
                  <a:moveTo>
                    <a:pt x="0" y="62"/>
                  </a:moveTo>
                  <a:lnTo>
                    <a:pt x="0" y="62"/>
                  </a:lnTo>
                  <a:lnTo>
                    <a:pt x="0" y="62"/>
                  </a:lnTo>
                  <a:lnTo>
                    <a:pt x="48" y="47"/>
                  </a:lnTo>
                  <a:lnTo>
                    <a:pt x="98" y="35"/>
                  </a:lnTo>
                  <a:lnTo>
                    <a:pt x="147" y="24"/>
                  </a:lnTo>
                  <a:lnTo>
                    <a:pt x="197" y="16"/>
                  </a:lnTo>
                  <a:lnTo>
                    <a:pt x="248" y="8"/>
                  </a:lnTo>
                  <a:lnTo>
                    <a:pt x="297" y="3"/>
                  </a:lnTo>
                  <a:lnTo>
                    <a:pt x="348" y="1"/>
                  </a:lnTo>
                  <a:lnTo>
                    <a:pt x="399" y="0"/>
                  </a:lnTo>
                  <a:lnTo>
                    <a:pt x="449" y="1"/>
                  </a:lnTo>
                  <a:lnTo>
                    <a:pt x="499" y="3"/>
                  </a:lnTo>
                  <a:lnTo>
                    <a:pt x="550" y="8"/>
                  </a:lnTo>
                  <a:lnTo>
                    <a:pt x="600" y="16"/>
                  </a:lnTo>
                  <a:lnTo>
                    <a:pt x="649" y="24"/>
                  </a:lnTo>
                  <a:lnTo>
                    <a:pt x="699" y="35"/>
                  </a:lnTo>
                  <a:lnTo>
                    <a:pt x="748" y="47"/>
                  </a:lnTo>
                  <a:lnTo>
                    <a:pt x="797" y="62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508">
              <a:extLst>
                <a:ext uri="{FF2B5EF4-FFF2-40B4-BE49-F238E27FC236}">
                  <a16:creationId xmlns:a16="http://schemas.microsoft.com/office/drawing/2014/main" id="{9D2424D0-6AC8-204A-BF96-6F0E9300C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2684463"/>
              <a:ext cx="631825" cy="49213"/>
            </a:xfrm>
            <a:custGeom>
              <a:avLst/>
              <a:gdLst>
                <a:gd name="T0" fmla="*/ 0 w 797"/>
                <a:gd name="T1" fmla="*/ 63 h 63"/>
                <a:gd name="T2" fmla="*/ 0 w 797"/>
                <a:gd name="T3" fmla="*/ 63 h 63"/>
                <a:gd name="T4" fmla="*/ 0 w 797"/>
                <a:gd name="T5" fmla="*/ 63 h 63"/>
                <a:gd name="T6" fmla="*/ 48 w 797"/>
                <a:gd name="T7" fmla="*/ 48 h 63"/>
                <a:gd name="T8" fmla="*/ 98 w 797"/>
                <a:gd name="T9" fmla="*/ 35 h 63"/>
                <a:gd name="T10" fmla="*/ 147 w 797"/>
                <a:gd name="T11" fmla="*/ 24 h 63"/>
                <a:gd name="T12" fmla="*/ 197 w 797"/>
                <a:gd name="T13" fmla="*/ 16 h 63"/>
                <a:gd name="T14" fmla="*/ 248 w 797"/>
                <a:gd name="T15" fmla="*/ 8 h 63"/>
                <a:gd name="T16" fmla="*/ 297 w 797"/>
                <a:gd name="T17" fmla="*/ 4 h 63"/>
                <a:gd name="T18" fmla="*/ 348 w 797"/>
                <a:gd name="T19" fmla="*/ 1 h 63"/>
                <a:gd name="T20" fmla="*/ 399 w 797"/>
                <a:gd name="T21" fmla="*/ 0 h 63"/>
                <a:gd name="T22" fmla="*/ 449 w 797"/>
                <a:gd name="T23" fmla="*/ 1 h 63"/>
                <a:gd name="T24" fmla="*/ 499 w 797"/>
                <a:gd name="T25" fmla="*/ 4 h 63"/>
                <a:gd name="T26" fmla="*/ 550 w 797"/>
                <a:gd name="T27" fmla="*/ 8 h 63"/>
                <a:gd name="T28" fmla="*/ 600 w 797"/>
                <a:gd name="T29" fmla="*/ 16 h 63"/>
                <a:gd name="T30" fmla="*/ 649 w 797"/>
                <a:gd name="T31" fmla="*/ 24 h 63"/>
                <a:gd name="T32" fmla="*/ 699 w 797"/>
                <a:gd name="T33" fmla="*/ 35 h 63"/>
                <a:gd name="T34" fmla="*/ 748 w 797"/>
                <a:gd name="T35" fmla="*/ 48 h 63"/>
                <a:gd name="T36" fmla="*/ 797 w 797"/>
                <a:gd name="T3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7" h="63"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48" y="48"/>
                  </a:lnTo>
                  <a:lnTo>
                    <a:pt x="98" y="35"/>
                  </a:lnTo>
                  <a:lnTo>
                    <a:pt x="147" y="24"/>
                  </a:lnTo>
                  <a:lnTo>
                    <a:pt x="197" y="16"/>
                  </a:lnTo>
                  <a:lnTo>
                    <a:pt x="248" y="8"/>
                  </a:lnTo>
                  <a:lnTo>
                    <a:pt x="297" y="4"/>
                  </a:lnTo>
                  <a:lnTo>
                    <a:pt x="348" y="1"/>
                  </a:lnTo>
                  <a:lnTo>
                    <a:pt x="399" y="0"/>
                  </a:lnTo>
                  <a:lnTo>
                    <a:pt x="449" y="1"/>
                  </a:lnTo>
                  <a:lnTo>
                    <a:pt x="499" y="4"/>
                  </a:lnTo>
                  <a:lnTo>
                    <a:pt x="550" y="8"/>
                  </a:lnTo>
                  <a:lnTo>
                    <a:pt x="600" y="16"/>
                  </a:lnTo>
                  <a:lnTo>
                    <a:pt x="649" y="24"/>
                  </a:lnTo>
                  <a:lnTo>
                    <a:pt x="699" y="35"/>
                  </a:lnTo>
                  <a:lnTo>
                    <a:pt x="748" y="48"/>
                  </a:lnTo>
                  <a:lnTo>
                    <a:pt x="797" y="63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509">
              <a:extLst>
                <a:ext uri="{FF2B5EF4-FFF2-40B4-BE49-F238E27FC236}">
                  <a16:creationId xmlns:a16="http://schemas.microsoft.com/office/drawing/2014/main" id="{FAEE4F5A-D620-3B48-9161-15B6254EF4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2763838"/>
              <a:ext cx="631825" cy="49213"/>
            </a:xfrm>
            <a:custGeom>
              <a:avLst/>
              <a:gdLst>
                <a:gd name="T0" fmla="*/ 0 w 797"/>
                <a:gd name="T1" fmla="*/ 62 h 62"/>
                <a:gd name="T2" fmla="*/ 0 w 797"/>
                <a:gd name="T3" fmla="*/ 62 h 62"/>
                <a:gd name="T4" fmla="*/ 0 w 797"/>
                <a:gd name="T5" fmla="*/ 62 h 62"/>
                <a:gd name="T6" fmla="*/ 48 w 797"/>
                <a:gd name="T7" fmla="*/ 48 h 62"/>
                <a:gd name="T8" fmla="*/ 98 w 797"/>
                <a:gd name="T9" fmla="*/ 35 h 62"/>
                <a:gd name="T10" fmla="*/ 147 w 797"/>
                <a:gd name="T11" fmla="*/ 25 h 62"/>
                <a:gd name="T12" fmla="*/ 197 w 797"/>
                <a:gd name="T13" fmla="*/ 15 h 62"/>
                <a:gd name="T14" fmla="*/ 248 w 797"/>
                <a:gd name="T15" fmla="*/ 9 h 62"/>
                <a:gd name="T16" fmla="*/ 297 w 797"/>
                <a:gd name="T17" fmla="*/ 4 h 62"/>
                <a:gd name="T18" fmla="*/ 348 w 797"/>
                <a:gd name="T19" fmla="*/ 0 h 62"/>
                <a:gd name="T20" fmla="*/ 399 w 797"/>
                <a:gd name="T21" fmla="*/ 0 h 62"/>
                <a:gd name="T22" fmla="*/ 449 w 797"/>
                <a:gd name="T23" fmla="*/ 0 h 62"/>
                <a:gd name="T24" fmla="*/ 499 w 797"/>
                <a:gd name="T25" fmla="*/ 4 h 62"/>
                <a:gd name="T26" fmla="*/ 550 w 797"/>
                <a:gd name="T27" fmla="*/ 9 h 62"/>
                <a:gd name="T28" fmla="*/ 600 w 797"/>
                <a:gd name="T29" fmla="*/ 15 h 62"/>
                <a:gd name="T30" fmla="*/ 649 w 797"/>
                <a:gd name="T31" fmla="*/ 25 h 62"/>
                <a:gd name="T32" fmla="*/ 699 w 797"/>
                <a:gd name="T33" fmla="*/ 35 h 62"/>
                <a:gd name="T34" fmla="*/ 748 w 797"/>
                <a:gd name="T35" fmla="*/ 48 h 62"/>
                <a:gd name="T36" fmla="*/ 797 w 797"/>
                <a:gd name="T3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7" h="62">
                  <a:moveTo>
                    <a:pt x="0" y="62"/>
                  </a:moveTo>
                  <a:lnTo>
                    <a:pt x="0" y="62"/>
                  </a:lnTo>
                  <a:lnTo>
                    <a:pt x="0" y="62"/>
                  </a:lnTo>
                  <a:lnTo>
                    <a:pt x="48" y="48"/>
                  </a:lnTo>
                  <a:lnTo>
                    <a:pt x="98" y="35"/>
                  </a:lnTo>
                  <a:lnTo>
                    <a:pt x="147" y="25"/>
                  </a:lnTo>
                  <a:lnTo>
                    <a:pt x="197" y="15"/>
                  </a:lnTo>
                  <a:lnTo>
                    <a:pt x="248" y="9"/>
                  </a:lnTo>
                  <a:lnTo>
                    <a:pt x="297" y="4"/>
                  </a:lnTo>
                  <a:lnTo>
                    <a:pt x="348" y="0"/>
                  </a:lnTo>
                  <a:lnTo>
                    <a:pt x="399" y="0"/>
                  </a:lnTo>
                  <a:lnTo>
                    <a:pt x="449" y="0"/>
                  </a:lnTo>
                  <a:lnTo>
                    <a:pt x="499" y="4"/>
                  </a:lnTo>
                  <a:lnTo>
                    <a:pt x="550" y="9"/>
                  </a:lnTo>
                  <a:lnTo>
                    <a:pt x="600" y="15"/>
                  </a:lnTo>
                  <a:lnTo>
                    <a:pt x="649" y="25"/>
                  </a:lnTo>
                  <a:lnTo>
                    <a:pt x="699" y="35"/>
                  </a:lnTo>
                  <a:lnTo>
                    <a:pt x="748" y="48"/>
                  </a:lnTo>
                  <a:lnTo>
                    <a:pt x="797" y="62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510">
              <a:extLst>
                <a:ext uri="{FF2B5EF4-FFF2-40B4-BE49-F238E27FC236}">
                  <a16:creationId xmlns:a16="http://schemas.microsoft.com/office/drawing/2014/main" id="{6CDD02E3-07C7-D546-9C90-218CCF6AF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2841625"/>
              <a:ext cx="631825" cy="50800"/>
            </a:xfrm>
            <a:custGeom>
              <a:avLst/>
              <a:gdLst>
                <a:gd name="T0" fmla="*/ 0 w 797"/>
                <a:gd name="T1" fmla="*/ 62 h 62"/>
                <a:gd name="T2" fmla="*/ 0 w 797"/>
                <a:gd name="T3" fmla="*/ 62 h 62"/>
                <a:gd name="T4" fmla="*/ 0 w 797"/>
                <a:gd name="T5" fmla="*/ 62 h 62"/>
                <a:gd name="T6" fmla="*/ 48 w 797"/>
                <a:gd name="T7" fmla="*/ 48 h 62"/>
                <a:gd name="T8" fmla="*/ 98 w 797"/>
                <a:gd name="T9" fmla="*/ 35 h 62"/>
                <a:gd name="T10" fmla="*/ 147 w 797"/>
                <a:gd name="T11" fmla="*/ 24 h 62"/>
                <a:gd name="T12" fmla="*/ 197 w 797"/>
                <a:gd name="T13" fmla="*/ 15 h 62"/>
                <a:gd name="T14" fmla="*/ 248 w 797"/>
                <a:gd name="T15" fmla="*/ 8 h 62"/>
                <a:gd name="T16" fmla="*/ 297 w 797"/>
                <a:gd name="T17" fmla="*/ 3 h 62"/>
                <a:gd name="T18" fmla="*/ 348 w 797"/>
                <a:gd name="T19" fmla="*/ 1 h 62"/>
                <a:gd name="T20" fmla="*/ 399 w 797"/>
                <a:gd name="T21" fmla="*/ 0 h 62"/>
                <a:gd name="T22" fmla="*/ 449 w 797"/>
                <a:gd name="T23" fmla="*/ 1 h 62"/>
                <a:gd name="T24" fmla="*/ 499 w 797"/>
                <a:gd name="T25" fmla="*/ 3 h 62"/>
                <a:gd name="T26" fmla="*/ 550 w 797"/>
                <a:gd name="T27" fmla="*/ 8 h 62"/>
                <a:gd name="T28" fmla="*/ 600 w 797"/>
                <a:gd name="T29" fmla="*/ 15 h 62"/>
                <a:gd name="T30" fmla="*/ 649 w 797"/>
                <a:gd name="T31" fmla="*/ 24 h 62"/>
                <a:gd name="T32" fmla="*/ 699 w 797"/>
                <a:gd name="T33" fmla="*/ 35 h 62"/>
                <a:gd name="T34" fmla="*/ 748 w 797"/>
                <a:gd name="T35" fmla="*/ 48 h 62"/>
                <a:gd name="T36" fmla="*/ 797 w 797"/>
                <a:gd name="T3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7" h="62">
                  <a:moveTo>
                    <a:pt x="0" y="62"/>
                  </a:moveTo>
                  <a:lnTo>
                    <a:pt x="0" y="62"/>
                  </a:lnTo>
                  <a:lnTo>
                    <a:pt x="0" y="62"/>
                  </a:lnTo>
                  <a:lnTo>
                    <a:pt x="48" y="48"/>
                  </a:lnTo>
                  <a:lnTo>
                    <a:pt x="98" y="35"/>
                  </a:lnTo>
                  <a:lnTo>
                    <a:pt x="147" y="24"/>
                  </a:lnTo>
                  <a:lnTo>
                    <a:pt x="197" y="15"/>
                  </a:lnTo>
                  <a:lnTo>
                    <a:pt x="248" y="8"/>
                  </a:lnTo>
                  <a:lnTo>
                    <a:pt x="297" y="3"/>
                  </a:lnTo>
                  <a:lnTo>
                    <a:pt x="348" y="1"/>
                  </a:lnTo>
                  <a:lnTo>
                    <a:pt x="399" y="0"/>
                  </a:lnTo>
                  <a:lnTo>
                    <a:pt x="449" y="1"/>
                  </a:lnTo>
                  <a:lnTo>
                    <a:pt x="499" y="3"/>
                  </a:lnTo>
                  <a:lnTo>
                    <a:pt x="550" y="8"/>
                  </a:lnTo>
                  <a:lnTo>
                    <a:pt x="600" y="15"/>
                  </a:lnTo>
                  <a:lnTo>
                    <a:pt x="649" y="24"/>
                  </a:lnTo>
                  <a:lnTo>
                    <a:pt x="699" y="35"/>
                  </a:lnTo>
                  <a:lnTo>
                    <a:pt x="748" y="48"/>
                  </a:lnTo>
                  <a:lnTo>
                    <a:pt x="797" y="62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511">
              <a:extLst>
                <a:ext uri="{FF2B5EF4-FFF2-40B4-BE49-F238E27FC236}">
                  <a16:creationId xmlns:a16="http://schemas.microsoft.com/office/drawing/2014/main" id="{BFA320F0-83FA-CB47-B657-C77EA2384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813" y="2921000"/>
              <a:ext cx="631825" cy="49213"/>
            </a:xfrm>
            <a:custGeom>
              <a:avLst/>
              <a:gdLst>
                <a:gd name="T0" fmla="*/ 0 w 797"/>
                <a:gd name="T1" fmla="*/ 63 h 63"/>
                <a:gd name="T2" fmla="*/ 0 w 797"/>
                <a:gd name="T3" fmla="*/ 63 h 63"/>
                <a:gd name="T4" fmla="*/ 0 w 797"/>
                <a:gd name="T5" fmla="*/ 63 h 63"/>
                <a:gd name="T6" fmla="*/ 48 w 797"/>
                <a:gd name="T7" fmla="*/ 48 h 63"/>
                <a:gd name="T8" fmla="*/ 98 w 797"/>
                <a:gd name="T9" fmla="*/ 35 h 63"/>
                <a:gd name="T10" fmla="*/ 147 w 797"/>
                <a:gd name="T11" fmla="*/ 25 h 63"/>
                <a:gd name="T12" fmla="*/ 197 w 797"/>
                <a:gd name="T13" fmla="*/ 15 h 63"/>
                <a:gd name="T14" fmla="*/ 248 w 797"/>
                <a:gd name="T15" fmla="*/ 9 h 63"/>
                <a:gd name="T16" fmla="*/ 297 w 797"/>
                <a:gd name="T17" fmla="*/ 5 h 63"/>
                <a:gd name="T18" fmla="*/ 348 w 797"/>
                <a:gd name="T19" fmla="*/ 1 h 63"/>
                <a:gd name="T20" fmla="*/ 399 w 797"/>
                <a:gd name="T21" fmla="*/ 0 h 63"/>
                <a:gd name="T22" fmla="*/ 449 w 797"/>
                <a:gd name="T23" fmla="*/ 1 h 63"/>
                <a:gd name="T24" fmla="*/ 499 w 797"/>
                <a:gd name="T25" fmla="*/ 5 h 63"/>
                <a:gd name="T26" fmla="*/ 550 w 797"/>
                <a:gd name="T27" fmla="*/ 9 h 63"/>
                <a:gd name="T28" fmla="*/ 600 w 797"/>
                <a:gd name="T29" fmla="*/ 15 h 63"/>
                <a:gd name="T30" fmla="*/ 649 w 797"/>
                <a:gd name="T31" fmla="*/ 25 h 63"/>
                <a:gd name="T32" fmla="*/ 699 w 797"/>
                <a:gd name="T33" fmla="*/ 35 h 63"/>
                <a:gd name="T34" fmla="*/ 748 w 797"/>
                <a:gd name="T35" fmla="*/ 48 h 63"/>
                <a:gd name="T36" fmla="*/ 797 w 797"/>
                <a:gd name="T3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7" h="63"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48" y="48"/>
                  </a:lnTo>
                  <a:lnTo>
                    <a:pt x="98" y="35"/>
                  </a:lnTo>
                  <a:lnTo>
                    <a:pt x="147" y="25"/>
                  </a:lnTo>
                  <a:lnTo>
                    <a:pt x="197" y="15"/>
                  </a:lnTo>
                  <a:lnTo>
                    <a:pt x="248" y="9"/>
                  </a:lnTo>
                  <a:lnTo>
                    <a:pt x="297" y="5"/>
                  </a:lnTo>
                  <a:lnTo>
                    <a:pt x="348" y="1"/>
                  </a:lnTo>
                  <a:lnTo>
                    <a:pt x="399" y="0"/>
                  </a:lnTo>
                  <a:lnTo>
                    <a:pt x="449" y="1"/>
                  </a:lnTo>
                  <a:lnTo>
                    <a:pt x="499" y="5"/>
                  </a:lnTo>
                  <a:lnTo>
                    <a:pt x="550" y="9"/>
                  </a:lnTo>
                  <a:lnTo>
                    <a:pt x="600" y="15"/>
                  </a:lnTo>
                  <a:lnTo>
                    <a:pt x="649" y="25"/>
                  </a:lnTo>
                  <a:lnTo>
                    <a:pt x="699" y="35"/>
                  </a:lnTo>
                  <a:lnTo>
                    <a:pt x="748" y="48"/>
                  </a:lnTo>
                  <a:lnTo>
                    <a:pt x="797" y="63"/>
                  </a:lnTo>
                </a:path>
              </a:pathLst>
            </a:custGeom>
            <a:noFill/>
            <a:ln w="3175">
              <a:solidFill>
                <a:srgbClr val="CECEC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512">
              <a:extLst>
                <a:ext uri="{FF2B5EF4-FFF2-40B4-BE49-F238E27FC236}">
                  <a16:creationId xmlns:a16="http://schemas.microsoft.com/office/drawing/2014/main" id="{39CE6B2A-26E8-B64B-AEDC-907F65555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9013" y="2255838"/>
              <a:ext cx="103188" cy="163513"/>
            </a:xfrm>
            <a:custGeom>
              <a:avLst/>
              <a:gdLst>
                <a:gd name="T0" fmla="*/ 10 w 130"/>
                <a:gd name="T1" fmla="*/ 0 h 206"/>
                <a:gd name="T2" fmla="*/ 0 w 130"/>
                <a:gd name="T3" fmla="*/ 199 h 206"/>
                <a:gd name="T4" fmla="*/ 62 w 130"/>
                <a:gd name="T5" fmla="*/ 157 h 206"/>
                <a:gd name="T6" fmla="*/ 119 w 130"/>
                <a:gd name="T7" fmla="*/ 206 h 206"/>
                <a:gd name="T8" fmla="*/ 130 w 130"/>
                <a:gd name="T9" fmla="*/ 17 h 206"/>
                <a:gd name="T10" fmla="*/ 130 w 130"/>
                <a:gd name="T11" fmla="*/ 17 h 206"/>
                <a:gd name="T12" fmla="*/ 71 w 130"/>
                <a:gd name="T13" fmla="*/ 7 h 206"/>
                <a:gd name="T14" fmla="*/ 10 w 130"/>
                <a:gd name="T15" fmla="*/ 0 h 206"/>
                <a:gd name="T16" fmla="*/ 10 w 130"/>
                <a:gd name="T17" fmla="*/ 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0" h="206">
                  <a:moveTo>
                    <a:pt x="10" y="0"/>
                  </a:moveTo>
                  <a:lnTo>
                    <a:pt x="0" y="199"/>
                  </a:lnTo>
                  <a:lnTo>
                    <a:pt x="62" y="157"/>
                  </a:lnTo>
                  <a:lnTo>
                    <a:pt x="119" y="206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71" y="7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CDC4DEEA-2086-EE4D-8FED-4AD811D970BE}"/>
              </a:ext>
            </a:extLst>
          </p:cNvPr>
          <p:cNvGrpSpPr/>
          <p:nvPr/>
        </p:nvGrpSpPr>
        <p:grpSpPr>
          <a:xfrm>
            <a:off x="757580" y="3412375"/>
            <a:ext cx="1131368" cy="2682869"/>
            <a:chOff x="757580" y="3412375"/>
            <a:chExt cx="1131368" cy="2682869"/>
          </a:xfrm>
        </p:grpSpPr>
        <p:sp>
          <p:nvSpPr>
            <p:cNvPr id="53" name="Freeform 435">
              <a:extLst>
                <a:ext uri="{FF2B5EF4-FFF2-40B4-BE49-F238E27FC236}">
                  <a16:creationId xmlns:a16="http://schemas.microsoft.com/office/drawing/2014/main" id="{A2B191B9-06F2-2647-A44F-85F01C403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749" y="3520410"/>
              <a:ext cx="306099" cy="174056"/>
            </a:xfrm>
            <a:custGeom>
              <a:avLst/>
              <a:gdLst>
                <a:gd name="T0" fmla="*/ 171 w 205"/>
                <a:gd name="T1" fmla="*/ 116 h 116"/>
                <a:gd name="T2" fmla="*/ 171 w 205"/>
                <a:gd name="T3" fmla="*/ 116 h 116"/>
                <a:gd name="T4" fmla="*/ 177 w 205"/>
                <a:gd name="T5" fmla="*/ 116 h 116"/>
                <a:gd name="T6" fmla="*/ 184 w 205"/>
                <a:gd name="T7" fmla="*/ 113 h 116"/>
                <a:gd name="T8" fmla="*/ 190 w 205"/>
                <a:gd name="T9" fmla="*/ 110 h 116"/>
                <a:gd name="T10" fmla="*/ 195 w 205"/>
                <a:gd name="T11" fmla="*/ 105 h 116"/>
                <a:gd name="T12" fmla="*/ 198 w 205"/>
                <a:gd name="T13" fmla="*/ 100 h 116"/>
                <a:gd name="T14" fmla="*/ 202 w 205"/>
                <a:gd name="T15" fmla="*/ 94 h 116"/>
                <a:gd name="T16" fmla="*/ 205 w 205"/>
                <a:gd name="T17" fmla="*/ 87 h 116"/>
                <a:gd name="T18" fmla="*/ 205 w 205"/>
                <a:gd name="T19" fmla="*/ 79 h 116"/>
                <a:gd name="T20" fmla="*/ 205 w 205"/>
                <a:gd name="T21" fmla="*/ 79 h 116"/>
                <a:gd name="T22" fmla="*/ 205 w 205"/>
                <a:gd name="T23" fmla="*/ 72 h 116"/>
                <a:gd name="T24" fmla="*/ 202 w 205"/>
                <a:gd name="T25" fmla="*/ 65 h 116"/>
                <a:gd name="T26" fmla="*/ 198 w 205"/>
                <a:gd name="T27" fmla="*/ 59 h 116"/>
                <a:gd name="T28" fmla="*/ 194 w 205"/>
                <a:gd name="T29" fmla="*/ 54 h 116"/>
                <a:gd name="T30" fmla="*/ 189 w 205"/>
                <a:gd name="T31" fmla="*/ 49 h 116"/>
                <a:gd name="T32" fmla="*/ 183 w 205"/>
                <a:gd name="T33" fmla="*/ 46 h 116"/>
                <a:gd name="T34" fmla="*/ 176 w 205"/>
                <a:gd name="T35" fmla="*/ 44 h 116"/>
                <a:gd name="T36" fmla="*/ 168 w 205"/>
                <a:gd name="T37" fmla="*/ 43 h 116"/>
                <a:gd name="T38" fmla="*/ 168 w 205"/>
                <a:gd name="T39" fmla="*/ 43 h 116"/>
                <a:gd name="T40" fmla="*/ 163 w 205"/>
                <a:gd name="T41" fmla="*/ 43 h 116"/>
                <a:gd name="T42" fmla="*/ 157 w 205"/>
                <a:gd name="T43" fmla="*/ 44 h 116"/>
                <a:gd name="T44" fmla="*/ 157 w 205"/>
                <a:gd name="T45" fmla="*/ 44 h 116"/>
                <a:gd name="T46" fmla="*/ 155 w 205"/>
                <a:gd name="T47" fmla="*/ 36 h 116"/>
                <a:gd name="T48" fmla="*/ 150 w 205"/>
                <a:gd name="T49" fmla="*/ 27 h 116"/>
                <a:gd name="T50" fmla="*/ 144 w 205"/>
                <a:gd name="T51" fmla="*/ 19 h 116"/>
                <a:gd name="T52" fmla="*/ 137 w 205"/>
                <a:gd name="T53" fmla="*/ 13 h 116"/>
                <a:gd name="T54" fmla="*/ 130 w 205"/>
                <a:gd name="T55" fmla="*/ 7 h 116"/>
                <a:gd name="T56" fmla="*/ 121 w 205"/>
                <a:gd name="T57" fmla="*/ 3 h 116"/>
                <a:gd name="T58" fmla="*/ 111 w 205"/>
                <a:gd name="T59" fmla="*/ 1 h 116"/>
                <a:gd name="T60" fmla="*/ 101 w 205"/>
                <a:gd name="T61" fmla="*/ 0 h 116"/>
                <a:gd name="T62" fmla="*/ 101 w 205"/>
                <a:gd name="T63" fmla="*/ 0 h 116"/>
                <a:gd name="T64" fmla="*/ 91 w 205"/>
                <a:gd name="T65" fmla="*/ 1 h 116"/>
                <a:gd name="T66" fmla="*/ 81 w 205"/>
                <a:gd name="T67" fmla="*/ 3 h 116"/>
                <a:gd name="T68" fmla="*/ 73 w 205"/>
                <a:gd name="T69" fmla="*/ 7 h 116"/>
                <a:gd name="T70" fmla="*/ 64 w 205"/>
                <a:gd name="T71" fmla="*/ 13 h 116"/>
                <a:gd name="T72" fmla="*/ 58 w 205"/>
                <a:gd name="T73" fmla="*/ 19 h 116"/>
                <a:gd name="T74" fmla="*/ 52 w 205"/>
                <a:gd name="T75" fmla="*/ 26 h 116"/>
                <a:gd name="T76" fmla="*/ 47 w 205"/>
                <a:gd name="T77" fmla="*/ 35 h 116"/>
                <a:gd name="T78" fmla="*/ 45 w 205"/>
                <a:gd name="T79" fmla="*/ 44 h 116"/>
                <a:gd name="T80" fmla="*/ 45 w 205"/>
                <a:gd name="T81" fmla="*/ 44 h 116"/>
                <a:gd name="T82" fmla="*/ 36 w 205"/>
                <a:gd name="T83" fmla="*/ 43 h 116"/>
                <a:gd name="T84" fmla="*/ 36 w 205"/>
                <a:gd name="T85" fmla="*/ 43 h 116"/>
                <a:gd name="T86" fmla="*/ 29 w 205"/>
                <a:gd name="T87" fmla="*/ 44 h 116"/>
                <a:gd name="T88" fmla="*/ 22 w 205"/>
                <a:gd name="T89" fmla="*/ 46 h 116"/>
                <a:gd name="T90" fmla="*/ 16 w 205"/>
                <a:gd name="T91" fmla="*/ 49 h 116"/>
                <a:gd name="T92" fmla="*/ 10 w 205"/>
                <a:gd name="T93" fmla="*/ 54 h 116"/>
                <a:gd name="T94" fmla="*/ 6 w 205"/>
                <a:gd name="T95" fmla="*/ 59 h 116"/>
                <a:gd name="T96" fmla="*/ 3 w 205"/>
                <a:gd name="T97" fmla="*/ 65 h 116"/>
                <a:gd name="T98" fmla="*/ 0 w 205"/>
                <a:gd name="T99" fmla="*/ 72 h 116"/>
                <a:gd name="T100" fmla="*/ 0 w 205"/>
                <a:gd name="T101" fmla="*/ 79 h 116"/>
                <a:gd name="T102" fmla="*/ 0 w 205"/>
                <a:gd name="T103" fmla="*/ 79 h 116"/>
                <a:gd name="T104" fmla="*/ 0 w 205"/>
                <a:gd name="T105" fmla="*/ 87 h 116"/>
                <a:gd name="T106" fmla="*/ 3 w 205"/>
                <a:gd name="T107" fmla="*/ 93 h 116"/>
                <a:gd name="T108" fmla="*/ 5 w 205"/>
                <a:gd name="T109" fmla="*/ 99 h 116"/>
                <a:gd name="T110" fmla="*/ 10 w 205"/>
                <a:gd name="T111" fmla="*/ 105 h 116"/>
                <a:gd name="T112" fmla="*/ 15 w 205"/>
                <a:gd name="T113" fmla="*/ 110 h 116"/>
                <a:gd name="T114" fmla="*/ 21 w 205"/>
                <a:gd name="T115" fmla="*/ 112 h 116"/>
                <a:gd name="T116" fmla="*/ 27 w 205"/>
                <a:gd name="T117" fmla="*/ 115 h 116"/>
                <a:gd name="T118" fmla="*/ 33 w 205"/>
                <a:gd name="T11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5" h="116">
                  <a:moveTo>
                    <a:pt x="171" y="116"/>
                  </a:moveTo>
                  <a:lnTo>
                    <a:pt x="171" y="116"/>
                  </a:lnTo>
                  <a:lnTo>
                    <a:pt x="177" y="116"/>
                  </a:lnTo>
                  <a:lnTo>
                    <a:pt x="184" y="113"/>
                  </a:lnTo>
                  <a:lnTo>
                    <a:pt x="190" y="110"/>
                  </a:lnTo>
                  <a:lnTo>
                    <a:pt x="195" y="105"/>
                  </a:lnTo>
                  <a:lnTo>
                    <a:pt x="198" y="100"/>
                  </a:lnTo>
                  <a:lnTo>
                    <a:pt x="202" y="94"/>
                  </a:lnTo>
                  <a:lnTo>
                    <a:pt x="205" y="87"/>
                  </a:lnTo>
                  <a:lnTo>
                    <a:pt x="205" y="79"/>
                  </a:lnTo>
                  <a:lnTo>
                    <a:pt x="205" y="79"/>
                  </a:lnTo>
                  <a:lnTo>
                    <a:pt x="205" y="72"/>
                  </a:lnTo>
                  <a:lnTo>
                    <a:pt x="202" y="65"/>
                  </a:lnTo>
                  <a:lnTo>
                    <a:pt x="198" y="59"/>
                  </a:lnTo>
                  <a:lnTo>
                    <a:pt x="194" y="54"/>
                  </a:lnTo>
                  <a:lnTo>
                    <a:pt x="189" y="49"/>
                  </a:lnTo>
                  <a:lnTo>
                    <a:pt x="183" y="46"/>
                  </a:lnTo>
                  <a:lnTo>
                    <a:pt x="176" y="44"/>
                  </a:lnTo>
                  <a:lnTo>
                    <a:pt x="168" y="43"/>
                  </a:lnTo>
                  <a:lnTo>
                    <a:pt x="168" y="43"/>
                  </a:lnTo>
                  <a:lnTo>
                    <a:pt x="163" y="43"/>
                  </a:lnTo>
                  <a:lnTo>
                    <a:pt x="157" y="44"/>
                  </a:lnTo>
                  <a:lnTo>
                    <a:pt x="157" y="44"/>
                  </a:lnTo>
                  <a:lnTo>
                    <a:pt x="155" y="36"/>
                  </a:lnTo>
                  <a:lnTo>
                    <a:pt x="150" y="27"/>
                  </a:lnTo>
                  <a:lnTo>
                    <a:pt x="144" y="19"/>
                  </a:lnTo>
                  <a:lnTo>
                    <a:pt x="137" y="13"/>
                  </a:lnTo>
                  <a:lnTo>
                    <a:pt x="130" y="7"/>
                  </a:lnTo>
                  <a:lnTo>
                    <a:pt x="121" y="3"/>
                  </a:lnTo>
                  <a:lnTo>
                    <a:pt x="111" y="1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1" y="1"/>
                  </a:lnTo>
                  <a:lnTo>
                    <a:pt x="81" y="3"/>
                  </a:lnTo>
                  <a:lnTo>
                    <a:pt x="73" y="7"/>
                  </a:lnTo>
                  <a:lnTo>
                    <a:pt x="64" y="13"/>
                  </a:lnTo>
                  <a:lnTo>
                    <a:pt x="58" y="19"/>
                  </a:lnTo>
                  <a:lnTo>
                    <a:pt x="52" y="26"/>
                  </a:lnTo>
                  <a:lnTo>
                    <a:pt x="47" y="35"/>
                  </a:lnTo>
                  <a:lnTo>
                    <a:pt x="45" y="44"/>
                  </a:lnTo>
                  <a:lnTo>
                    <a:pt x="45" y="44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29" y="44"/>
                  </a:lnTo>
                  <a:lnTo>
                    <a:pt x="22" y="46"/>
                  </a:lnTo>
                  <a:lnTo>
                    <a:pt x="16" y="49"/>
                  </a:lnTo>
                  <a:lnTo>
                    <a:pt x="10" y="54"/>
                  </a:lnTo>
                  <a:lnTo>
                    <a:pt x="6" y="59"/>
                  </a:lnTo>
                  <a:lnTo>
                    <a:pt x="3" y="65"/>
                  </a:lnTo>
                  <a:lnTo>
                    <a:pt x="0" y="72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87"/>
                  </a:lnTo>
                  <a:lnTo>
                    <a:pt x="3" y="93"/>
                  </a:lnTo>
                  <a:lnTo>
                    <a:pt x="5" y="99"/>
                  </a:lnTo>
                  <a:lnTo>
                    <a:pt x="10" y="105"/>
                  </a:lnTo>
                  <a:lnTo>
                    <a:pt x="15" y="110"/>
                  </a:lnTo>
                  <a:lnTo>
                    <a:pt x="21" y="112"/>
                  </a:lnTo>
                  <a:lnTo>
                    <a:pt x="27" y="115"/>
                  </a:lnTo>
                  <a:lnTo>
                    <a:pt x="33" y="11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437">
              <a:extLst>
                <a:ext uri="{FF2B5EF4-FFF2-40B4-BE49-F238E27FC236}">
                  <a16:creationId xmlns:a16="http://schemas.microsoft.com/office/drawing/2014/main" id="{F3AC463C-77F5-EA46-974C-E379571E7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658" y="3412375"/>
              <a:ext cx="576187" cy="2616848"/>
            </a:xfrm>
            <a:custGeom>
              <a:avLst/>
              <a:gdLst>
                <a:gd name="T0" fmla="*/ 232 w 385"/>
                <a:gd name="T1" fmla="*/ 1744 h 1744"/>
                <a:gd name="T2" fmla="*/ 0 w 385"/>
                <a:gd name="T3" fmla="*/ 1723 h 1744"/>
                <a:gd name="T4" fmla="*/ 153 w 385"/>
                <a:gd name="T5" fmla="*/ 0 h 1744"/>
                <a:gd name="T6" fmla="*/ 385 w 385"/>
                <a:gd name="T7" fmla="*/ 21 h 1744"/>
                <a:gd name="T8" fmla="*/ 232 w 385"/>
                <a:gd name="T9" fmla="*/ 1744 h 1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5" h="1744">
                  <a:moveTo>
                    <a:pt x="232" y="1744"/>
                  </a:moveTo>
                  <a:lnTo>
                    <a:pt x="0" y="1723"/>
                  </a:lnTo>
                  <a:lnTo>
                    <a:pt x="153" y="0"/>
                  </a:lnTo>
                  <a:lnTo>
                    <a:pt x="385" y="21"/>
                  </a:lnTo>
                  <a:lnTo>
                    <a:pt x="232" y="1744"/>
                  </a:lnTo>
                  <a:close/>
                </a:path>
              </a:pathLst>
            </a:custGeom>
            <a:solidFill>
              <a:srgbClr val="F2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Line 438">
              <a:extLst>
                <a:ext uri="{FF2B5EF4-FFF2-40B4-BE49-F238E27FC236}">
                  <a16:creationId xmlns:a16="http://schemas.microsoft.com/office/drawing/2014/main" id="{5DBAB80F-3F97-D644-A9D6-BB2BE1FAAF9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75781" y="3514408"/>
              <a:ext cx="156051" cy="12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Line 439">
              <a:extLst>
                <a:ext uri="{FF2B5EF4-FFF2-40B4-BE49-F238E27FC236}">
                  <a16:creationId xmlns:a16="http://schemas.microsoft.com/office/drawing/2014/main" id="{FB1D08DE-FA32-7243-8D6C-9F7E136A70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438800" y="3589431"/>
              <a:ext cx="84027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Line 440">
              <a:extLst>
                <a:ext uri="{FF2B5EF4-FFF2-40B4-BE49-F238E27FC236}">
                  <a16:creationId xmlns:a16="http://schemas.microsoft.com/office/drawing/2014/main" id="{4BDABB00-7C8D-A842-A994-B4B184EF9B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432798" y="3661455"/>
              <a:ext cx="84027" cy="6002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Line 441">
              <a:extLst>
                <a:ext uri="{FF2B5EF4-FFF2-40B4-BE49-F238E27FC236}">
                  <a16:creationId xmlns:a16="http://schemas.microsoft.com/office/drawing/2014/main" id="{C33A983F-F5FA-8E4F-88EC-AC18550411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426796" y="3730478"/>
              <a:ext cx="84027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Line 442">
              <a:extLst>
                <a:ext uri="{FF2B5EF4-FFF2-40B4-BE49-F238E27FC236}">
                  <a16:creationId xmlns:a16="http://schemas.microsoft.com/office/drawing/2014/main" id="{21EF90C3-D7CB-E94F-A2E5-B8C84E403E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420794" y="3799500"/>
              <a:ext cx="84027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Line 443">
              <a:extLst>
                <a:ext uri="{FF2B5EF4-FFF2-40B4-BE49-F238E27FC236}">
                  <a16:creationId xmlns:a16="http://schemas.microsoft.com/office/drawing/2014/main" id="{1249D280-52B8-2445-8A0D-754C8346F6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42769" y="3868523"/>
              <a:ext cx="156051" cy="12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Line 444">
              <a:extLst>
                <a:ext uri="{FF2B5EF4-FFF2-40B4-BE49-F238E27FC236}">
                  <a16:creationId xmlns:a16="http://schemas.microsoft.com/office/drawing/2014/main" id="{F574C56D-23E4-2947-A655-B103FBB5CC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408790" y="3943546"/>
              <a:ext cx="84027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Line 445">
              <a:extLst>
                <a:ext uri="{FF2B5EF4-FFF2-40B4-BE49-F238E27FC236}">
                  <a16:creationId xmlns:a16="http://schemas.microsoft.com/office/drawing/2014/main" id="{156994FF-8354-DE48-A343-8B425FA74D5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402788" y="4015570"/>
              <a:ext cx="84027" cy="6002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Line 446">
              <a:extLst>
                <a:ext uri="{FF2B5EF4-FFF2-40B4-BE49-F238E27FC236}">
                  <a16:creationId xmlns:a16="http://schemas.microsoft.com/office/drawing/2014/main" id="{5F9F7EAE-AA82-1E4A-9702-8E4506EFA8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96786" y="4084593"/>
              <a:ext cx="84027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Line 447">
              <a:extLst>
                <a:ext uri="{FF2B5EF4-FFF2-40B4-BE49-F238E27FC236}">
                  <a16:creationId xmlns:a16="http://schemas.microsoft.com/office/drawing/2014/main" id="{EB2A3CFA-98B5-CB47-AD5E-1385FEEFF9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87784" y="4153614"/>
              <a:ext cx="87029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Line 448">
              <a:extLst>
                <a:ext uri="{FF2B5EF4-FFF2-40B4-BE49-F238E27FC236}">
                  <a16:creationId xmlns:a16="http://schemas.microsoft.com/office/drawing/2014/main" id="{823EDD09-DDCE-2247-932F-E902582690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12759" y="4222638"/>
              <a:ext cx="153051" cy="12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Line 449">
              <a:extLst>
                <a:ext uri="{FF2B5EF4-FFF2-40B4-BE49-F238E27FC236}">
                  <a16:creationId xmlns:a16="http://schemas.microsoft.com/office/drawing/2014/main" id="{96283F05-99A3-424D-AC16-38FBBFD1C7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75781" y="4297661"/>
              <a:ext cx="87029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Line 450">
              <a:extLst>
                <a:ext uri="{FF2B5EF4-FFF2-40B4-BE49-F238E27FC236}">
                  <a16:creationId xmlns:a16="http://schemas.microsoft.com/office/drawing/2014/main" id="{C1723543-9B0A-D848-A1B8-24F47C06D0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69779" y="4369684"/>
              <a:ext cx="84027" cy="6002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Line 451">
              <a:extLst>
                <a:ext uri="{FF2B5EF4-FFF2-40B4-BE49-F238E27FC236}">
                  <a16:creationId xmlns:a16="http://schemas.microsoft.com/office/drawing/2014/main" id="{26E83B48-8924-9647-80CA-B791446C765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66777" y="4438708"/>
              <a:ext cx="81027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Line 452">
              <a:extLst>
                <a:ext uri="{FF2B5EF4-FFF2-40B4-BE49-F238E27FC236}">
                  <a16:creationId xmlns:a16="http://schemas.microsoft.com/office/drawing/2014/main" id="{37F5903A-E142-EA43-B40E-28BF2FB355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57775" y="4507729"/>
              <a:ext cx="84027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Line 453">
              <a:extLst>
                <a:ext uri="{FF2B5EF4-FFF2-40B4-BE49-F238E27FC236}">
                  <a16:creationId xmlns:a16="http://schemas.microsoft.com/office/drawing/2014/main" id="{E4CF8D89-D569-9D4E-84A6-DB5F4DC8CE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282749" y="4576752"/>
              <a:ext cx="153051" cy="12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Line 454">
              <a:extLst>
                <a:ext uri="{FF2B5EF4-FFF2-40B4-BE49-F238E27FC236}">
                  <a16:creationId xmlns:a16="http://schemas.microsoft.com/office/drawing/2014/main" id="{37E0A0BB-F982-8448-9B34-FAE6511EA7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45771" y="4651776"/>
              <a:ext cx="84027" cy="6002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Line 455">
              <a:extLst>
                <a:ext uri="{FF2B5EF4-FFF2-40B4-BE49-F238E27FC236}">
                  <a16:creationId xmlns:a16="http://schemas.microsoft.com/office/drawing/2014/main" id="{08B8F194-829D-F34D-9181-8533D8511A7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39769" y="4723799"/>
              <a:ext cx="84027" cy="6002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Line 456">
              <a:extLst>
                <a:ext uri="{FF2B5EF4-FFF2-40B4-BE49-F238E27FC236}">
                  <a16:creationId xmlns:a16="http://schemas.microsoft.com/office/drawing/2014/main" id="{3C4EC36E-DAF9-3446-9E88-BEBFA43210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33767" y="4792822"/>
              <a:ext cx="84027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Line 457">
              <a:extLst>
                <a:ext uri="{FF2B5EF4-FFF2-40B4-BE49-F238E27FC236}">
                  <a16:creationId xmlns:a16="http://schemas.microsoft.com/office/drawing/2014/main" id="{3DCC2AA4-26A3-CD46-A143-A265F6A266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27765" y="4861844"/>
              <a:ext cx="84027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Line 458">
              <a:extLst>
                <a:ext uri="{FF2B5EF4-FFF2-40B4-BE49-F238E27FC236}">
                  <a16:creationId xmlns:a16="http://schemas.microsoft.com/office/drawing/2014/main" id="{73BC78D5-B12F-5241-95C1-0451BB12C1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252740" y="4927865"/>
              <a:ext cx="153051" cy="15006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Line 459">
              <a:extLst>
                <a:ext uri="{FF2B5EF4-FFF2-40B4-BE49-F238E27FC236}">
                  <a16:creationId xmlns:a16="http://schemas.microsoft.com/office/drawing/2014/main" id="{291BEDD8-3ED8-3045-B415-F8FF7E0378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15761" y="5005891"/>
              <a:ext cx="81027" cy="6002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Line 460">
              <a:extLst>
                <a:ext uri="{FF2B5EF4-FFF2-40B4-BE49-F238E27FC236}">
                  <a16:creationId xmlns:a16="http://schemas.microsoft.com/office/drawing/2014/main" id="{1E9C3362-2B9F-1248-96BA-5FE881CC977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09759" y="5074914"/>
              <a:ext cx="84027" cy="9004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Line 461">
              <a:extLst>
                <a:ext uri="{FF2B5EF4-FFF2-40B4-BE49-F238E27FC236}">
                  <a16:creationId xmlns:a16="http://schemas.microsoft.com/office/drawing/2014/main" id="{5614A4BF-4FF2-E846-BFE6-230D301F5F1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00755" y="5146937"/>
              <a:ext cx="84027" cy="6002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Line 462">
              <a:extLst>
                <a:ext uri="{FF2B5EF4-FFF2-40B4-BE49-F238E27FC236}">
                  <a16:creationId xmlns:a16="http://schemas.microsoft.com/office/drawing/2014/main" id="{A041CA10-475C-FF41-98DC-B41F9CC2C1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297755" y="5218961"/>
              <a:ext cx="81027" cy="6002"/>
            </a:xfrm>
            <a:prstGeom prst="line">
              <a:avLst/>
            </a:prstGeom>
            <a:noFill/>
            <a:ln w="1588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464">
              <a:extLst>
                <a:ext uri="{FF2B5EF4-FFF2-40B4-BE49-F238E27FC236}">
                  <a16:creationId xmlns:a16="http://schemas.microsoft.com/office/drawing/2014/main" id="{834F356F-A648-5C46-BCE4-3541E9D55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631" y="4888854"/>
              <a:ext cx="318103" cy="708230"/>
            </a:xfrm>
            <a:custGeom>
              <a:avLst/>
              <a:gdLst>
                <a:gd name="T0" fmla="*/ 73 w 213"/>
                <a:gd name="T1" fmla="*/ 42 h 472"/>
                <a:gd name="T2" fmla="*/ 73 w 213"/>
                <a:gd name="T3" fmla="*/ 42 h 472"/>
                <a:gd name="T4" fmla="*/ 66 w 213"/>
                <a:gd name="T5" fmla="*/ 43 h 472"/>
                <a:gd name="T6" fmla="*/ 66 w 213"/>
                <a:gd name="T7" fmla="*/ 43 h 472"/>
                <a:gd name="T8" fmla="*/ 57 w 213"/>
                <a:gd name="T9" fmla="*/ 45 h 472"/>
                <a:gd name="T10" fmla="*/ 57 w 213"/>
                <a:gd name="T11" fmla="*/ 45 h 472"/>
                <a:gd name="T12" fmla="*/ 44 w 213"/>
                <a:gd name="T13" fmla="*/ 46 h 472"/>
                <a:gd name="T14" fmla="*/ 35 w 213"/>
                <a:gd name="T15" fmla="*/ 45 h 472"/>
                <a:gd name="T16" fmla="*/ 28 w 213"/>
                <a:gd name="T17" fmla="*/ 44 h 472"/>
                <a:gd name="T18" fmla="*/ 20 w 213"/>
                <a:gd name="T19" fmla="*/ 42 h 472"/>
                <a:gd name="T20" fmla="*/ 12 w 213"/>
                <a:gd name="T21" fmla="*/ 38 h 472"/>
                <a:gd name="T22" fmla="*/ 6 w 213"/>
                <a:gd name="T23" fmla="*/ 33 h 472"/>
                <a:gd name="T24" fmla="*/ 0 w 213"/>
                <a:gd name="T25" fmla="*/ 27 h 472"/>
                <a:gd name="T26" fmla="*/ 96 w 213"/>
                <a:gd name="T27" fmla="*/ 453 h 472"/>
                <a:gd name="T28" fmla="*/ 96 w 213"/>
                <a:gd name="T29" fmla="*/ 453 h 472"/>
                <a:gd name="T30" fmla="*/ 102 w 213"/>
                <a:gd name="T31" fmla="*/ 460 h 472"/>
                <a:gd name="T32" fmla="*/ 109 w 213"/>
                <a:gd name="T33" fmla="*/ 465 h 472"/>
                <a:gd name="T34" fmla="*/ 116 w 213"/>
                <a:gd name="T35" fmla="*/ 468 h 472"/>
                <a:gd name="T36" fmla="*/ 124 w 213"/>
                <a:gd name="T37" fmla="*/ 470 h 472"/>
                <a:gd name="T38" fmla="*/ 132 w 213"/>
                <a:gd name="T39" fmla="*/ 471 h 472"/>
                <a:gd name="T40" fmla="*/ 139 w 213"/>
                <a:gd name="T41" fmla="*/ 472 h 472"/>
                <a:gd name="T42" fmla="*/ 154 w 213"/>
                <a:gd name="T43" fmla="*/ 471 h 472"/>
                <a:gd name="T44" fmla="*/ 154 w 213"/>
                <a:gd name="T45" fmla="*/ 471 h 472"/>
                <a:gd name="T46" fmla="*/ 161 w 213"/>
                <a:gd name="T47" fmla="*/ 470 h 472"/>
                <a:gd name="T48" fmla="*/ 161 w 213"/>
                <a:gd name="T49" fmla="*/ 470 h 472"/>
                <a:gd name="T50" fmla="*/ 170 w 213"/>
                <a:gd name="T51" fmla="*/ 467 h 472"/>
                <a:gd name="T52" fmla="*/ 170 w 213"/>
                <a:gd name="T53" fmla="*/ 467 h 472"/>
                <a:gd name="T54" fmla="*/ 183 w 213"/>
                <a:gd name="T55" fmla="*/ 462 h 472"/>
                <a:gd name="T56" fmla="*/ 190 w 213"/>
                <a:gd name="T57" fmla="*/ 459 h 472"/>
                <a:gd name="T58" fmla="*/ 196 w 213"/>
                <a:gd name="T59" fmla="*/ 454 h 472"/>
                <a:gd name="T60" fmla="*/ 202 w 213"/>
                <a:gd name="T61" fmla="*/ 449 h 472"/>
                <a:gd name="T62" fmla="*/ 207 w 213"/>
                <a:gd name="T63" fmla="*/ 442 h 472"/>
                <a:gd name="T64" fmla="*/ 211 w 213"/>
                <a:gd name="T65" fmla="*/ 435 h 472"/>
                <a:gd name="T66" fmla="*/ 213 w 213"/>
                <a:gd name="T67" fmla="*/ 426 h 472"/>
                <a:gd name="T68" fmla="*/ 118 w 213"/>
                <a:gd name="T69" fmla="*/ 0 h 472"/>
                <a:gd name="T70" fmla="*/ 118 w 213"/>
                <a:gd name="T71" fmla="*/ 0 h 472"/>
                <a:gd name="T72" fmla="*/ 115 w 213"/>
                <a:gd name="T73" fmla="*/ 9 h 472"/>
                <a:gd name="T74" fmla="*/ 112 w 213"/>
                <a:gd name="T75" fmla="*/ 16 h 472"/>
                <a:gd name="T76" fmla="*/ 105 w 213"/>
                <a:gd name="T77" fmla="*/ 22 h 472"/>
                <a:gd name="T78" fmla="*/ 99 w 213"/>
                <a:gd name="T79" fmla="*/ 28 h 472"/>
                <a:gd name="T80" fmla="*/ 93 w 213"/>
                <a:gd name="T81" fmla="*/ 32 h 472"/>
                <a:gd name="T82" fmla="*/ 86 w 213"/>
                <a:gd name="T83" fmla="*/ 35 h 472"/>
                <a:gd name="T84" fmla="*/ 73 w 213"/>
                <a:gd name="T85" fmla="*/ 42 h 472"/>
                <a:gd name="T86" fmla="*/ 73 w 213"/>
                <a:gd name="T87" fmla="*/ 4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3" h="472">
                  <a:moveTo>
                    <a:pt x="73" y="42"/>
                  </a:moveTo>
                  <a:lnTo>
                    <a:pt x="73" y="42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44" y="46"/>
                  </a:lnTo>
                  <a:lnTo>
                    <a:pt x="35" y="45"/>
                  </a:lnTo>
                  <a:lnTo>
                    <a:pt x="28" y="44"/>
                  </a:lnTo>
                  <a:lnTo>
                    <a:pt x="20" y="42"/>
                  </a:lnTo>
                  <a:lnTo>
                    <a:pt x="12" y="38"/>
                  </a:lnTo>
                  <a:lnTo>
                    <a:pt x="6" y="33"/>
                  </a:lnTo>
                  <a:lnTo>
                    <a:pt x="0" y="27"/>
                  </a:lnTo>
                  <a:lnTo>
                    <a:pt x="96" y="453"/>
                  </a:lnTo>
                  <a:lnTo>
                    <a:pt x="96" y="453"/>
                  </a:lnTo>
                  <a:lnTo>
                    <a:pt x="102" y="460"/>
                  </a:lnTo>
                  <a:lnTo>
                    <a:pt x="109" y="465"/>
                  </a:lnTo>
                  <a:lnTo>
                    <a:pt x="116" y="468"/>
                  </a:lnTo>
                  <a:lnTo>
                    <a:pt x="124" y="470"/>
                  </a:lnTo>
                  <a:lnTo>
                    <a:pt x="132" y="471"/>
                  </a:lnTo>
                  <a:lnTo>
                    <a:pt x="139" y="472"/>
                  </a:lnTo>
                  <a:lnTo>
                    <a:pt x="154" y="471"/>
                  </a:lnTo>
                  <a:lnTo>
                    <a:pt x="154" y="471"/>
                  </a:lnTo>
                  <a:lnTo>
                    <a:pt x="161" y="470"/>
                  </a:lnTo>
                  <a:lnTo>
                    <a:pt x="161" y="470"/>
                  </a:lnTo>
                  <a:lnTo>
                    <a:pt x="170" y="467"/>
                  </a:lnTo>
                  <a:lnTo>
                    <a:pt x="170" y="467"/>
                  </a:lnTo>
                  <a:lnTo>
                    <a:pt x="183" y="462"/>
                  </a:lnTo>
                  <a:lnTo>
                    <a:pt x="190" y="459"/>
                  </a:lnTo>
                  <a:lnTo>
                    <a:pt x="196" y="454"/>
                  </a:lnTo>
                  <a:lnTo>
                    <a:pt x="202" y="449"/>
                  </a:lnTo>
                  <a:lnTo>
                    <a:pt x="207" y="442"/>
                  </a:lnTo>
                  <a:lnTo>
                    <a:pt x="211" y="435"/>
                  </a:lnTo>
                  <a:lnTo>
                    <a:pt x="213" y="42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5" y="9"/>
                  </a:lnTo>
                  <a:lnTo>
                    <a:pt x="112" y="16"/>
                  </a:lnTo>
                  <a:lnTo>
                    <a:pt x="105" y="22"/>
                  </a:lnTo>
                  <a:lnTo>
                    <a:pt x="99" y="28"/>
                  </a:lnTo>
                  <a:lnTo>
                    <a:pt x="93" y="32"/>
                  </a:lnTo>
                  <a:lnTo>
                    <a:pt x="86" y="35"/>
                  </a:lnTo>
                  <a:lnTo>
                    <a:pt x="73" y="42"/>
                  </a:lnTo>
                  <a:lnTo>
                    <a:pt x="73" y="42"/>
                  </a:lnTo>
                  <a:close/>
                </a:path>
              </a:pathLst>
            </a:custGeom>
            <a:solidFill>
              <a:srgbClr val="F2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466">
              <a:extLst>
                <a:ext uri="{FF2B5EF4-FFF2-40B4-BE49-F238E27FC236}">
                  <a16:creationId xmlns:a16="http://schemas.microsoft.com/office/drawing/2014/main" id="{8A6CC748-18E3-D34D-94CD-52E00AFA2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590" y="4342677"/>
              <a:ext cx="327107" cy="1203391"/>
            </a:xfrm>
            <a:custGeom>
              <a:avLst/>
              <a:gdLst>
                <a:gd name="T0" fmla="*/ 179 w 218"/>
                <a:gd name="T1" fmla="*/ 803 h 803"/>
                <a:gd name="T2" fmla="*/ 0 w 218"/>
                <a:gd name="T3" fmla="*/ 10 h 803"/>
                <a:gd name="T4" fmla="*/ 39 w 218"/>
                <a:gd name="T5" fmla="*/ 0 h 803"/>
                <a:gd name="T6" fmla="*/ 218 w 218"/>
                <a:gd name="T7" fmla="*/ 793 h 803"/>
                <a:gd name="T8" fmla="*/ 179 w 218"/>
                <a:gd name="T9" fmla="*/ 803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803">
                  <a:moveTo>
                    <a:pt x="179" y="803"/>
                  </a:moveTo>
                  <a:lnTo>
                    <a:pt x="0" y="10"/>
                  </a:lnTo>
                  <a:lnTo>
                    <a:pt x="39" y="0"/>
                  </a:lnTo>
                  <a:lnTo>
                    <a:pt x="218" y="793"/>
                  </a:lnTo>
                  <a:lnTo>
                    <a:pt x="179" y="80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467">
              <a:extLst>
                <a:ext uri="{FF2B5EF4-FFF2-40B4-BE49-F238E27FC236}">
                  <a16:creationId xmlns:a16="http://schemas.microsoft.com/office/drawing/2014/main" id="{333AF5F6-4BBE-3145-BE07-028428F10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607" y="4327671"/>
              <a:ext cx="327107" cy="1203391"/>
            </a:xfrm>
            <a:custGeom>
              <a:avLst/>
              <a:gdLst>
                <a:gd name="T0" fmla="*/ 179 w 218"/>
                <a:gd name="T1" fmla="*/ 801 h 801"/>
                <a:gd name="T2" fmla="*/ 0 w 218"/>
                <a:gd name="T3" fmla="*/ 8 h 801"/>
                <a:gd name="T4" fmla="*/ 39 w 218"/>
                <a:gd name="T5" fmla="*/ 0 h 801"/>
                <a:gd name="T6" fmla="*/ 218 w 218"/>
                <a:gd name="T7" fmla="*/ 793 h 801"/>
                <a:gd name="T8" fmla="*/ 179 w 218"/>
                <a:gd name="T9" fmla="*/ 801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801">
                  <a:moveTo>
                    <a:pt x="179" y="801"/>
                  </a:moveTo>
                  <a:lnTo>
                    <a:pt x="0" y="8"/>
                  </a:lnTo>
                  <a:lnTo>
                    <a:pt x="39" y="0"/>
                  </a:lnTo>
                  <a:lnTo>
                    <a:pt x="218" y="793"/>
                  </a:lnTo>
                  <a:lnTo>
                    <a:pt x="179" y="801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468">
              <a:extLst>
                <a:ext uri="{FF2B5EF4-FFF2-40B4-BE49-F238E27FC236}">
                  <a16:creationId xmlns:a16="http://schemas.microsoft.com/office/drawing/2014/main" id="{7C7BB87F-05AC-0345-969E-8B6AF836B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627" y="4315667"/>
              <a:ext cx="330107" cy="1203391"/>
            </a:xfrm>
            <a:custGeom>
              <a:avLst/>
              <a:gdLst>
                <a:gd name="T0" fmla="*/ 179 w 219"/>
                <a:gd name="T1" fmla="*/ 802 h 802"/>
                <a:gd name="T2" fmla="*/ 0 w 219"/>
                <a:gd name="T3" fmla="*/ 9 h 802"/>
                <a:gd name="T4" fmla="*/ 40 w 219"/>
                <a:gd name="T5" fmla="*/ 0 h 802"/>
                <a:gd name="T6" fmla="*/ 219 w 219"/>
                <a:gd name="T7" fmla="*/ 794 h 802"/>
                <a:gd name="T8" fmla="*/ 179 w 219"/>
                <a:gd name="T9" fmla="*/ 802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802">
                  <a:moveTo>
                    <a:pt x="179" y="802"/>
                  </a:moveTo>
                  <a:lnTo>
                    <a:pt x="0" y="9"/>
                  </a:lnTo>
                  <a:lnTo>
                    <a:pt x="40" y="0"/>
                  </a:lnTo>
                  <a:lnTo>
                    <a:pt x="219" y="794"/>
                  </a:lnTo>
                  <a:lnTo>
                    <a:pt x="179" y="80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469">
              <a:extLst>
                <a:ext uri="{FF2B5EF4-FFF2-40B4-BE49-F238E27FC236}">
                  <a16:creationId xmlns:a16="http://schemas.microsoft.com/office/drawing/2014/main" id="{729C2774-4A11-2B47-B6AE-08EFDCD30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4675" y="5507054"/>
              <a:ext cx="180058" cy="60019"/>
            </a:xfrm>
            <a:custGeom>
              <a:avLst/>
              <a:gdLst>
                <a:gd name="T0" fmla="*/ 118 w 120"/>
                <a:gd name="T1" fmla="*/ 0 h 41"/>
                <a:gd name="T2" fmla="*/ 120 w 120"/>
                <a:gd name="T3" fmla="*/ 14 h 41"/>
                <a:gd name="T4" fmla="*/ 3 w 120"/>
                <a:gd name="T5" fmla="*/ 41 h 41"/>
                <a:gd name="T6" fmla="*/ 0 w 120"/>
                <a:gd name="T7" fmla="*/ 26 h 41"/>
                <a:gd name="T8" fmla="*/ 118 w 120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41">
                  <a:moveTo>
                    <a:pt x="118" y="0"/>
                  </a:moveTo>
                  <a:lnTo>
                    <a:pt x="120" y="14"/>
                  </a:lnTo>
                  <a:lnTo>
                    <a:pt x="3" y="41"/>
                  </a:lnTo>
                  <a:lnTo>
                    <a:pt x="0" y="26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470">
              <a:extLst>
                <a:ext uri="{FF2B5EF4-FFF2-40B4-BE49-F238E27FC236}">
                  <a16:creationId xmlns:a16="http://schemas.microsoft.com/office/drawing/2014/main" id="{D96CC86C-F313-2E4F-A793-057F9C1CE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6708" y="5513056"/>
              <a:ext cx="54018" cy="30010"/>
            </a:xfrm>
            <a:custGeom>
              <a:avLst/>
              <a:gdLst>
                <a:gd name="T0" fmla="*/ 34 w 36"/>
                <a:gd name="T1" fmla="*/ 0 h 22"/>
                <a:gd name="T2" fmla="*/ 36 w 36"/>
                <a:gd name="T3" fmla="*/ 15 h 22"/>
                <a:gd name="T4" fmla="*/ 4 w 36"/>
                <a:gd name="T5" fmla="*/ 22 h 22"/>
                <a:gd name="T6" fmla="*/ 0 w 36"/>
                <a:gd name="T7" fmla="*/ 7 h 22"/>
                <a:gd name="T8" fmla="*/ 34 w 36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0"/>
                  </a:moveTo>
                  <a:lnTo>
                    <a:pt x="36" y="15"/>
                  </a:lnTo>
                  <a:lnTo>
                    <a:pt x="4" y="22"/>
                  </a:lnTo>
                  <a:lnTo>
                    <a:pt x="0" y="7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B5B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471">
              <a:extLst>
                <a:ext uri="{FF2B5EF4-FFF2-40B4-BE49-F238E27FC236}">
                  <a16:creationId xmlns:a16="http://schemas.microsoft.com/office/drawing/2014/main" id="{D90156F8-74F2-2247-BC4A-C83BB72DC7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720" y="5513056"/>
              <a:ext cx="12004" cy="24008"/>
            </a:xfrm>
            <a:custGeom>
              <a:avLst/>
              <a:gdLst>
                <a:gd name="T0" fmla="*/ 5 w 9"/>
                <a:gd name="T1" fmla="*/ 0 h 16"/>
                <a:gd name="T2" fmla="*/ 9 w 9"/>
                <a:gd name="T3" fmla="*/ 15 h 16"/>
                <a:gd name="T4" fmla="*/ 4 w 9"/>
                <a:gd name="T5" fmla="*/ 16 h 16"/>
                <a:gd name="T6" fmla="*/ 0 w 9"/>
                <a:gd name="T7" fmla="*/ 2 h 16"/>
                <a:gd name="T8" fmla="*/ 5 w 9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5" y="0"/>
                  </a:moveTo>
                  <a:lnTo>
                    <a:pt x="9" y="15"/>
                  </a:lnTo>
                  <a:lnTo>
                    <a:pt x="4" y="16"/>
                  </a:lnTo>
                  <a:lnTo>
                    <a:pt x="0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9B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472">
              <a:extLst>
                <a:ext uri="{FF2B5EF4-FFF2-40B4-BE49-F238E27FC236}">
                  <a16:creationId xmlns:a16="http://schemas.microsoft.com/office/drawing/2014/main" id="{6F87664D-1379-8048-9735-86CB8BF3E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728" y="5507054"/>
              <a:ext cx="12004" cy="24008"/>
            </a:xfrm>
            <a:custGeom>
              <a:avLst/>
              <a:gdLst>
                <a:gd name="T0" fmla="*/ 6 w 8"/>
                <a:gd name="T1" fmla="*/ 0 h 15"/>
                <a:gd name="T2" fmla="*/ 8 w 8"/>
                <a:gd name="T3" fmla="*/ 14 h 15"/>
                <a:gd name="T4" fmla="*/ 2 w 8"/>
                <a:gd name="T5" fmla="*/ 15 h 15"/>
                <a:gd name="T6" fmla="*/ 0 w 8"/>
                <a:gd name="T7" fmla="*/ 1 h 15"/>
                <a:gd name="T8" fmla="*/ 6 w 8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5">
                  <a:moveTo>
                    <a:pt x="6" y="0"/>
                  </a:moveTo>
                  <a:lnTo>
                    <a:pt x="8" y="14"/>
                  </a:lnTo>
                  <a:lnTo>
                    <a:pt x="2" y="15"/>
                  </a:lnTo>
                  <a:lnTo>
                    <a:pt x="0" y="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B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474">
              <a:extLst>
                <a:ext uri="{FF2B5EF4-FFF2-40B4-BE49-F238E27FC236}">
                  <a16:creationId xmlns:a16="http://schemas.microsoft.com/office/drawing/2014/main" id="{C4A265A3-5DF0-5C45-A237-50A623CE8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580" y="5035900"/>
              <a:ext cx="1131368" cy="1059344"/>
            </a:xfrm>
            <a:custGeom>
              <a:avLst/>
              <a:gdLst>
                <a:gd name="T0" fmla="*/ 648 w 754"/>
                <a:gd name="T1" fmla="*/ 705 h 705"/>
                <a:gd name="T2" fmla="*/ 106 w 754"/>
                <a:gd name="T3" fmla="*/ 705 h 705"/>
                <a:gd name="T4" fmla="*/ 0 w 754"/>
                <a:gd name="T5" fmla="*/ 0 h 705"/>
                <a:gd name="T6" fmla="*/ 754 w 754"/>
                <a:gd name="T7" fmla="*/ 0 h 705"/>
                <a:gd name="T8" fmla="*/ 648 w 754"/>
                <a:gd name="T9" fmla="*/ 705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4" h="705">
                  <a:moveTo>
                    <a:pt x="648" y="705"/>
                  </a:moveTo>
                  <a:lnTo>
                    <a:pt x="106" y="705"/>
                  </a:lnTo>
                  <a:lnTo>
                    <a:pt x="0" y="0"/>
                  </a:lnTo>
                  <a:lnTo>
                    <a:pt x="754" y="0"/>
                  </a:lnTo>
                  <a:lnTo>
                    <a:pt x="648" y="70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DE236F73-79B3-384D-8304-098ED5EB09FB}"/>
                </a:ext>
              </a:extLst>
            </p:cNvPr>
            <p:cNvSpPr/>
            <p:nvPr/>
          </p:nvSpPr>
          <p:spPr>
            <a:xfrm>
              <a:off x="788280" y="4232109"/>
              <a:ext cx="174625" cy="127000"/>
            </a:xfrm>
            <a:custGeom>
              <a:avLst/>
              <a:gdLst>
                <a:gd name="connsiteX0" fmla="*/ 0 w 171450"/>
                <a:gd name="connsiteY0" fmla="*/ 123825 h 123825"/>
                <a:gd name="connsiteX1" fmla="*/ 57150 w 171450"/>
                <a:gd name="connsiteY1" fmla="*/ 0 h 123825"/>
                <a:gd name="connsiteX2" fmla="*/ 171450 w 171450"/>
                <a:gd name="connsiteY2" fmla="*/ 95250 h 123825"/>
                <a:gd name="connsiteX3" fmla="*/ 0 w 171450"/>
                <a:gd name="connsiteY3" fmla="*/ 123825 h 123825"/>
                <a:gd name="connsiteX0" fmla="*/ 0 w 174625"/>
                <a:gd name="connsiteY0" fmla="*/ 136525 h 136525"/>
                <a:gd name="connsiteX1" fmla="*/ 60325 w 174625"/>
                <a:gd name="connsiteY1" fmla="*/ 0 h 136525"/>
                <a:gd name="connsiteX2" fmla="*/ 174625 w 174625"/>
                <a:gd name="connsiteY2" fmla="*/ 95250 h 136525"/>
                <a:gd name="connsiteX3" fmla="*/ 0 w 174625"/>
                <a:gd name="connsiteY3" fmla="*/ 136525 h 136525"/>
                <a:gd name="connsiteX0" fmla="*/ 0 w 174625"/>
                <a:gd name="connsiteY0" fmla="*/ 136525 h 136525"/>
                <a:gd name="connsiteX1" fmla="*/ 60325 w 174625"/>
                <a:gd name="connsiteY1" fmla="*/ 0 h 136525"/>
                <a:gd name="connsiteX2" fmla="*/ 174625 w 174625"/>
                <a:gd name="connsiteY2" fmla="*/ 95250 h 136525"/>
                <a:gd name="connsiteX3" fmla="*/ 0 w 174625"/>
                <a:gd name="connsiteY3" fmla="*/ 136525 h 136525"/>
                <a:gd name="connsiteX0" fmla="*/ 0 w 174625"/>
                <a:gd name="connsiteY0" fmla="*/ 127000 h 127000"/>
                <a:gd name="connsiteX1" fmla="*/ 63500 w 174625"/>
                <a:gd name="connsiteY1" fmla="*/ 0 h 127000"/>
                <a:gd name="connsiteX2" fmla="*/ 174625 w 174625"/>
                <a:gd name="connsiteY2" fmla="*/ 85725 h 127000"/>
                <a:gd name="connsiteX3" fmla="*/ 0 w 174625"/>
                <a:gd name="connsiteY3" fmla="*/ 127000 h 1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4625" h="127000">
                  <a:moveTo>
                    <a:pt x="0" y="127000"/>
                  </a:moveTo>
                  <a:lnTo>
                    <a:pt x="63500" y="0"/>
                  </a:lnTo>
                  <a:lnTo>
                    <a:pt x="174625" y="85725"/>
                  </a:lnTo>
                  <a:lnTo>
                    <a:pt x="0" y="127000"/>
                  </a:lnTo>
                  <a:close/>
                </a:path>
              </a:pathLst>
            </a:custGeom>
            <a:solidFill>
              <a:srgbClr val="FFD6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465">
              <a:extLst>
                <a:ext uri="{FF2B5EF4-FFF2-40B4-BE49-F238E27FC236}">
                  <a16:creationId xmlns:a16="http://schemas.microsoft.com/office/drawing/2014/main" id="{D3116243-B7C0-AC45-A937-859BCBEB5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603" y="4222638"/>
              <a:ext cx="51017" cy="36012"/>
            </a:xfrm>
            <a:custGeom>
              <a:avLst/>
              <a:gdLst>
                <a:gd name="T0" fmla="*/ 9 w 33"/>
                <a:gd name="T1" fmla="*/ 23 h 25"/>
                <a:gd name="T2" fmla="*/ 9 w 33"/>
                <a:gd name="T3" fmla="*/ 23 h 25"/>
                <a:gd name="T4" fmla="*/ 17 w 33"/>
                <a:gd name="T5" fmla="*/ 22 h 25"/>
                <a:gd name="T6" fmla="*/ 17 w 33"/>
                <a:gd name="T7" fmla="*/ 22 h 25"/>
                <a:gd name="T8" fmla="*/ 26 w 33"/>
                <a:gd name="T9" fmla="*/ 20 h 25"/>
                <a:gd name="T10" fmla="*/ 26 w 33"/>
                <a:gd name="T11" fmla="*/ 20 h 25"/>
                <a:gd name="T12" fmla="*/ 33 w 33"/>
                <a:gd name="T13" fmla="*/ 17 h 25"/>
                <a:gd name="T14" fmla="*/ 13 w 33"/>
                <a:gd name="T15" fmla="*/ 0 h 25"/>
                <a:gd name="T16" fmla="*/ 0 w 33"/>
                <a:gd name="T17" fmla="*/ 25 h 25"/>
                <a:gd name="T18" fmla="*/ 0 w 33"/>
                <a:gd name="T19" fmla="*/ 25 h 25"/>
                <a:gd name="T20" fmla="*/ 9 w 33"/>
                <a:gd name="T21" fmla="*/ 23 h 25"/>
                <a:gd name="T22" fmla="*/ 9 w 33"/>
                <a:gd name="T23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5">
                  <a:moveTo>
                    <a:pt x="9" y="23"/>
                  </a:moveTo>
                  <a:lnTo>
                    <a:pt x="9" y="23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33" y="17"/>
                  </a:lnTo>
                  <a:lnTo>
                    <a:pt x="13" y="0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9" y="23"/>
                  </a:lnTo>
                  <a:lnTo>
                    <a:pt x="9" y="23"/>
                  </a:lnTo>
                  <a:close/>
                </a:path>
              </a:pathLst>
            </a:custGeom>
            <a:solidFill>
              <a:srgbClr val="2A2A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7" name="Freeform 206">
            <a:extLst>
              <a:ext uri="{FF2B5EF4-FFF2-40B4-BE49-F238E27FC236}">
                <a16:creationId xmlns:a16="http://schemas.microsoft.com/office/drawing/2014/main" id="{09784AD6-9F1C-374D-9C24-60B68B61959F}"/>
              </a:ext>
            </a:extLst>
          </p:cNvPr>
          <p:cNvSpPr>
            <a:spLocks/>
          </p:cNvSpPr>
          <p:nvPr/>
        </p:nvSpPr>
        <p:spPr bwMode="auto">
          <a:xfrm>
            <a:off x="3513661" y="3144381"/>
            <a:ext cx="506812" cy="122441"/>
          </a:xfrm>
          <a:custGeom>
            <a:avLst/>
            <a:gdLst>
              <a:gd name="T0" fmla="*/ 305 w 347"/>
              <a:gd name="T1" fmla="*/ 84 h 84"/>
              <a:gd name="T2" fmla="*/ 42 w 347"/>
              <a:gd name="T3" fmla="*/ 84 h 84"/>
              <a:gd name="T4" fmla="*/ 0 w 347"/>
              <a:gd name="T5" fmla="*/ 42 h 84"/>
              <a:gd name="T6" fmla="*/ 42 w 347"/>
              <a:gd name="T7" fmla="*/ 0 h 84"/>
              <a:gd name="T8" fmla="*/ 305 w 347"/>
              <a:gd name="T9" fmla="*/ 0 h 84"/>
              <a:gd name="T10" fmla="*/ 347 w 347"/>
              <a:gd name="T11" fmla="*/ 42 h 84"/>
              <a:gd name="T12" fmla="*/ 305 w 347"/>
              <a:gd name="T13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47" h="84">
                <a:moveTo>
                  <a:pt x="305" y="84"/>
                </a:moveTo>
                <a:cubicBezTo>
                  <a:pt x="42" y="84"/>
                  <a:pt x="42" y="84"/>
                  <a:pt x="42" y="84"/>
                </a:cubicBezTo>
                <a:cubicBezTo>
                  <a:pt x="18" y="84"/>
                  <a:pt x="0" y="65"/>
                  <a:pt x="0" y="42"/>
                </a:cubicBezTo>
                <a:cubicBezTo>
                  <a:pt x="0" y="19"/>
                  <a:pt x="18" y="0"/>
                  <a:pt x="42" y="0"/>
                </a:cubicBezTo>
                <a:cubicBezTo>
                  <a:pt x="305" y="0"/>
                  <a:pt x="305" y="0"/>
                  <a:pt x="305" y="0"/>
                </a:cubicBezTo>
                <a:cubicBezTo>
                  <a:pt x="328" y="0"/>
                  <a:pt x="347" y="19"/>
                  <a:pt x="347" y="42"/>
                </a:cubicBezTo>
                <a:cubicBezTo>
                  <a:pt x="347" y="65"/>
                  <a:pt x="328" y="84"/>
                  <a:pt x="305" y="8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8" name="Freeform 319">
            <a:extLst>
              <a:ext uri="{FF2B5EF4-FFF2-40B4-BE49-F238E27FC236}">
                <a16:creationId xmlns:a16="http://schemas.microsoft.com/office/drawing/2014/main" id="{4EE11993-D400-6143-A0FB-21989AC0DBA3}"/>
              </a:ext>
            </a:extLst>
          </p:cNvPr>
          <p:cNvSpPr>
            <a:spLocks/>
          </p:cNvSpPr>
          <p:nvPr/>
        </p:nvSpPr>
        <p:spPr bwMode="auto">
          <a:xfrm>
            <a:off x="4243551" y="3106551"/>
            <a:ext cx="195263" cy="195263"/>
          </a:xfrm>
          <a:custGeom>
            <a:avLst/>
            <a:gdLst>
              <a:gd name="T0" fmla="*/ 245 w 245"/>
              <a:gd name="T1" fmla="*/ 123 h 245"/>
              <a:gd name="T2" fmla="*/ 243 w 245"/>
              <a:gd name="T3" fmla="*/ 147 h 245"/>
              <a:gd name="T4" fmla="*/ 235 w 245"/>
              <a:gd name="T5" fmla="*/ 170 h 245"/>
              <a:gd name="T6" fmla="*/ 225 w 245"/>
              <a:gd name="T7" fmla="*/ 191 h 245"/>
              <a:gd name="T8" fmla="*/ 209 w 245"/>
              <a:gd name="T9" fmla="*/ 209 h 245"/>
              <a:gd name="T10" fmla="*/ 191 w 245"/>
              <a:gd name="T11" fmla="*/ 225 h 245"/>
              <a:gd name="T12" fmla="*/ 170 w 245"/>
              <a:gd name="T13" fmla="*/ 236 h 245"/>
              <a:gd name="T14" fmla="*/ 147 w 245"/>
              <a:gd name="T15" fmla="*/ 243 h 245"/>
              <a:gd name="T16" fmla="*/ 123 w 245"/>
              <a:gd name="T17" fmla="*/ 245 h 245"/>
              <a:gd name="T18" fmla="*/ 110 w 245"/>
              <a:gd name="T19" fmla="*/ 245 h 245"/>
              <a:gd name="T20" fmla="*/ 86 w 245"/>
              <a:gd name="T21" fmla="*/ 240 h 245"/>
              <a:gd name="T22" fmla="*/ 64 w 245"/>
              <a:gd name="T23" fmla="*/ 231 h 245"/>
              <a:gd name="T24" fmla="*/ 44 w 245"/>
              <a:gd name="T25" fmla="*/ 217 h 245"/>
              <a:gd name="T26" fmla="*/ 27 w 245"/>
              <a:gd name="T27" fmla="*/ 200 h 245"/>
              <a:gd name="T28" fmla="*/ 14 w 245"/>
              <a:gd name="T29" fmla="*/ 181 h 245"/>
              <a:gd name="T30" fmla="*/ 6 w 245"/>
              <a:gd name="T31" fmla="*/ 159 h 245"/>
              <a:gd name="T32" fmla="*/ 1 w 245"/>
              <a:gd name="T33" fmla="*/ 135 h 245"/>
              <a:gd name="T34" fmla="*/ 0 w 245"/>
              <a:gd name="T35" fmla="*/ 123 h 245"/>
              <a:gd name="T36" fmla="*/ 2 w 245"/>
              <a:gd name="T37" fmla="*/ 98 h 245"/>
              <a:gd name="T38" fmla="*/ 9 w 245"/>
              <a:gd name="T39" fmla="*/ 75 h 245"/>
              <a:gd name="T40" fmla="*/ 21 w 245"/>
              <a:gd name="T41" fmla="*/ 54 h 245"/>
              <a:gd name="T42" fmla="*/ 36 w 245"/>
              <a:gd name="T43" fmla="*/ 36 h 245"/>
              <a:gd name="T44" fmla="*/ 54 w 245"/>
              <a:gd name="T45" fmla="*/ 22 h 245"/>
              <a:gd name="T46" fmla="*/ 75 w 245"/>
              <a:gd name="T47" fmla="*/ 9 h 245"/>
              <a:gd name="T48" fmla="*/ 98 w 245"/>
              <a:gd name="T49" fmla="*/ 2 h 245"/>
              <a:gd name="T50" fmla="*/ 123 w 245"/>
              <a:gd name="T51" fmla="*/ 0 h 245"/>
              <a:gd name="T52" fmla="*/ 135 w 245"/>
              <a:gd name="T53" fmla="*/ 1 h 245"/>
              <a:gd name="T54" fmla="*/ 159 w 245"/>
              <a:gd name="T55" fmla="*/ 6 h 245"/>
              <a:gd name="T56" fmla="*/ 181 w 245"/>
              <a:gd name="T57" fmla="*/ 14 h 245"/>
              <a:gd name="T58" fmla="*/ 200 w 245"/>
              <a:gd name="T59" fmla="*/ 28 h 245"/>
              <a:gd name="T60" fmla="*/ 217 w 245"/>
              <a:gd name="T61" fmla="*/ 44 h 245"/>
              <a:gd name="T62" fmla="*/ 231 w 245"/>
              <a:gd name="T63" fmla="*/ 64 h 245"/>
              <a:gd name="T64" fmla="*/ 240 w 245"/>
              <a:gd name="T65" fmla="*/ 87 h 245"/>
              <a:gd name="T66" fmla="*/ 245 w 245"/>
              <a:gd name="T67" fmla="*/ 110 h 245"/>
              <a:gd name="T68" fmla="*/ 245 w 245"/>
              <a:gd name="T69" fmla="*/ 123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45" h="245">
                <a:moveTo>
                  <a:pt x="245" y="123"/>
                </a:moveTo>
                <a:lnTo>
                  <a:pt x="245" y="123"/>
                </a:lnTo>
                <a:lnTo>
                  <a:pt x="245" y="135"/>
                </a:lnTo>
                <a:lnTo>
                  <a:pt x="243" y="147"/>
                </a:lnTo>
                <a:lnTo>
                  <a:pt x="240" y="159"/>
                </a:lnTo>
                <a:lnTo>
                  <a:pt x="235" y="170"/>
                </a:lnTo>
                <a:lnTo>
                  <a:pt x="231" y="181"/>
                </a:lnTo>
                <a:lnTo>
                  <a:pt x="225" y="191"/>
                </a:lnTo>
                <a:lnTo>
                  <a:pt x="217" y="200"/>
                </a:lnTo>
                <a:lnTo>
                  <a:pt x="209" y="209"/>
                </a:lnTo>
                <a:lnTo>
                  <a:pt x="200" y="217"/>
                </a:lnTo>
                <a:lnTo>
                  <a:pt x="191" y="225"/>
                </a:lnTo>
                <a:lnTo>
                  <a:pt x="181" y="231"/>
                </a:lnTo>
                <a:lnTo>
                  <a:pt x="170" y="236"/>
                </a:lnTo>
                <a:lnTo>
                  <a:pt x="159" y="240"/>
                </a:lnTo>
                <a:lnTo>
                  <a:pt x="147" y="243"/>
                </a:lnTo>
                <a:lnTo>
                  <a:pt x="135" y="245"/>
                </a:lnTo>
                <a:lnTo>
                  <a:pt x="123" y="245"/>
                </a:lnTo>
                <a:lnTo>
                  <a:pt x="123" y="245"/>
                </a:lnTo>
                <a:lnTo>
                  <a:pt x="110" y="245"/>
                </a:lnTo>
                <a:lnTo>
                  <a:pt x="98" y="243"/>
                </a:lnTo>
                <a:lnTo>
                  <a:pt x="86" y="240"/>
                </a:lnTo>
                <a:lnTo>
                  <a:pt x="75" y="236"/>
                </a:lnTo>
                <a:lnTo>
                  <a:pt x="64" y="231"/>
                </a:lnTo>
                <a:lnTo>
                  <a:pt x="54" y="225"/>
                </a:lnTo>
                <a:lnTo>
                  <a:pt x="44" y="217"/>
                </a:lnTo>
                <a:lnTo>
                  <a:pt x="36" y="209"/>
                </a:lnTo>
                <a:lnTo>
                  <a:pt x="27" y="200"/>
                </a:lnTo>
                <a:lnTo>
                  <a:pt x="21" y="191"/>
                </a:lnTo>
                <a:lnTo>
                  <a:pt x="14" y="181"/>
                </a:lnTo>
                <a:lnTo>
                  <a:pt x="9" y="170"/>
                </a:lnTo>
                <a:lnTo>
                  <a:pt x="6" y="159"/>
                </a:lnTo>
                <a:lnTo>
                  <a:pt x="2" y="147"/>
                </a:lnTo>
                <a:lnTo>
                  <a:pt x="1" y="135"/>
                </a:lnTo>
                <a:lnTo>
                  <a:pt x="0" y="123"/>
                </a:lnTo>
                <a:lnTo>
                  <a:pt x="0" y="123"/>
                </a:lnTo>
                <a:lnTo>
                  <a:pt x="1" y="110"/>
                </a:lnTo>
                <a:lnTo>
                  <a:pt x="2" y="98"/>
                </a:lnTo>
                <a:lnTo>
                  <a:pt x="6" y="87"/>
                </a:lnTo>
                <a:lnTo>
                  <a:pt x="9" y="75"/>
                </a:lnTo>
                <a:lnTo>
                  <a:pt x="14" y="64"/>
                </a:lnTo>
                <a:lnTo>
                  <a:pt x="21" y="54"/>
                </a:lnTo>
                <a:lnTo>
                  <a:pt x="27" y="44"/>
                </a:lnTo>
                <a:lnTo>
                  <a:pt x="36" y="36"/>
                </a:lnTo>
                <a:lnTo>
                  <a:pt x="44" y="28"/>
                </a:lnTo>
                <a:lnTo>
                  <a:pt x="54" y="22"/>
                </a:lnTo>
                <a:lnTo>
                  <a:pt x="64" y="14"/>
                </a:lnTo>
                <a:lnTo>
                  <a:pt x="75" y="9"/>
                </a:lnTo>
                <a:lnTo>
                  <a:pt x="86" y="6"/>
                </a:lnTo>
                <a:lnTo>
                  <a:pt x="98" y="2"/>
                </a:lnTo>
                <a:lnTo>
                  <a:pt x="110" y="1"/>
                </a:lnTo>
                <a:lnTo>
                  <a:pt x="123" y="0"/>
                </a:lnTo>
                <a:lnTo>
                  <a:pt x="123" y="0"/>
                </a:lnTo>
                <a:lnTo>
                  <a:pt x="135" y="1"/>
                </a:lnTo>
                <a:lnTo>
                  <a:pt x="147" y="2"/>
                </a:lnTo>
                <a:lnTo>
                  <a:pt x="159" y="6"/>
                </a:lnTo>
                <a:lnTo>
                  <a:pt x="170" y="9"/>
                </a:lnTo>
                <a:lnTo>
                  <a:pt x="181" y="14"/>
                </a:lnTo>
                <a:lnTo>
                  <a:pt x="191" y="22"/>
                </a:lnTo>
                <a:lnTo>
                  <a:pt x="200" y="28"/>
                </a:lnTo>
                <a:lnTo>
                  <a:pt x="209" y="36"/>
                </a:lnTo>
                <a:lnTo>
                  <a:pt x="217" y="44"/>
                </a:lnTo>
                <a:lnTo>
                  <a:pt x="225" y="54"/>
                </a:lnTo>
                <a:lnTo>
                  <a:pt x="231" y="64"/>
                </a:lnTo>
                <a:lnTo>
                  <a:pt x="235" y="75"/>
                </a:lnTo>
                <a:lnTo>
                  <a:pt x="240" y="87"/>
                </a:lnTo>
                <a:lnTo>
                  <a:pt x="243" y="98"/>
                </a:lnTo>
                <a:lnTo>
                  <a:pt x="245" y="110"/>
                </a:lnTo>
                <a:lnTo>
                  <a:pt x="245" y="123"/>
                </a:lnTo>
                <a:lnTo>
                  <a:pt x="245" y="123"/>
                </a:lnTo>
                <a:close/>
              </a:path>
            </a:pathLst>
          </a:custGeom>
          <a:solidFill>
            <a:schemeClr val="bg1"/>
          </a:solidFill>
          <a:ln w="381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4" name="Rounded Rectangle 313">
            <a:extLst>
              <a:ext uri="{FF2B5EF4-FFF2-40B4-BE49-F238E27FC236}">
                <a16:creationId xmlns:a16="http://schemas.microsoft.com/office/drawing/2014/main" id="{3E574F98-9BDA-664B-94EC-F18862571385}"/>
              </a:ext>
            </a:extLst>
          </p:cNvPr>
          <p:cNvSpPr/>
          <p:nvPr/>
        </p:nvSpPr>
        <p:spPr>
          <a:xfrm>
            <a:off x="3842162" y="3449619"/>
            <a:ext cx="1184479" cy="13804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15" name="Group 314">
            <a:extLst>
              <a:ext uri="{FF2B5EF4-FFF2-40B4-BE49-F238E27FC236}">
                <a16:creationId xmlns:a16="http://schemas.microsoft.com/office/drawing/2014/main" id="{7B4EF851-20D6-5D46-A28B-801BF030AD30}"/>
              </a:ext>
            </a:extLst>
          </p:cNvPr>
          <p:cNvGrpSpPr/>
          <p:nvPr/>
        </p:nvGrpSpPr>
        <p:grpSpPr>
          <a:xfrm>
            <a:off x="1507836" y="5431521"/>
            <a:ext cx="2505814" cy="699226"/>
            <a:chOff x="1507836" y="5431521"/>
            <a:chExt cx="2505814" cy="699226"/>
          </a:xfrm>
        </p:grpSpPr>
        <p:sp>
          <p:nvSpPr>
            <p:cNvPr id="94" name="Freeform 478">
              <a:extLst>
                <a:ext uri="{FF2B5EF4-FFF2-40B4-BE49-F238E27FC236}">
                  <a16:creationId xmlns:a16="http://schemas.microsoft.com/office/drawing/2014/main" id="{EFB5A32D-1D6D-ED48-9FD8-E65382DC52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7512" y="5479537"/>
              <a:ext cx="426138" cy="570185"/>
            </a:xfrm>
            <a:custGeom>
              <a:avLst/>
              <a:gdLst>
                <a:gd name="T0" fmla="*/ 284 w 284"/>
                <a:gd name="T1" fmla="*/ 0 h 380"/>
                <a:gd name="T2" fmla="*/ 0 w 284"/>
                <a:gd name="T3" fmla="*/ 0 h 380"/>
                <a:gd name="T4" fmla="*/ 0 w 284"/>
                <a:gd name="T5" fmla="*/ 380 h 380"/>
                <a:gd name="T6" fmla="*/ 284 w 284"/>
                <a:gd name="T7" fmla="*/ 380 h 380"/>
                <a:gd name="T8" fmla="*/ 284 w 284"/>
                <a:gd name="T9" fmla="*/ 338 h 380"/>
                <a:gd name="T10" fmla="*/ 284 w 284"/>
                <a:gd name="T11" fmla="*/ 338 h 380"/>
                <a:gd name="T12" fmla="*/ 282 w 284"/>
                <a:gd name="T13" fmla="*/ 333 h 380"/>
                <a:gd name="T14" fmla="*/ 274 w 284"/>
                <a:gd name="T15" fmla="*/ 318 h 380"/>
                <a:gd name="T16" fmla="*/ 271 w 284"/>
                <a:gd name="T17" fmla="*/ 307 h 380"/>
                <a:gd name="T18" fmla="*/ 266 w 284"/>
                <a:gd name="T19" fmla="*/ 293 h 380"/>
                <a:gd name="T20" fmla="*/ 262 w 284"/>
                <a:gd name="T21" fmla="*/ 278 h 380"/>
                <a:gd name="T22" fmla="*/ 259 w 284"/>
                <a:gd name="T23" fmla="*/ 258 h 380"/>
                <a:gd name="T24" fmla="*/ 256 w 284"/>
                <a:gd name="T25" fmla="*/ 237 h 380"/>
                <a:gd name="T26" fmla="*/ 254 w 284"/>
                <a:gd name="T27" fmla="*/ 214 h 380"/>
                <a:gd name="T28" fmla="*/ 254 w 284"/>
                <a:gd name="T29" fmla="*/ 186 h 380"/>
                <a:gd name="T30" fmla="*/ 255 w 284"/>
                <a:gd name="T31" fmla="*/ 157 h 380"/>
                <a:gd name="T32" fmla="*/ 259 w 284"/>
                <a:gd name="T33" fmla="*/ 124 h 380"/>
                <a:gd name="T34" fmla="*/ 265 w 284"/>
                <a:gd name="T35" fmla="*/ 90 h 380"/>
                <a:gd name="T36" fmla="*/ 273 w 284"/>
                <a:gd name="T37" fmla="*/ 52 h 380"/>
                <a:gd name="T38" fmla="*/ 284 w 284"/>
                <a:gd name="T39" fmla="*/ 12 h 380"/>
                <a:gd name="T40" fmla="*/ 284 w 284"/>
                <a:gd name="T41" fmla="*/ 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4" h="380">
                  <a:moveTo>
                    <a:pt x="284" y="0"/>
                  </a:moveTo>
                  <a:lnTo>
                    <a:pt x="0" y="0"/>
                  </a:lnTo>
                  <a:lnTo>
                    <a:pt x="0" y="380"/>
                  </a:lnTo>
                  <a:lnTo>
                    <a:pt x="284" y="380"/>
                  </a:lnTo>
                  <a:lnTo>
                    <a:pt x="284" y="338"/>
                  </a:lnTo>
                  <a:lnTo>
                    <a:pt x="284" y="338"/>
                  </a:lnTo>
                  <a:lnTo>
                    <a:pt x="282" y="333"/>
                  </a:lnTo>
                  <a:lnTo>
                    <a:pt x="274" y="318"/>
                  </a:lnTo>
                  <a:lnTo>
                    <a:pt x="271" y="307"/>
                  </a:lnTo>
                  <a:lnTo>
                    <a:pt x="266" y="293"/>
                  </a:lnTo>
                  <a:lnTo>
                    <a:pt x="262" y="278"/>
                  </a:lnTo>
                  <a:lnTo>
                    <a:pt x="259" y="258"/>
                  </a:lnTo>
                  <a:lnTo>
                    <a:pt x="256" y="237"/>
                  </a:lnTo>
                  <a:lnTo>
                    <a:pt x="254" y="214"/>
                  </a:lnTo>
                  <a:lnTo>
                    <a:pt x="254" y="186"/>
                  </a:lnTo>
                  <a:lnTo>
                    <a:pt x="255" y="157"/>
                  </a:lnTo>
                  <a:lnTo>
                    <a:pt x="259" y="124"/>
                  </a:lnTo>
                  <a:lnTo>
                    <a:pt x="265" y="90"/>
                  </a:lnTo>
                  <a:lnTo>
                    <a:pt x="273" y="52"/>
                  </a:lnTo>
                  <a:lnTo>
                    <a:pt x="284" y="12"/>
                  </a:lnTo>
                  <a:lnTo>
                    <a:pt x="284" y="0"/>
                  </a:lnTo>
                  <a:close/>
                </a:path>
              </a:pathLst>
            </a:custGeom>
            <a:solidFill>
              <a:srgbClr val="E7E7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479">
              <a:extLst>
                <a:ext uri="{FF2B5EF4-FFF2-40B4-BE49-F238E27FC236}">
                  <a16:creationId xmlns:a16="http://schemas.microsoft.com/office/drawing/2014/main" id="{505FA5AC-A3BE-5340-8435-E5AA19AA2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7836" y="5488539"/>
              <a:ext cx="2229724" cy="642208"/>
            </a:xfrm>
            <a:custGeom>
              <a:avLst/>
              <a:gdLst>
                <a:gd name="T0" fmla="*/ 1486 w 1486"/>
                <a:gd name="T1" fmla="*/ 0 h 428"/>
                <a:gd name="T2" fmla="*/ 214 w 1486"/>
                <a:gd name="T3" fmla="*/ 0 h 428"/>
                <a:gd name="T4" fmla="*/ 214 w 1486"/>
                <a:gd name="T5" fmla="*/ 0 h 428"/>
                <a:gd name="T6" fmla="*/ 192 w 1486"/>
                <a:gd name="T7" fmla="*/ 1 h 428"/>
                <a:gd name="T8" fmla="*/ 172 w 1486"/>
                <a:gd name="T9" fmla="*/ 3 h 428"/>
                <a:gd name="T10" fmla="*/ 151 w 1486"/>
                <a:gd name="T11" fmla="*/ 9 h 428"/>
                <a:gd name="T12" fmla="*/ 131 w 1486"/>
                <a:gd name="T13" fmla="*/ 17 h 428"/>
                <a:gd name="T14" fmla="*/ 113 w 1486"/>
                <a:gd name="T15" fmla="*/ 25 h 428"/>
                <a:gd name="T16" fmla="*/ 94 w 1486"/>
                <a:gd name="T17" fmla="*/ 36 h 428"/>
                <a:gd name="T18" fmla="*/ 79 w 1486"/>
                <a:gd name="T19" fmla="*/ 48 h 428"/>
                <a:gd name="T20" fmla="*/ 63 w 1486"/>
                <a:gd name="T21" fmla="*/ 62 h 428"/>
                <a:gd name="T22" fmla="*/ 50 w 1486"/>
                <a:gd name="T23" fmla="*/ 77 h 428"/>
                <a:gd name="T24" fmla="*/ 36 w 1486"/>
                <a:gd name="T25" fmla="*/ 94 h 428"/>
                <a:gd name="T26" fmla="*/ 27 w 1486"/>
                <a:gd name="T27" fmla="*/ 112 h 428"/>
                <a:gd name="T28" fmla="*/ 17 w 1486"/>
                <a:gd name="T29" fmla="*/ 130 h 428"/>
                <a:gd name="T30" fmla="*/ 10 w 1486"/>
                <a:gd name="T31" fmla="*/ 150 h 428"/>
                <a:gd name="T32" fmla="*/ 5 w 1486"/>
                <a:gd name="T33" fmla="*/ 170 h 428"/>
                <a:gd name="T34" fmla="*/ 1 w 1486"/>
                <a:gd name="T35" fmla="*/ 192 h 428"/>
                <a:gd name="T36" fmla="*/ 0 w 1486"/>
                <a:gd name="T37" fmla="*/ 214 h 428"/>
                <a:gd name="T38" fmla="*/ 0 w 1486"/>
                <a:gd name="T39" fmla="*/ 214 h 428"/>
                <a:gd name="T40" fmla="*/ 1 w 1486"/>
                <a:gd name="T41" fmla="*/ 235 h 428"/>
                <a:gd name="T42" fmla="*/ 5 w 1486"/>
                <a:gd name="T43" fmla="*/ 257 h 428"/>
                <a:gd name="T44" fmla="*/ 10 w 1486"/>
                <a:gd name="T45" fmla="*/ 278 h 428"/>
                <a:gd name="T46" fmla="*/ 17 w 1486"/>
                <a:gd name="T47" fmla="*/ 297 h 428"/>
                <a:gd name="T48" fmla="*/ 27 w 1486"/>
                <a:gd name="T49" fmla="*/ 315 h 428"/>
                <a:gd name="T50" fmla="*/ 36 w 1486"/>
                <a:gd name="T51" fmla="*/ 333 h 428"/>
                <a:gd name="T52" fmla="*/ 50 w 1486"/>
                <a:gd name="T53" fmla="*/ 350 h 428"/>
                <a:gd name="T54" fmla="*/ 63 w 1486"/>
                <a:gd name="T55" fmla="*/ 365 h 428"/>
                <a:gd name="T56" fmla="*/ 79 w 1486"/>
                <a:gd name="T57" fmla="*/ 379 h 428"/>
                <a:gd name="T58" fmla="*/ 94 w 1486"/>
                <a:gd name="T59" fmla="*/ 391 h 428"/>
                <a:gd name="T60" fmla="*/ 113 w 1486"/>
                <a:gd name="T61" fmla="*/ 402 h 428"/>
                <a:gd name="T62" fmla="*/ 131 w 1486"/>
                <a:gd name="T63" fmla="*/ 411 h 428"/>
                <a:gd name="T64" fmla="*/ 151 w 1486"/>
                <a:gd name="T65" fmla="*/ 418 h 428"/>
                <a:gd name="T66" fmla="*/ 172 w 1486"/>
                <a:gd name="T67" fmla="*/ 423 h 428"/>
                <a:gd name="T68" fmla="*/ 192 w 1486"/>
                <a:gd name="T69" fmla="*/ 426 h 428"/>
                <a:gd name="T70" fmla="*/ 214 w 1486"/>
                <a:gd name="T71" fmla="*/ 428 h 428"/>
                <a:gd name="T72" fmla="*/ 1486 w 1486"/>
                <a:gd name="T73" fmla="*/ 428 h 428"/>
                <a:gd name="T74" fmla="*/ 1486 w 1486"/>
                <a:gd name="T75" fmla="*/ 371 h 428"/>
                <a:gd name="T76" fmla="*/ 1486 w 1486"/>
                <a:gd name="T77" fmla="*/ 371 h 428"/>
                <a:gd name="T78" fmla="*/ 1482 w 1486"/>
                <a:gd name="T79" fmla="*/ 365 h 428"/>
                <a:gd name="T80" fmla="*/ 1471 w 1486"/>
                <a:gd name="T81" fmla="*/ 349 h 428"/>
                <a:gd name="T82" fmla="*/ 1465 w 1486"/>
                <a:gd name="T83" fmla="*/ 337 h 428"/>
                <a:gd name="T84" fmla="*/ 1457 w 1486"/>
                <a:gd name="T85" fmla="*/ 322 h 428"/>
                <a:gd name="T86" fmla="*/ 1451 w 1486"/>
                <a:gd name="T87" fmla="*/ 306 h 428"/>
                <a:gd name="T88" fmla="*/ 1446 w 1486"/>
                <a:gd name="T89" fmla="*/ 286 h 428"/>
                <a:gd name="T90" fmla="*/ 1442 w 1486"/>
                <a:gd name="T91" fmla="*/ 264 h 428"/>
                <a:gd name="T92" fmla="*/ 1439 w 1486"/>
                <a:gd name="T93" fmla="*/ 241 h 428"/>
                <a:gd name="T94" fmla="*/ 1438 w 1486"/>
                <a:gd name="T95" fmla="*/ 215 h 428"/>
                <a:gd name="T96" fmla="*/ 1440 w 1486"/>
                <a:gd name="T97" fmla="*/ 187 h 428"/>
                <a:gd name="T98" fmla="*/ 1443 w 1486"/>
                <a:gd name="T99" fmla="*/ 173 h 428"/>
                <a:gd name="T100" fmla="*/ 1446 w 1486"/>
                <a:gd name="T101" fmla="*/ 158 h 428"/>
                <a:gd name="T102" fmla="*/ 1450 w 1486"/>
                <a:gd name="T103" fmla="*/ 142 h 428"/>
                <a:gd name="T104" fmla="*/ 1455 w 1486"/>
                <a:gd name="T105" fmla="*/ 127 h 428"/>
                <a:gd name="T106" fmla="*/ 1461 w 1486"/>
                <a:gd name="T107" fmla="*/ 111 h 428"/>
                <a:gd name="T108" fmla="*/ 1468 w 1486"/>
                <a:gd name="T109" fmla="*/ 94 h 428"/>
                <a:gd name="T110" fmla="*/ 1477 w 1486"/>
                <a:gd name="T111" fmla="*/ 76 h 428"/>
                <a:gd name="T112" fmla="*/ 1486 w 1486"/>
                <a:gd name="T113" fmla="*/ 59 h 428"/>
                <a:gd name="T114" fmla="*/ 1486 w 1486"/>
                <a:gd name="T115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86" h="428">
                  <a:moveTo>
                    <a:pt x="1486" y="0"/>
                  </a:moveTo>
                  <a:lnTo>
                    <a:pt x="214" y="0"/>
                  </a:lnTo>
                  <a:lnTo>
                    <a:pt x="214" y="0"/>
                  </a:lnTo>
                  <a:lnTo>
                    <a:pt x="192" y="1"/>
                  </a:lnTo>
                  <a:lnTo>
                    <a:pt x="172" y="3"/>
                  </a:lnTo>
                  <a:lnTo>
                    <a:pt x="151" y="9"/>
                  </a:lnTo>
                  <a:lnTo>
                    <a:pt x="131" y="17"/>
                  </a:lnTo>
                  <a:lnTo>
                    <a:pt x="113" y="25"/>
                  </a:lnTo>
                  <a:lnTo>
                    <a:pt x="94" y="36"/>
                  </a:lnTo>
                  <a:lnTo>
                    <a:pt x="79" y="48"/>
                  </a:lnTo>
                  <a:lnTo>
                    <a:pt x="63" y="62"/>
                  </a:lnTo>
                  <a:lnTo>
                    <a:pt x="50" y="77"/>
                  </a:lnTo>
                  <a:lnTo>
                    <a:pt x="36" y="94"/>
                  </a:lnTo>
                  <a:lnTo>
                    <a:pt x="27" y="112"/>
                  </a:lnTo>
                  <a:lnTo>
                    <a:pt x="17" y="130"/>
                  </a:lnTo>
                  <a:lnTo>
                    <a:pt x="10" y="150"/>
                  </a:lnTo>
                  <a:lnTo>
                    <a:pt x="5" y="170"/>
                  </a:lnTo>
                  <a:lnTo>
                    <a:pt x="1" y="192"/>
                  </a:lnTo>
                  <a:lnTo>
                    <a:pt x="0" y="214"/>
                  </a:lnTo>
                  <a:lnTo>
                    <a:pt x="0" y="214"/>
                  </a:lnTo>
                  <a:lnTo>
                    <a:pt x="1" y="235"/>
                  </a:lnTo>
                  <a:lnTo>
                    <a:pt x="5" y="257"/>
                  </a:lnTo>
                  <a:lnTo>
                    <a:pt x="10" y="278"/>
                  </a:lnTo>
                  <a:lnTo>
                    <a:pt x="17" y="297"/>
                  </a:lnTo>
                  <a:lnTo>
                    <a:pt x="27" y="315"/>
                  </a:lnTo>
                  <a:lnTo>
                    <a:pt x="36" y="333"/>
                  </a:lnTo>
                  <a:lnTo>
                    <a:pt x="50" y="350"/>
                  </a:lnTo>
                  <a:lnTo>
                    <a:pt x="63" y="365"/>
                  </a:lnTo>
                  <a:lnTo>
                    <a:pt x="79" y="379"/>
                  </a:lnTo>
                  <a:lnTo>
                    <a:pt x="94" y="391"/>
                  </a:lnTo>
                  <a:lnTo>
                    <a:pt x="113" y="402"/>
                  </a:lnTo>
                  <a:lnTo>
                    <a:pt x="131" y="411"/>
                  </a:lnTo>
                  <a:lnTo>
                    <a:pt x="151" y="418"/>
                  </a:lnTo>
                  <a:lnTo>
                    <a:pt x="172" y="423"/>
                  </a:lnTo>
                  <a:lnTo>
                    <a:pt x="192" y="426"/>
                  </a:lnTo>
                  <a:lnTo>
                    <a:pt x="214" y="428"/>
                  </a:lnTo>
                  <a:lnTo>
                    <a:pt x="1486" y="428"/>
                  </a:lnTo>
                  <a:lnTo>
                    <a:pt x="1486" y="371"/>
                  </a:lnTo>
                  <a:lnTo>
                    <a:pt x="1486" y="371"/>
                  </a:lnTo>
                  <a:lnTo>
                    <a:pt x="1482" y="365"/>
                  </a:lnTo>
                  <a:lnTo>
                    <a:pt x="1471" y="349"/>
                  </a:lnTo>
                  <a:lnTo>
                    <a:pt x="1465" y="337"/>
                  </a:lnTo>
                  <a:lnTo>
                    <a:pt x="1457" y="322"/>
                  </a:lnTo>
                  <a:lnTo>
                    <a:pt x="1451" y="306"/>
                  </a:lnTo>
                  <a:lnTo>
                    <a:pt x="1446" y="286"/>
                  </a:lnTo>
                  <a:lnTo>
                    <a:pt x="1442" y="264"/>
                  </a:lnTo>
                  <a:lnTo>
                    <a:pt x="1439" y="241"/>
                  </a:lnTo>
                  <a:lnTo>
                    <a:pt x="1438" y="215"/>
                  </a:lnTo>
                  <a:lnTo>
                    <a:pt x="1440" y="187"/>
                  </a:lnTo>
                  <a:lnTo>
                    <a:pt x="1443" y="173"/>
                  </a:lnTo>
                  <a:lnTo>
                    <a:pt x="1446" y="158"/>
                  </a:lnTo>
                  <a:lnTo>
                    <a:pt x="1450" y="142"/>
                  </a:lnTo>
                  <a:lnTo>
                    <a:pt x="1455" y="127"/>
                  </a:lnTo>
                  <a:lnTo>
                    <a:pt x="1461" y="111"/>
                  </a:lnTo>
                  <a:lnTo>
                    <a:pt x="1468" y="94"/>
                  </a:lnTo>
                  <a:lnTo>
                    <a:pt x="1477" y="76"/>
                  </a:lnTo>
                  <a:lnTo>
                    <a:pt x="1486" y="59"/>
                  </a:lnTo>
                  <a:lnTo>
                    <a:pt x="1486" y="0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480">
              <a:extLst>
                <a:ext uri="{FF2B5EF4-FFF2-40B4-BE49-F238E27FC236}">
                  <a16:creationId xmlns:a16="http://schemas.microsoft.com/office/drawing/2014/main" id="{432D7E60-C484-824F-8397-3703C9422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871" y="5575568"/>
              <a:ext cx="2124689" cy="468152"/>
            </a:xfrm>
            <a:custGeom>
              <a:avLst/>
              <a:gdLst>
                <a:gd name="T0" fmla="*/ 1416 w 1416"/>
                <a:gd name="T1" fmla="*/ 0 h 312"/>
                <a:gd name="T2" fmla="*/ 156 w 1416"/>
                <a:gd name="T3" fmla="*/ 0 h 312"/>
                <a:gd name="T4" fmla="*/ 156 w 1416"/>
                <a:gd name="T5" fmla="*/ 0 h 312"/>
                <a:gd name="T6" fmla="*/ 140 w 1416"/>
                <a:gd name="T7" fmla="*/ 0 h 312"/>
                <a:gd name="T8" fmla="*/ 125 w 1416"/>
                <a:gd name="T9" fmla="*/ 2 h 312"/>
                <a:gd name="T10" fmla="*/ 110 w 1416"/>
                <a:gd name="T11" fmla="*/ 7 h 312"/>
                <a:gd name="T12" fmla="*/ 96 w 1416"/>
                <a:gd name="T13" fmla="*/ 12 h 312"/>
                <a:gd name="T14" fmla="*/ 82 w 1416"/>
                <a:gd name="T15" fmla="*/ 18 h 312"/>
                <a:gd name="T16" fmla="*/ 69 w 1416"/>
                <a:gd name="T17" fmla="*/ 26 h 312"/>
                <a:gd name="T18" fmla="*/ 57 w 1416"/>
                <a:gd name="T19" fmla="*/ 35 h 312"/>
                <a:gd name="T20" fmla="*/ 46 w 1416"/>
                <a:gd name="T21" fmla="*/ 46 h 312"/>
                <a:gd name="T22" fmla="*/ 36 w 1416"/>
                <a:gd name="T23" fmla="*/ 57 h 312"/>
                <a:gd name="T24" fmla="*/ 27 w 1416"/>
                <a:gd name="T25" fmla="*/ 69 h 312"/>
                <a:gd name="T26" fmla="*/ 20 w 1416"/>
                <a:gd name="T27" fmla="*/ 81 h 312"/>
                <a:gd name="T28" fmla="*/ 12 w 1416"/>
                <a:gd name="T29" fmla="*/ 95 h 312"/>
                <a:gd name="T30" fmla="*/ 7 w 1416"/>
                <a:gd name="T31" fmla="*/ 110 h 312"/>
                <a:gd name="T32" fmla="*/ 4 w 1416"/>
                <a:gd name="T33" fmla="*/ 124 h 312"/>
                <a:gd name="T34" fmla="*/ 1 w 1416"/>
                <a:gd name="T35" fmla="*/ 140 h 312"/>
                <a:gd name="T36" fmla="*/ 0 w 1416"/>
                <a:gd name="T37" fmla="*/ 156 h 312"/>
                <a:gd name="T38" fmla="*/ 0 w 1416"/>
                <a:gd name="T39" fmla="*/ 156 h 312"/>
                <a:gd name="T40" fmla="*/ 1 w 1416"/>
                <a:gd name="T41" fmla="*/ 172 h 312"/>
                <a:gd name="T42" fmla="*/ 4 w 1416"/>
                <a:gd name="T43" fmla="*/ 187 h 312"/>
                <a:gd name="T44" fmla="*/ 7 w 1416"/>
                <a:gd name="T45" fmla="*/ 202 h 312"/>
                <a:gd name="T46" fmla="*/ 12 w 1416"/>
                <a:gd name="T47" fmla="*/ 216 h 312"/>
                <a:gd name="T48" fmla="*/ 20 w 1416"/>
                <a:gd name="T49" fmla="*/ 230 h 312"/>
                <a:gd name="T50" fmla="*/ 27 w 1416"/>
                <a:gd name="T51" fmla="*/ 243 h 312"/>
                <a:gd name="T52" fmla="*/ 36 w 1416"/>
                <a:gd name="T53" fmla="*/ 255 h 312"/>
                <a:gd name="T54" fmla="*/ 46 w 1416"/>
                <a:gd name="T55" fmla="*/ 266 h 312"/>
                <a:gd name="T56" fmla="*/ 57 w 1416"/>
                <a:gd name="T57" fmla="*/ 277 h 312"/>
                <a:gd name="T58" fmla="*/ 69 w 1416"/>
                <a:gd name="T59" fmla="*/ 285 h 312"/>
                <a:gd name="T60" fmla="*/ 82 w 1416"/>
                <a:gd name="T61" fmla="*/ 292 h 312"/>
                <a:gd name="T62" fmla="*/ 96 w 1416"/>
                <a:gd name="T63" fmla="*/ 300 h 312"/>
                <a:gd name="T64" fmla="*/ 110 w 1416"/>
                <a:gd name="T65" fmla="*/ 305 h 312"/>
                <a:gd name="T66" fmla="*/ 125 w 1416"/>
                <a:gd name="T67" fmla="*/ 308 h 312"/>
                <a:gd name="T68" fmla="*/ 140 w 1416"/>
                <a:gd name="T69" fmla="*/ 311 h 312"/>
                <a:gd name="T70" fmla="*/ 156 w 1416"/>
                <a:gd name="T71" fmla="*/ 312 h 312"/>
                <a:gd name="T72" fmla="*/ 1416 w 1416"/>
                <a:gd name="T73" fmla="*/ 312 h 312"/>
                <a:gd name="T74" fmla="*/ 1416 w 1416"/>
                <a:gd name="T75" fmla="*/ 312 h 312"/>
                <a:gd name="T76" fmla="*/ 1412 w 1416"/>
                <a:gd name="T77" fmla="*/ 306 h 312"/>
                <a:gd name="T78" fmla="*/ 1401 w 1416"/>
                <a:gd name="T79" fmla="*/ 290 h 312"/>
                <a:gd name="T80" fmla="*/ 1395 w 1416"/>
                <a:gd name="T81" fmla="*/ 278 h 312"/>
                <a:gd name="T82" fmla="*/ 1387 w 1416"/>
                <a:gd name="T83" fmla="*/ 263 h 312"/>
                <a:gd name="T84" fmla="*/ 1381 w 1416"/>
                <a:gd name="T85" fmla="*/ 247 h 312"/>
                <a:gd name="T86" fmla="*/ 1376 w 1416"/>
                <a:gd name="T87" fmla="*/ 227 h 312"/>
                <a:gd name="T88" fmla="*/ 1372 w 1416"/>
                <a:gd name="T89" fmla="*/ 205 h 312"/>
                <a:gd name="T90" fmla="*/ 1369 w 1416"/>
                <a:gd name="T91" fmla="*/ 182 h 312"/>
                <a:gd name="T92" fmla="*/ 1368 w 1416"/>
                <a:gd name="T93" fmla="*/ 156 h 312"/>
                <a:gd name="T94" fmla="*/ 1370 w 1416"/>
                <a:gd name="T95" fmla="*/ 128 h 312"/>
                <a:gd name="T96" fmla="*/ 1373 w 1416"/>
                <a:gd name="T97" fmla="*/ 114 h 312"/>
                <a:gd name="T98" fmla="*/ 1376 w 1416"/>
                <a:gd name="T99" fmla="*/ 99 h 312"/>
                <a:gd name="T100" fmla="*/ 1380 w 1416"/>
                <a:gd name="T101" fmla="*/ 83 h 312"/>
                <a:gd name="T102" fmla="*/ 1385 w 1416"/>
                <a:gd name="T103" fmla="*/ 68 h 312"/>
                <a:gd name="T104" fmla="*/ 1391 w 1416"/>
                <a:gd name="T105" fmla="*/ 52 h 312"/>
                <a:gd name="T106" fmla="*/ 1398 w 1416"/>
                <a:gd name="T107" fmla="*/ 35 h 312"/>
                <a:gd name="T108" fmla="*/ 1407 w 1416"/>
                <a:gd name="T109" fmla="*/ 17 h 312"/>
                <a:gd name="T110" fmla="*/ 1416 w 1416"/>
                <a:gd name="T111" fmla="*/ 0 h 312"/>
                <a:gd name="T112" fmla="*/ 1416 w 1416"/>
                <a:gd name="T113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16" h="312">
                  <a:moveTo>
                    <a:pt x="1416" y="0"/>
                  </a:moveTo>
                  <a:lnTo>
                    <a:pt x="156" y="0"/>
                  </a:lnTo>
                  <a:lnTo>
                    <a:pt x="156" y="0"/>
                  </a:lnTo>
                  <a:lnTo>
                    <a:pt x="140" y="0"/>
                  </a:lnTo>
                  <a:lnTo>
                    <a:pt x="125" y="2"/>
                  </a:lnTo>
                  <a:lnTo>
                    <a:pt x="110" y="7"/>
                  </a:lnTo>
                  <a:lnTo>
                    <a:pt x="96" y="12"/>
                  </a:lnTo>
                  <a:lnTo>
                    <a:pt x="82" y="18"/>
                  </a:lnTo>
                  <a:lnTo>
                    <a:pt x="69" y="26"/>
                  </a:lnTo>
                  <a:lnTo>
                    <a:pt x="57" y="35"/>
                  </a:lnTo>
                  <a:lnTo>
                    <a:pt x="46" y="46"/>
                  </a:lnTo>
                  <a:lnTo>
                    <a:pt x="36" y="57"/>
                  </a:lnTo>
                  <a:lnTo>
                    <a:pt x="27" y="69"/>
                  </a:lnTo>
                  <a:lnTo>
                    <a:pt x="20" y="81"/>
                  </a:lnTo>
                  <a:lnTo>
                    <a:pt x="12" y="95"/>
                  </a:lnTo>
                  <a:lnTo>
                    <a:pt x="7" y="110"/>
                  </a:lnTo>
                  <a:lnTo>
                    <a:pt x="4" y="124"/>
                  </a:lnTo>
                  <a:lnTo>
                    <a:pt x="1" y="140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1" y="172"/>
                  </a:lnTo>
                  <a:lnTo>
                    <a:pt x="4" y="187"/>
                  </a:lnTo>
                  <a:lnTo>
                    <a:pt x="7" y="202"/>
                  </a:lnTo>
                  <a:lnTo>
                    <a:pt x="12" y="216"/>
                  </a:lnTo>
                  <a:lnTo>
                    <a:pt x="20" y="230"/>
                  </a:lnTo>
                  <a:lnTo>
                    <a:pt x="27" y="243"/>
                  </a:lnTo>
                  <a:lnTo>
                    <a:pt x="36" y="255"/>
                  </a:lnTo>
                  <a:lnTo>
                    <a:pt x="46" y="266"/>
                  </a:lnTo>
                  <a:lnTo>
                    <a:pt x="57" y="277"/>
                  </a:lnTo>
                  <a:lnTo>
                    <a:pt x="69" y="285"/>
                  </a:lnTo>
                  <a:lnTo>
                    <a:pt x="82" y="292"/>
                  </a:lnTo>
                  <a:lnTo>
                    <a:pt x="96" y="300"/>
                  </a:lnTo>
                  <a:lnTo>
                    <a:pt x="110" y="305"/>
                  </a:lnTo>
                  <a:lnTo>
                    <a:pt x="125" y="308"/>
                  </a:lnTo>
                  <a:lnTo>
                    <a:pt x="140" y="311"/>
                  </a:lnTo>
                  <a:lnTo>
                    <a:pt x="156" y="312"/>
                  </a:lnTo>
                  <a:lnTo>
                    <a:pt x="1416" y="312"/>
                  </a:lnTo>
                  <a:lnTo>
                    <a:pt x="1416" y="312"/>
                  </a:lnTo>
                  <a:lnTo>
                    <a:pt x="1412" y="306"/>
                  </a:lnTo>
                  <a:lnTo>
                    <a:pt x="1401" y="290"/>
                  </a:lnTo>
                  <a:lnTo>
                    <a:pt x="1395" y="278"/>
                  </a:lnTo>
                  <a:lnTo>
                    <a:pt x="1387" y="263"/>
                  </a:lnTo>
                  <a:lnTo>
                    <a:pt x="1381" y="247"/>
                  </a:lnTo>
                  <a:lnTo>
                    <a:pt x="1376" y="227"/>
                  </a:lnTo>
                  <a:lnTo>
                    <a:pt x="1372" y="205"/>
                  </a:lnTo>
                  <a:lnTo>
                    <a:pt x="1369" y="182"/>
                  </a:lnTo>
                  <a:lnTo>
                    <a:pt x="1368" y="156"/>
                  </a:lnTo>
                  <a:lnTo>
                    <a:pt x="1370" y="128"/>
                  </a:lnTo>
                  <a:lnTo>
                    <a:pt x="1373" y="114"/>
                  </a:lnTo>
                  <a:lnTo>
                    <a:pt x="1376" y="99"/>
                  </a:lnTo>
                  <a:lnTo>
                    <a:pt x="1380" y="83"/>
                  </a:lnTo>
                  <a:lnTo>
                    <a:pt x="1385" y="68"/>
                  </a:lnTo>
                  <a:lnTo>
                    <a:pt x="1391" y="52"/>
                  </a:lnTo>
                  <a:lnTo>
                    <a:pt x="1398" y="35"/>
                  </a:lnTo>
                  <a:lnTo>
                    <a:pt x="1407" y="17"/>
                  </a:lnTo>
                  <a:lnTo>
                    <a:pt x="1416" y="0"/>
                  </a:lnTo>
                  <a:lnTo>
                    <a:pt x="14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Line 481">
              <a:extLst>
                <a:ext uri="{FF2B5EF4-FFF2-40B4-BE49-F238E27FC236}">
                  <a16:creationId xmlns:a16="http://schemas.microsoft.com/office/drawing/2014/main" id="{876102CC-BE33-424A-A088-B29B339A64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753916" y="5710611"/>
              <a:ext cx="1983645" cy="0"/>
            </a:xfrm>
            <a:prstGeom prst="line">
              <a:avLst/>
            </a:prstGeom>
            <a:noFill/>
            <a:ln w="1588">
              <a:solidFill>
                <a:srgbClr val="E7E7E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Line 482">
              <a:extLst>
                <a:ext uri="{FF2B5EF4-FFF2-40B4-BE49-F238E27FC236}">
                  <a16:creationId xmlns:a16="http://schemas.microsoft.com/office/drawing/2014/main" id="{3099388B-2C05-CF44-A11E-0F50FE82DD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753916" y="5809644"/>
              <a:ext cx="1983645" cy="0"/>
            </a:xfrm>
            <a:prstGeom prst="line">
              <a:avLst/>
            </a:prstGeom>
            <a:noFill/>
            <a:ln w="1588">
              <a:solidFill>
                <a:srgbClr val="E7E7E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Line 483">
              <a:extLst>
                <a:ext uri="{FF2B5EF4-FFF2-40B4-BE49-F238E27FC236}">
                  <a16:creationId xmlns:a16="http://schemas.microsoft.com/office/drawing/2014/main" id="{F2B21685-65CD-834A-8133-6CD9980313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753916" y="5905675"/>
              <a:ext cx="1983645" cy="0"/>
            </a:xfrm>
            <a:prstGeom prst="line">
              <a:avLst/>
            </a:prstGeom>
            <a:noFill/>
            <a:ln w="1588">
              <a:solidFill>
                <a:srgbClr val="E7E7E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484">
              <a:extLst>
                <a:ext uri="{FF2B5EF4-FFF2-40B4-BE49-F238E27FC236}">
                  <a16:creationId xmlns:a16="http://schemas.microsoft.com/office/drawing/2014/main" id="{81E8B073-13BC-CF42-837C-6D999DDFA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4924" y="5431521"/>
              <a:ext cx="2238726" cy="63021"/>
            </a:xfrm>
            <a:custGeom>
              <a:avLst/>
              <a:gdLst>
                <a:gd name="T0" fmla="*/ 1492 w 1492"/>
                <a:gd name="T1" fmla="*/ 0 h 41"/>
                <a:gd name="T2" fmla="*/ 184 w 1492"/>
                <a:gd name="T3" fmla="*/ 0 h 41"/>
                <a:gd name="T4" fmla="*/ 0 w 1492"/>
                <a:gd name="T5" fmla="*/ 41 h 41"/>
                <a:gd name="T6" fmla="*/ 1308 w 1492"/>
                <a:gd name="T7" fmla="*/ 41 h 41"/>
                <a:gd name="T8" fmla="*/ 1492 w 1492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2" h="41">
                  <a:moveTo>
                    <a:pt x="1492" y="0"/>
                  </a:moveTo>
                  <a:lnTo>
                    <a:pt x="184" y="0"/>
                  </a:lnTo>
                  <a:lnTo>
                    <a:pt x="0" y="41"/>
                  </a:lnTo>
                  <a:lnTo>
                    <a:pt x="1308" y="41"/>
                  </a:lnTo>
                  <a:lnTo>
                    <a:pt x="149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486">
              <a:extLst>
                <a:ext uri="{FF2B5EF4-FFF2-40B4-BE49-F238E27FC236}">
                  <a16:creationId xmlns:a16="http://schemas.microsoft.com/office/drawing/2014/main" id="{CA67F2F9-FA89-F848-AD57-D1059ED4E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7560" y="5986700"/>
              <a:ext cx="276090" cy="144047"/>
            </a:xfrm>
            <a:custGeom>
              <a:avLst/>
              <a:gdLst>
                <a:gd name="T0" fmla="*/ 0 w 184"/>
                <a:gd name="T1" fmla="*/ 96 h 96"/>
                <a:gd name="T2" fmla="*/ 0 w 184"/>
                <a:gd name="T3" fmla="*/ 40 h 96"/>
                <a:gd name="T4" fmla="*/ 184 w 184"/>
                <a:gd name="T5" fmla="*/ 0 h 96"/>
                <a:gd name="T6" fmla="*/ 184 w 184"/>
                <a:gd name="T7" fmla="*/ 42 h 96"/>
                <a:gd name="T8" fmla="*/ 0 w 184"/>
                <a:gd name="T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" h="96">
                  <a:moveTo>
                    <a:pt x="0" y="96"/>
                  </a:moveTo>
                  <a:lnTo>
                    <a:pt x="0" y="40"/>
                  </a:lnTo>
                  <a:lnTo>
                    <a:pt x="184" y="0"/>
                  </a:lnTo>
                  <a:lnTo>
                    <a:pt x="184" y="42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14" name="Freeform 319">
            <a:extLst>
              <a:ext uri="{FF2B5EF4-FFF2-40B4-BE49-F238E27FC236}">
                <a16:creationId xmlns:a16="http://schemas.microsoft.com/office/drawing/2014/main" id="{C53D922D-E199-C049-8F43-CF770E51C5D9}"/>
              </a:ext>
            </a:extLst>
          </p:cNvPr>
          <p:cNvSpPr>
            <a:spLocks/>
          </p:cNvSpPr>
          <p:nvPr/>
        </p:nvSpPr>
        <p:spPr bwMode="auto">
          <a:xfrm>
            <a:off x="6058343" y="1758639"/>
            <a:ext cx="195263" cy="195263"/>
          </a:xfrm>
          <a:custGeom>
            <a:avLst/>
            <a:gdLst>
              <a:gd name="T0" fmla="*/ 245 w 245"/>
              <a:gd name="T1" fmla="*/ 123 h 245"/>
              <a:gd name="T2" fmla="*/ 243 w 245"/>
              <a:gd name="T3" fmla="*/ 147 h 245"/>
              <a:gd name="T4" fmla="*/ 235 w 245"/>
              <a:gd name="T5" fmla="*/ 170 h 245"/>
              <a:gd name="T6" fmla="*/ 225 w 245"/>
              <a:gd name="T7" fmla="*/ 191 h 245"/>
              <a:gd name="T8" fmla="*/ 209 w 245"/>
              <a:gd name="T9" fmla="*/ 209 h 245"/>
              <a:gd name="T10" fmla="*/ 191 w 245"/>
              <a:gd name="T11" fmla="*/ 225 h 245"/>
              <a:gd name="T12" fmla="*/ 170 w 245"/>
              <a:gd name="T13" fmla="*/ 236 h 245"/>
              <a:gd name="T14" fmla="*/ 147 w 245"/>
              <a:gd name="T15" fmla="*/ 243 h 245"/>
              <a:gd name="T16" fmla="*/ 123 w 245"/>
              <a:gd name="T17" fmla="*/ 245 h 245"/>
              <a:gd name="T18" fmla="*/ 110 w 245"/>
              <a:gd name="T19" fmla="*/ 245 h 245"/>
              <a:gd name="T20" fmla="*/ 86 w 245"/>
              <a:gd name="T21" fmla="*/ 240 h 245"/>
              <a:gd name="T22" fmla="*/ 64 w 245"/>
              <a:gd name="T23" fmla="*/ 231 h 245"/>
              <a:gd name="T24" fmla="*/ 44 w 245"/>
              <a:gd name="T25" fmla="*/ 217 h 245"/>
              <a:gd name="T26" fmla="*/ 27 w 245"/>
              <a:gd name="T27" fmla="*/ 200 h 245"/>
              <a:gd name="T28" fmla="*/ 14 w 245"/>
              <a:gd name="T29" fmla="*/ 181 h 245"/>
              <a:gd name="T30" fmla="*/ 6 w 245"/>
              <a:gd name="T31" fmla="*/ 159 h 245"/>
              <a:gd name="T32" fmla="*/ 1 w 245"/>
              <a:gd name="T33" fmla="*/ 135 h 245"/>
              <a:gd name="T34" fmla="*/ 0 w 245"/>
              <a:gd name="T35" fmla="*/ 123 h 245"/>
              <a:gd name="T36" fmla="*/ 2 w 245"/>
              <a:gd name="T37" fmla="*/ 98 h 245"/>
              <a:gd name="T38" fmla="*/ 9 w 245"/>
              <a:gd name="T39" fmla="*/ 75 h 245"/>
              <a:gd name="T40" fmla="*/ 21 w 245"/>
              <a:gd name="T41" fmla="*/ 54 h 245"/>
              <a:gd name="T42" fmla="*/ 36 w 245"/>
              <a:gd name="T43" fmla="*/ 36 h 245"/>
              <a:gd name="T44" fmla="*/ 54 w 245"/>
              <a:gd name="T45" fmla="*/ 22 h 245"/>
              <a:gd name="T46" fmla="*/ 75 w 245"/>
              <a:gd name="T47" fmla="*/ 9 h 245"/>
              <a:gd name="T48" fmla="*/ 98 w 245"/>
              <a:gd name="T49" fmla="*/ 2 h 245"/>
              <a:gd name="T50" fmla="*/ 123 w 245"/>
              <a:gd name="T51" fmla="*/ 0 h 245"/>
              <a:gd name="T52" fmla="*/ 135 w 245"/>
              <a:gd name="T53" fmla="*/ 1 h 245"/>
              <a:gd name="T54" fmla="*/ 159 w 245"/>
              <a:gd name="T55" fmla="*/ 6 h 245"/>
              <a:gd name="T56" fmla="*/ 181 w 245"/>
              <a:gd name="T57" fmla="*/ 14 h 245"/>
              <a:gd name="T58" fmla="*/ 200 w 245"/>
              <a:gd name="T59" fmla="*/ 28 h 245"/>
              <a:gd name="T60" fmla="*/ 217 w 245"/>
              <a:gd name="T61" fmla="*/ 44 h 245"/>
              <a:gd name="T62" fmla="*/ 231 w 245"/>
              <a:gd name="T63" fmla="*/ 64 h 245"/>
              <a:gd name="T64" fmla="*/ 240 w 245"/>
              <a:gd name="T65" fmla="*/ 87 h 245"/>
              <a:gd name="T66" fmla="*/ 245 w 245"/>
              <a:gd name="T67" fmla="*/ 110 h 245"/>
              <a:gd name="T68" fmla="*/ 245 w 245"/>
              <a:gd name="T69" fmla="*/ 123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45" h="245">
                <a:moveTo>
                  <a:pt x="245" y="123"/>
                </a:moveTo>
                <a:lnTo>
                  <a:pt x="245" y="123"/>
                </a:lnTo>
                <a:lnTo>
                  <a:pt x="245" y="135"/>
                </a:lnTo>
                <a:lnTo>
                  <a:pt x="243" y="147"/>
                </a:lnTo>
                <a:lnTo>
                  <a:pt x="240" y="159"/>
                </a:lnTo>
                <a:lnTo>
                  <a:pt x="235" y="170"/>
                </a:lnTo>
                <a:lnTo>
                  <a:pt x="231" y="181"/>
                </a:lnTo>
                <a:lnTo>
                  <a:pt x="225" y="191"/>
                </a:lnTo>
                <a:lnTo>
                  <a:pt x="217" y="200"/>
                </a:lnTo>
                <a:lnTo>
                  <a:pt x="209" y="209"/>
                </a:lnTo>
                <a:lnTo>
                  <a:pt x="200" y="217"/>
                </a:lnTo>
                <a:lnTo>
                  <a:pt x="191" y="225"/>
                </a:lnTo>
                <a:lnTo>
                  <a:pt x="181" y="231"/>
                </a:lnTo>
                <a:lnTo>
                  <a:pt x="170" y="236"/>
                </a:lnTo>
                <a:lnTo>
                  <a:pt x="159" y="240"/>
                </a:lnTo>
                <a:lnTo>
                  <a:pt x="147" y="243"/>
                </a:lnTo>
                <a:lnTo>
                  <a:pt x="135" y="245"/>
                </a:lnTo>
                <a:lnTo>
                  <a:pt x="123" y="245"/>
                </a:lnTo>
                <a:lnTo>
                  <a:pt x="123" y="245"/>
                </a:lnTo>
                <a:lnTo>
                  <a:pt x="110" y="245"/>
                </a:lnTo>
                <a:lnTo>
                  <a:pt x="98" y="243"/>
                </a:lnTo>
                <a:lnTo>
                  <a:pt x="86" y="240"/>
                </a:lnTo>
                <a:lnTo>
                  <a:pt x="75" y="236"/>
                </a:lnTo>
                <a:lnTo>
                  <a:pt x="64" y="231"/>
                </a:lnTo>
                <a:lnTo>
                  <a:pt x="54" y="225"/>
                </a:lnTo>
                <a:lnTo>
                  <a:pt x="44" y="217"/>
                </a:lnTo>
                <a:lnTo>
                  <a:pt x="36" y="209"/>
                </a:lnTo>
                <a:lnTo>
                  <a:pt x="27" y="200"/>
                </a:lnTo>
                <a:lnTo>
                  <a:pt x="21" y="191"/>
                </a:lnTo>
                <a:lnTo>
                  <a:pt x="14" y="181"/>
                </a:lnTo>
                <a:lnTo>
                  <a:pt x="9" y="170"/>
                </a:lnTo>
                <a:lnTo>
                  <a:pt x="6" y="159"/>
                </a:lnTo>
                <a:lnTo>
                  <a:pt x="2" y="147"/>
                </a:lnTo>
                <a:lnTo>
                  <a:pt x="1" y="135"/>
                </a:lnTo>
                <a:lnTo>
                  <a:pt x="0" y="123"/>
                </a:lnTo>
                <a:lnTo>
                  <a:pt x="0" y="123"/>
                </a:lnTo>
                <a:lnTo>
                  <a:pt x="1" y="110"/>
                </a:lnTo>
                <a:lnTo>
                  <a:pt x="2" y="98"/>
                </a:lnTo>
                <a:lnTo>
                  <a:pt x="6" y="87"/>
                </a:lnTo>
                <a:lnTo>
                  <a:pt x="9" y="75"/>
                </a:lnTo>
                <a:lnTo>
                  <a:pt x="14" y="64"/>
                </a:lnTo>
                <a:lnTo>
                  <a:pt x="21" y="54"/>
                </a:lnTo>
                <a:lnTo>
                  <a:pt x="27" y="44"/>
                </a:lnTo>
                <a:lnTo>
                  <a:pt x="36" y="36"/>
                </a:lnTo>
                <a:lnTo>
                  <a:pt x="44" y="28"/>
                </a:lnTo>
                <a:lnTo>
                  <a:pt x="54" y="22"/>
                </a:lnTo>
                <a:lnTo>
                  <a:pt x="64" y="14"/>
                </a:lnTo>
                <a:lnTo>
                  <a:pt x="75" y="9"/>
                </a:lnTo>
                <a:lnTo>
                  <a:pt x="86" y="6"/>
                </a:lnTo>
                <a:lnTo>
                  <a:pt x="98" y="2"/>
                </a:lnTo>
                <a:lnTo>
                  <a:pt x="110" y="1"/>
                </a:lnTo>
                <a:lnTo>
                  <a:pt x="123" y="0"/>
                </a:lnTo>
                <a:lnTo>
                  <a:pt x="123" y="0"/>
                </a:lnTo>
                <a:lnTo>
                  <a:pt x="135" y="1"/>
                </a:lnTo>
                <a:lnTo>
                  <a:pt x="147" y="2"/>
                </a:lnTo>
                <a:lnTo>
                  <a:pt x="159" y="6"/>
                </a:lnTo>
                <a:lnTo>
                  <a:pt x="170" y="9"/>
                </a:lnTo>
                <a:lnTo>
                  <a:pt x="181" y="14"/>
                </a:lnTo>
                <a:lnTo>
                  <a:pt x="191" y="22"/>
                </a:lnTo>
                <a:lnTo>
                  <a:pt x="200" y="28"/>
                </a:lnTo>
                <a:lnTo>
                  <a:pt x="209" y="36"/>
                </a:lnTo>
                <a:lnTo>
                  <a:pt x="217" y="44"/>
                </a:lnTo>
                <a:lnTo>
                  <a:pt x="225" y="54"/>
                </a:lnTo>
                <a:lnTo>
                  <a:pt x="231" y="64"/>
                </a:lnTo>
                <a:lnTo>
                  <a:pt x="235" y="75"/>
                </a:lnTo>
                <a:lnTo>
                  <a:pt x="240" y="87"/>
                </a:lnTo>
                <a:lnTo>
                  <a:pt x="243" y="98"/>
                </a:lnTo>
                <a:lnTo>
                  <a:pt x="245" y="110"/>
                </a:lnTo>
                <a:lnTo>
                  <a:pt x="245" y="123"/>
                </a:lnTo>
                <a:lnTo>
                  <a:pt x="245" y="123"/>
                </a:lnTo>
                <a:close/>
              </a:path>
            </a:pathLst>
          </a:custGeom>
          <a:solidFill>
            <a:schemeClr val="tx2"/>
          </a:solidFill>
          <a:ln w="381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A085648C-E6D9-C549-9830-B07907433392}"/>
              </a:ext>
            </a:extLst>
          </p:cNvPr>
          <p:cNvGrpSpPr/>
          <p:nvPr/>
        </p:nvGrpSpPr>
        <p:grpSpPr>
          <a:xfrm>
            <a:off x="5833847" y="2344417"/>
            <a:ext cx="691198" cy="691198"/>
            <a:chOff x="4287980" y="2570528"/>
            <a:chExt cx="1185862" cy="1185862"/>
          </a:xfrm>
        </p:grpSpPr>
        <p:sp>
          <p:nvSpPr>
            <p:cNvPr id="420" name="Oval 419">
              <a:extLst>
                <a:ext uri="{FF2B5EF4-FFF2-40B4-BE49-F238E27FC236}">
                  <a16:creationId xmlns:a16="http://schemas.microsoft.com/office/drawing/2014/main" id="{83AE23B6-C74C-1044-B01F-00F1037680D2}"/>
                </a:ext>
              </a:extLst>
            </p:cNvPr>
            <p:cNvSpPr/>
            <p:nvPr/>
          </p:nvSpPr>
          <p:spPr>
            <a:xfrm>
              <a:off x="4287980" y="2570528"/>
              <a:ext cx="1185862" cy="118586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1" name="Chord 420">
              <a:extLst>
                <a:ext uri="{FF2B5EF4-FFF2-40B4-BE49-F238E27FC236}">
                  <a16:creationId xmlns:a16="http://schemas.microsoft.com/office/drawing/2014/main" id="{7F67EC57-E9BC-8F42-B596-DE8A12C112DB}"/>
                </a:ext>
              </a:extLst>
            </p:cNvPr>
            <p:cNvSpPr/>
            <p:nvPr/>
          </p:nvSpPr>
          <p:spPr>
            <a:xfrm>
              <a:off x="4287980" y="2570528"/>
              <a:ext cx="1185862" cy="1185862"/>
            </a:xfrm>
            <a:prstGeom prst="chord">
              <a:avLst>
                <a:gd name="adj1" fmla="val 2700000"/>
                <a:gd name="adj2" fmla="val 13372730"/>
              </a:avLst>
            </a:prstGeom>
            <a:solidFill>
              <a:schemeClr val="tx1">
                <a:alpha val="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46D7F708-D38C-FF47-9F8F-CDCDD1478023}"/>
              </a:ext>
            </a:extLst>
          </p:cNvPr>
          <p:cNvGrpSpPr/>
          <p:nvPr/>
        </p:nvGrpSpPr>
        <p:grpSpPr>
          <a:xfrm>
            <a:off x="5833847" y="3307594"/>
            <a:ext cx="691198" cy="691198"/>
            <a:chOff x="1421608" y="2321133"/>
            <a:chExt cx="1185862" cy="1185862"/>
          </a:xfrm>
        </p:grpSpPr>
        <p:sp>
          <p:nvSpPr>
            <p:cNvPr id="423" name="Oval 422">
              <a:extLst>
                <a:ext uri="{FF2B5EF4-FFF2-40B4-BE49-F238E27FC236}">
                  <a16:creationId xmlns:a16="http://schemas.microsoft.com/office/drawing/2014/main" id="{5C6791AD-26F7-8F4B-9C51-DA1EC456D133}"/>
                </a:ext>
              </a:extLst>
            </p:cNvPr>
            <p:cNvSpPr/>
            <p:nvPr/>
          </p:nvSpPr>
          <p:spPr>
            <a:xfrm>
              <a:off x="1421608" y="2321133"/>
              <a:ext cx="1185862" cy="118586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4" name="Chord 423">
              <a:extLst>
                <a:ext uri="{FF2B5EF4-FFF2-40B4-BE49-F238E27FC236}">
                  <a16:creationId xmlns:a16="http://schemas.microsoft.com/office/drawing/2014/main" id="{1EF1E999-55D9-D04C-B706-15A376A8A6D0}"/>
                </a:ext>
              </a:extLst>
            </p:cNvPr>
            <p:cNvSpPr/>
            <p:nvPr/>
          </p:nvSpPr>
          <p:spPr>
            <a:xfrm>
              <a:off x="1421608" y="2321133"/>
              <a:ext cx="1185862" cy="1185862"/>
            </a:xfrm>
            <a:prstGeom prst="chord">
              <a:avLst>
                <a:gd name="adj1" fmla="val 2700000"/>
                <a:gd name="adj2" fmla="val 13372730"/>
              </a:avLst>
            </a:prstGeom>
            <a:solidFill>
              <a:schemeClr val="tx1">
                <a:alpha val="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25" name="Group 424">
            <a:extLst>
              <a:ext uri="{FF2B5EF4-FFF2-40B4-BE49-F238E27FC236}">
                <a16:creationId xmlns:a16="http://schemas.microsoft.com/office/drawing/2014/main" id="{AF5A87FB-4D68-954E-A603-F1B8A3072069}"/>
              </a:ext>
            </a:extLst>
          </p:cNvPr>
          <p:cNvGrpSpPr/>
          <p:nvPr/>
        </p:nvGrpSpPr>
        <p:grpSpPr>
          <a:xfrm>
            <a:off x="5833847" y="5166543"/>
            <a:ext cx="691198" cy="691198"/>
            <a:chOff x="10020723" y="2688629"/>
            <a:chExt cx="1185862" cy="1185862"/>
          </a:xfrm>
        </p:grpSpPr>
        <p:sp>
          <p:nvSpPr>
            <p:cNvPr id="426" name="Oval 425">
              <a:extLst>
                <a:ext uri="{FF2B5EF4-FFF2-40B4-BE49-F238E27FC236}">
                  <a16:creationId xmlns:a16="http://schemas.microsoft.com/office/drawing/2014/main" id="{A9C229C4-B338-3443-B02C-AB75CE8107F6}"/>
                </a:ext>
              </a:extLst>
            </p:cNvPr>
            <p:cNvSpPr/>
            <p:nvPr/>
          </p:nvSpPr>
          <p:spPr>
            <a:xfrm>
              <a:off x="10020723" y="2688629"/>
              <a:ext cx="1185862" cy="1185862"/>
            </a:xfrm>
            <a:prstGeom prst="ellipse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27" name="Chord 426">
              <a:extLst>
                <a:ext uri="{FF2B5EF4-FFF2-40B4-BE49-F238E27FC236}">
                  <a16:creationId xmlns:a16="http://schemas.microsoft.com/office/drawing/2014/main" id="{B9E58592-E19C-FF45-A285-3C00D9B41E24}"/>
                </a:ext>
              </a:extLst>
            </p:cNvPr>
            <p:cNvSpPr/>
            <p:nvPr/>
          </p:nvSpPr>
          <p:spPr>
            <a:xfrm>
              <a:off x="10020723" y="2688629"/>
              <a:ext cx="1185862" cy="1185862"/>
            </a:xfrm>
            <a:prstGeom prst="chord">
              <a:avLst>
                <a:gd name="adj1" fmla="val 2700000"/>
                <a:gd name="adj2" fmla="val 13372730"/>
              </a:avLst>
            </a:prstGeom>
            <a:solidFill>
              <a:schemeClr val="tx1">
                <a:alpha val="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28" name="Group 427">
            <a:extLst>
              <a:ext uri="{FF2B5EF4-FFF2-40B4-BE49-F238E27FC236}">
                <a16:creationId xmlns:a16="http://schemas.microsoft.com/office/drawing/2014/main" id="{54E3CC5D-6C64-8D48-B579-1CB0E80F8BE8}"/>
              </a:ext>
            </a:extLst>
          </p:cNvPr>
          <p:cNvGrpSpPr/>
          <p:nvPr/>
        </p:nvGrpSpPr>
        <p:grpSpPr>
          <a:xfrm>
            <a:off x="5833847" y="4225232"/>
            <a:ext cx="691198" cy="691198"/>
            <a:chOff x="7154352" y="3044035"/>
            <a:chExt cx="1185862" cy="1185862"/>
          </a:xfrm>
        </p:grpSpPr>
        <p:sp>
          <p:nvSpPr>
            <p:cNvPr id="429" name="Oval 428">
              <a:extLst>
                <a:ext uri="{FF2B5EF4-FFF2-40B4-BE49-F238E27FC236}">
                  <a16:creationId xmlns:a16="http://schemas.microsoft.com/office/drawing/2014/main" id="{5B29DDEF-6933-F747-BCDB-23914B37A24E}"/>
                </a:ext>
              </a:extLst>
            </p:cNvPr>
            <p:cNvSpPr/>
            <p:nvPr/>
          </p:nvSpPr>
          <p:spPr>
            <a:xfrm>
              <a:off x="7154352" y="3044035"/>
              <a:ext cx="1185862" cy="118586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30" name="Chord 429">
              <a:extLst>
                <a:ext uri="{FF2B5EF4-FFF2-40B4-BE49-F238E27FC236}">
                  <a16:creationId xmlns:a16="http://schemas.microsoft.com/office/drawing/2014/main" id="{18CB4088-623B-3843-BCEF-873BC8E486BF}"/>
                </a:ext>
              </a:extLst>
            </p:cNvPr>
            <p:cNvSpPr/>
            <p:nvPr/>
          </p:nvSpPr>
          <p:spPr>
            <a:xfrm>
              <a:off x="7154352" y="3044035"/>
              <a:ext cx="1185862" cy="1185862"/>
            </a:xfrm>
            <a:prstGeom prst="chord">
              <a:avLst>
                <a:gd name="adj1" fmla="val 2700000"/>
                <a:gd name="adj2" fmla="val 13372730"/>
              </a:avLst>
            </a:prstGeom>
            <a:solidFill>
              <a:schemeClr val="tx1">
                <a:alpha val="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31" name="Content Placeholder 2">
            <a:extLst>
              <a:ext uri="{FF2B5EF4-FFF2-40B4-BE49-F238E27FC236}">
                <a16:creationId xmlns:a16="http://schemas.microsoft.com/office/drawing/2014/main" id="{1108EC04-5432-4445-B445-780BA13CFD6A}"/>
              </a:ext>
            </a:extLst>
          </p:cNvPr>
          <p:cNvSpPr txBox="1">
            <a:spLocks/>
          </p:cNvSpPr>
          <p:nvPr/>
        </p:nvSpPr>
        <p:spPr>
          <a:xfrm>
            <a:off x="6947680" y="3484524"/>
            <a:ext cx="4364414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Kahoot! URL: https://kahoot.com/schools/ </a:t>
            </a:r>
          </a:p>
        </p:txBody>
      </p:sp>
      <p:sp>
        <p:nvSpPr>
          <p:cNvPr id="432" name="Content Placeholder 2">
            <a:extLst>
              <a:ext uri="{FF2B5EF4-FFF2-40B4-BE49-F238E27FC236}">
                <a16:creationId xmlns:a16="http://schemas.microsoft.com/office/drawing/2014/main" id="{FE5CD155-CB5B-7F40-81B1-8FCE17686751}"/>
              </a:ext>
            </a:extLst>
          </p:cNvPr>
          <p:cNvSpPr txBox="1">
            <a:spLocks/>
          </p:cNvSpPr>
          <p:nvPr/>
        </p:nvSpPr>
        <p:spPr>
          <a:xfrm>
            <a:off x="6947680" y="4253316"/>
            <a:ext cx="4364414" cy="6647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Как работать с интерактивными тетрадями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kysmart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?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URL: http://didaktor.ru/kak-rabotat-s-interaktivnymi-tetradyami-skysmart/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3" name="Content Placeholder 2">
            <a:extLst>
              <a:ext uri="{FF2B5EF4-FFF2-40B4-BE49-F238E27FC236}">
                <a16:creationId xmlns:a16="http://schemas.microsoft.com/office/drawing/2014/main" id="{96504643-F9B3-F543-9BEE-3AC1DA700514}"/>
              </a:ext>
            </a:extLst>
          </p:cNvPr>
          <p:cNvSpPr txBox="1">
            <a:spLocks/>
          </p:cNvSpPr>
          <p:nvPr/>
        </p:nvSpPr>
        <p:spPr>
          <a:xfrm>
            <a:off x="6915161" y="5455474"/>
            <a:ext cx="4767633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роект «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videouroki.net». URL: https://videouroki.net </a:t>
            </a:r>
          </a:p>
        </p:txBody>
      </p:sp>
      <p:cxnSp>
        <p:nvCxnSpPr>
          <p:cNvPr id="434" name="Straight Connector 433">
            <a:extLst>
              <a:ext uri="{FF2B5EF4-FFF2-40B4-BE49-F238E27FC236}">
                <a16:creationId xmlns:a16="http://schemas.microsoft.com/office/drawing/2014/main" id="{9A2BC168-2609-3044-BB7B-C56969349DC8}"/>
              </a:ext>
            </a:extLst>
          </p:cNvPr>
          <p:cNvCxnSpPr>
            <a:cxnSpLocks/>
          </p:cNvCxnSpPr>
          <p:nvPr/>
        </p:nvCxnSpPr>
        <p:spPr>
          <a:xfrm>
            <a:off x="6896627" y="3132670"/>
            <a:ext cx="436441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5" name="Straight Connector 434">
            <a:extLst>
              <a:ext uri="{FF2B5EF4-FFF2-40B4-BE49-F238E27FC236}">
                <a16:creationId xmlns:a16="http://schemas.microsoft.com/office/drawing/2014/main" id="{E38C205A-5426-6341-BBA6-F7417ECB65D1}"/>
              </a:ext>
            </a:extLst>
          </p:cNvPr>
          <p:cNvCxnSpPr>
            <a:cxnSpLocks/>
          </p:cNvCxnSpPr>
          <p:nvPr/>
        </p:nvCxnSpPr>
        <p:spPr>
          <a:xfrm>
            <a:off x="6896627" y="4073378"/>
            <a:ext cx="436441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" name="Straight Connector 435">
            <a:extLst>
              <a:ext uri="{FF2B5EF4-FFF2-40B4-BE49-F238E27FC236}">
                <a16:creationId xmlns:a16="http://schemas.microsoft.com/office/drawing/2014/main" id="{8FF14DBF-265B-CC49-AA86-EE6FA2E0D458}"/>
              </a:ext>
            </a:extLst>
          </p:cNvPr>
          <p:cNvCxnSpPr>
            <a:cxnSpLocks/>
          </p:cNvCxnSpPr>
          <p:nvPr/>
        </p:nvCxnSpPr>
        <p:spPr>
          <a:xfrm>
            <a:off x="6896627" y="5014086"/>
            <a:ext cx="436441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17E8F1D-5B52-4F48-A21F-9D110CFA2CE3}"/>
              </a:ext>
            </a:extLst>
          </p:cNvPr>
          <p:cNvSpPr txBox="1">
            <a:spLocks/>
          </p:cNvSpPr>
          <p:nvPr/>
        </p:nvSpPr>
        <p:spPr>
          <a:xfrm>
            <a:off x="2522535" y="1949501"/>
            <a:ext cx="12206068" cy="74789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7611983F-C6EE-4973-A5B5-C012C294658F}"/>
              </a:ext>
            </a:extLst>
          </p:cNvPr>
          <p:cNvSpPr txBox="1"/>
          <p:nvPr/>
        </p:nvSpPr>
        <p:spPr>
          <a:xfrm>
            <a:off x="6842417" y="2268029"/>
            <a:ext cx="4998987" cy="6004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>
              <a:lnSpc>
                <a:spcPct val="250000"/>
              </a:lnSpc>
            </a:pP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</a:t>
            </a:r>
            <a:r>
              <a:rPr lang="ru-RU" sz="16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ЯКласс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.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RL: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aklass.ru/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15B4126-8AC3-421E-9CF1-C5AD273CE0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61500" y="4309869"/>
            <a:ext cx="515165" cy="52192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DEF0DAC-36E3-44EC-BC37-1096B11BFCA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0" t="-21512" r="74196" b="-4029"/>
          <a:stretch/>
        </p:blipFill>
        <p:spPr>
          <a:xfrm>
            <a:off x="6016186" y="5239818"/>
            <a:ext cx="416299" cy="534472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D909FF7-AEE0-4DDD-A14E-BF00A6FCF9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8936" y="2286564"/>
            <a:ext cx="792169" cy="79216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33F483F-8D6D-4922-B9BA-DF1C113D61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898" b="89761" l="6115" r="89928">
                        <a14:foregroundMark x1="8273" y1="21160" x2="6115" y2="75427"/>
                        <a14:foregroundMark x1="6115" y1="75427" x2="7914" y2="78498"/>
                        <a14:foregroundMark x1="51799" y1="32423" x2="17266" y2="52560"/>
                        <a14:foregroundMark x1="17266" y1="52560" x2="15108" y2="60068"/>
                        <a14:foregroundMark x1="18705" y1="25939" x2="21223" y2="63823"/>
                        <a14:foregroundMark x1="21223" y1="63823" x2="40647" y2="72696"/>
                        <a14:foregroundMark x1="40647" y1="72696" x2="62590" y2="67235"/>
                        <a14:foregroundMark x1="62590" y1="67235" x2="72302" y2="48464"/>
                        <a14:foregroundMark x1="72302" y1="48464" x2="72302" y2="31058"/>
                        <a14:foregroundMark x1="72302" y1="31058" x2="70863" y2="78498"/>
                        <a14:foregroundMark x1="14029" y1="39932" x2="18345" y2="71331"/>
                        <a14:foregroundMark x1="18345" y1="71331" x2="30935" y2="59044"/>
                        <a14:foregroundMark x1="30935" y1="59044" x2="47842" y2="72696"/>
                        <a14:foregroundMark x1="47842" y1="72696" x2="66187" y2="18430"/>
                        <a14:foregroundMark x1="66187" y1="18430" x2="67986" y2="44710"/>
                        <a14:foregroundMark x1="34892" y1="45392" x2="38849" y2="68259"/>
                        <a14:foregroundMark x1="69424" y1="64846" x2="71583" y2="7440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38759" y="3360754"/>
            <a:ext cx="574578" cy="60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4259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644215A-1091-4BD1-B291-BB61D01CA447}"/>
              </a:ext>
            </a:extLst>
          </p:cNvPr>
          <p:cNvSpPr/>
          <p:nvPr/>
        </p:nvSpPr>
        <p:spPr>
          <a:xfrm>
            <a:off x="4271879" y="0"/>
            <a:ext cx="7920121" cy="6858001"/>
          </a:xfrm>
          <a:prstGeom prst="rect">
            <a:avLst/>
          </a:prstGeom>
          <a:solidFill>
            <a:schemeClr val="accent2">
              <a:lumMod val="20000"/>
              <a:lumOff val="80000"/>
              <a:alpha val="46000"/>
            </a:schemeClr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3" name="Freeform: Shape 162">
            <a:extLst>
              <a:ext uri="{FF2B5EF4-FFF2-40B4-BE49-F238E27FC236}">
                <a16:creationId xmlns:a16="http://schemas.microsoft.com/office/drawing/2014/main" id="{057D5B7E-DAF1-4BF7-9861-4AAB327427B9}"/>
              </a:ext>
            </a:extLst>
          </p:cNvPr>
          <p:cNvSpPr>
            <a:spLocks/>
          </p:cNvSpPr>
          <p:nvPr/>
        </p:nvSpPr>
        <p:spPr bwMode="auto">
          <a:xfrm rot="16200000">
            <a:off x="205177" y="-205177"/>
            <a:ext cx="6858000" cy="7268355"/>
          </a:xfrm>
          <a:custGeom>
            <a:avLst/>
            <a:gdLst>
              <a:gd name="connsiteX0" fmla="*/ 2209591 w 6858000"/>
              <a:gd name="connsiteY0" fmla="*/ 7117860 h 7268355"/>
              <a:gd name="connsiteX1" fmla="*/ 2209591 w 6858000"/>
              <a:gd name="connsiteY1" fmla="*/ 7139991 h 7268355"/>
              <a:gd name="connsiteX2" fmla="*/ 2080607 w 6858000"/>
              <a:gd name="connsiteY2" fmla="*/ 7268354 h 7268355"/>
              <a:gd name="connsiteX3" fmla="*/ 1395658 w 6858000"/>
              <a:gd name="connsiteY3" fmla="*/ 7268354 h 7268355"/>
              <a:gd name="connsiteX4" fmla="*/ 1266674 w 6858000"/>
              <a:gd name="connsiteY4" fmla="*/ 7139991 h 7268355"/>
              <a:gd name="connsiteX5" fmla="*/ 1266674 w 6858000"/>
              <a:gd name="connsiteY5" fmla="*/ 7117860 h 7268355"/>
              <a:gd name="connsiteX6" fmla="*/ 1395658 w 6858000"/>
              <a:gd name="connsiteY6" fmla="*/ 6989497 h 7268355"/>
              <a:gd name="connsiteX7" fmla="*/ 2080607 w 6858000"/>
              <a:gd name="connsiteY7" fmla="*/ 6989497 h 7268355"/>
              <a:gd name="connsiteX8" fmla="*/ 2209591 w 6858000"/>
              <a:gd name="connsiteY8" fmla="*/ 7117860 h 7268355"/>
              <a:gd name="connsiteX9" fmla="*/ 5856005 w 6858000"/>
              <a:gd name="connsiteY9" fmla="*/ 6034241 h 7268355"/>
              <a:gd name="connsiteX10" fmla="*/ 5856005 w 6858000"/>
              <a:gd name="connsiteY10" fmla="*/ 6056560 h 7268355"/>
              <a:gd name="connsiteX11" fmla="*/ 5727305 w 6858000"/>
              <a:gd name="connsiteY11" fmla="*/ 6186011 h 7268355"/>
              <a:gd name="connsiteX12" fmla="*/ 5043863 w 6858000"/>
              <a:gd name="connsiteY12" fmla="*/ 6186011 h 7268355"/>
              <a:gd name="connsiteX13" fmla="*/ 4910725 w 6858000"/>
              <a:gd name="connsiteY13" fmla="*/ 6056560 h 7268355"/>
              <a:gd name="connsiteX14" fmla="*/ 4910725 w 6858000"/>
              <a:gd name="connsiteY14" fmla="*/ 6034241 h 7268355"/>
              <a:gd name="connsiteX15" fmla="*/ 5043863 w 6858000"/>
              <a:gd name="connsiteY15" fmla="*/ 5904790 h 7268355"/>
              <a:gd name="connsiteX16" fmla="*/ 5727305 w 6858000"/>
              <a:gd name="connsiteY16" fmla="*/ 5904790 h 7268355"/>
              <a:gd name="connsiteX17" fmla="*/ 5856005 w 6858000"/>
              <a:gd name="connsiteY17" fmla="*/ 6034241 h 7268355"/>
              <a:gd name="connsiteX18" fmla="*/ 6803647 w 6858000"/>
              <a:gd name="connsiteY18" fmla="*/ 6572190 h 7268355"/>
              <a:gd name="connsiteX19" fmla="*/ 6803647 w 6858000"/>
              <a:gd name="connsiteY19" fmla="*/ 6594361 h 7268355"/>
              <a:gd name="connsiteX20" fmla="*/ 6670245 w 6858000"/>
              <a:gd name="connsiteY20" fmla="*/ 6722952 h 7268355"/>
              <a:gd name="connsiteX21" fmla="*/ 4700345 w 6858000"/>
              <a:gd name="connsiteY21" fmla="*/ 6722952 h 7268355"/>
              <a:gd name="connsiteX22" fmla="*/ 4589177 w 6858000"/>
              <a:gd name="connsiteY22" fmla="*/ 6842675 h 7268355"/>
              <a:gd name="connsiteX23" fmla="*/ 4589177 w 6858000"/>
              <a:gd name="connsiteY23" fmla="*/ 6864846 h 7268355"/>
              <a:gd name="connsiteX24" fmla="*/ 4709238 w 6858000"/>
              <a:gd name="connsiteY24" fmla="*/ 6989002 h 7268355"/>
              <a:gd name="connsiteX25" fmla="*/ 4727025 w 6858000"/>
              <a:gd name="connsiteY25" fmla="*/ 6989002 h 7268355"/>
              <a:gd name="connsiteX26" fmla="*/ 5180592 w 6858000"/>
              <a:gd name="connsiteY26" fmla="*/ 6989002 h 7268355"/>
              <a:gd name="connsiteX27" fmla="*/ 5309546 w 6858000"/>
              <a:gd name="connsiteY27" fmla="*/ 7117593 h 7268355"/>
              <a:gd name="connsiteX28" fmla="*/ 5309546 w 6858000"/>
              <a:gd name="connsiteY28" fmla="*/ 7139764 h 7268355"/>
              <a:gd name="connsiteX29" fmla="*/ 5180592 w 6858000"/>
              <a:gd name="connsiteY29" fmla="*/ 7268355 h 7268355"/>
              <a:gd name="connsiteX30" fmla="*/ 2530343 w 6858000"/>
              <a:gd name="connsiteY30" fmla="*/ 7268355 h 7268355"/>
              <a:gd name="connsiteX31" fmla="*/ 2401388 w 6858000"/>
              <a:gd name="connsiteY31" fmla="*/ 7139764 h 7268355"/>
              <a:gd name="connsiteX32" fmla="*/ 2401388 w 6858000"/>
              <a:gd name="connsiteY32" fmla="*/ 7117593 h 7268355"/>
              <a:gd name="connsiteX33" fmla="*/ 2530343 w 6858000"/>
              <a:gd name="connsiteY33" fmla="*/ 6989002 h 7268355"/>
              <a:gd name="connsiteX34" fmla="*/ 2783806 w 6858000"/>
              <a:gd name="connsiteY34" fmla="*/ 6989002 h 7268355"/>
              <a:gd name="connsiteX35" fmla="*/ 2846060 w 6858000"/>
              <a:gd name="connsiteY35" fmla="*/ 6989002 h 7268355"/>
              <a:gd name="connsiteX36" fmla="*/ 2966121 w 6858000"/>
              <a:gd name="connsiteY36" fmla="*/ 6864846 h 7268355"/>
              <a:gd name="connsiteX37" fmla="*/ 2966121 w 6858000"/>
              <a:gd name="connsiteY37" fmla="*/ 6842675 h 7268355"/>
              <a:gd name="connsiteX38" fmla="*/ 2854953 w 6858000"/>
              <a:gd name="connsiteY38" fmla="*/ 6722952 h 7268355"/>
              <a:gd name="connsiteX39" fmla="*/ 1672124 w 6858000"/>
              <a:gd name="connsiteY39" fmla="*/ 6722952 h 7268355"/>
              <a:gd name="connsiteX40" fmla="*/ 1543169 w 6858000"/>
              <a:gd name="connsiteY40" fmla="*/ 6594361 h 7268355"/>
              <a:gd name="connsiteX41" fmla="*/ 1543169 w 6858000"/>
              <a:gd name="connsiteY41" fmla="*/ 6572190 h 7268355"/>
              <a:gd name="connsiteX42" fmla="*/ 1672124 w 6858000"/>
              <a:gd name="connsiteY42" fmla="*/ 6443599 h 7268355"/>
              <a:gd name="connsiteX43" fmla="*/ 4286955 w 6858000"/>
              <a:gd name="connsiteY43" fmla="*/ 6443599 h 7268355"/>
              <a:gd name="connsiteX44" fmla="*/ 4438576 w 6858000"/>
              <a:gd name="connsiteY44" fmla="*/ 6443599 h 7268355"/>
              <a:gd name="connsiteX45" fmla="*/ 4561663 w 6858000"/>
              <a:gd name="connsiteY45" fmla="*/ 6443599 h 7268355"/>
              <a:gd name="connsiteX46" fmla="*/ 6670245 w 6858000"/>
              <a:gd name="connsiteY46" fmla="*/ 6443599 h 7268355"/>
              <a:gd name="connsiteX47" fmla="*/ 6803647 w 6858000"/>
              <a:gd name="connsiteY47" fmla="*/ 6572190 h 7268355"/>
              <a:gd name="connsiteX48" fmla="*/ 6858000 w 6858000"/>
              <a:gd name="connsiteY48" fmla="*/ 0 h 7268355"/>
              <a:gd name="connsiteX49" fmla="*/ 6858000 w 6858000"/>
              <a:gd name="connsiteY49" fmla="*/ 4359772 h 7268355"/>
              <a:gd name="connsiteX50" fmla="*/ 6858000 w 6858000"/>
              <a:gd name="connsiteY50" fmla="*/ 4653686 h 7268355"/>
              <a:gd name="connsiteX51" fmla="*/ 6858000 w 6858000"/>
              <a:gd name="connsiteY51" fmla="*/ 4855095 h 7268355"/>
              <a:gd name="connsiteX52" fmla="*/ 6858000 w 6858000"/>
              <a:gd name="connsiteY52" fmla="*/ 5052269 h 7268355"/>
              <a:gd name="connsiteX53" fmla="*/ 6858000 w 6858000"/>
              <a:gd name="connsiteY53" fmla="*/ 5487810 h 7268355"/>
              <a:gd name="connsiteX54" fmla="*/ 6858000 w 6858000"/>
              <a:gd name="connsiteY54" fmla="*/ 5500661 h 7268355"/>
              <a:gd name="connsiteX55" fmla="*/ 6858000 w 6858000"/>
              <a:gd name="connsiteY55" fmla="*/ 5507260 h 7268355"/>
              <a:gd name="connsiteX56" fmla="*/ 6858000 w 6858000"/>
              <a:gd name="connsiteY56" fmla="*/ 5508909 h 7268355"/>
              <a:gd name="connsiteX57" fmla="*/ 6858000 w 6858000"/>
              <a:gd name="connsiteY57" fmla="*/ 5510038 h 7268355"/>
              <a:gd name="connsiteX58" fmla="*/ 6724576 w 6858000"/>
              <a:gd name="connsiteY58" fmla="*/ 5638959 h 7268355"/>
              <a:gd name="connsiteX59" fmla="*/ 2704063 w 6858000"/>
              <a:gd name="connsiteY59" fmla="*/ 5638958 h 7268355"/>
              <a:gd name="connsiteX60" fmla="*/ 2588429 w 6858000"/>
              <a:gd name="connsiteY60" fmla="*/ 5767878 h 7268355"/>
              <a:gd name="connsiteX61" fmla="*/ 2588429 w 6858000"/>
              <a:gd name="connsiteY61" fmla="*/ 5776770 h 7268355"/>
              <a:gd name="connsiteX62" fmla="*/ 2717406 w 6858000"/>
              <a:gd name="connsiteY62" fmla="*/ 5905690 h 7268355"/>
              <a:gd name="connsiteX63" fmla="*/ 4647608 w 6858000"/>
              <a:gd name="connsiteY63" fmla="*/ 5905690 h 7268355"/>
              <a:gd name="connsiteX64" fmla="*/ 4776584 w 6858000"/>
              <a:gd name="connsiteY64" fmla="*/ 6034611 h 7268355"/>
              <a:gd name="connsiteX65" fmla="*/ 4776584 w 6858000"/>
              <a:gd name="connsiteY65" fmla="*/ 6056838 h 7268355"/>
              <a:gd name="connsiteX66" fmla="*/ 4656503 w 6858000"/>
              <a:gd name="connsiteY66" fmla="*/ 6185758 h 7268355"/>
              <a:gd name="connsiteX67" fmla="*/ 4647608 w 6858000"/>
              <a:gd name="connsiteY67" fmla="*/ 6185758 h 7268355"/>
              <a:gd name="connsiteX68" fmla="*/ 4385206 w 6858000"/>
              <a:gd name="connsiteY68" fmla="*/ 6185758 h 7268355"/>
              <a:gd name="connsiteX69" fmla="*/ 4274020 w 6858000"/>
              <a:gd name="connsiteY69" fmla="*/ 6310232 h 7268355"/>
              <a:gd name="connsiteX70" fmla="*/ 4274020 w 6858000"/>
              <a:gd name="connsiteY70" fmla="*/ 6319124 h 7268355"/>
              <a:gd name="connsiteX71" fmla="*/ 4398549 w 6858000"/>
              <a:gd name="connsiteY71" fmla="*/ 6439153 h 7268355"/>
              <a:gd name="connsiteX72" fmla="*/ 4438576 w 6858000"/>
              <a:gd name="connsiteY72" fmla="*/ 6439153 h 7268355"/>
              <a:gd name="connsiteX73" fmla="*/ 4438576 w 6858000"/>
              <a:gd name="connsiteY73" fmla="*/ 6443599 h 7268355"/>
              <a:gd name="connsiteX74" fmla="*/ 1845702 w 6858000"/>
              <a:gd name="connsiteY74" fmla="*/ 6443598 h 7268355"/>
              <a:gd name="connsiteX75" fmla="*/ 1965783 w 6858000"/>
              <a:gd name="connsiteY75" fmla="*/ 6319124 h 7268355"/>
              <a:gd name="connsiteX76" fmla="*/ 1965783 w 6858000"/>
              <a:gd name="connsiteY76" fmla="*/ 6310232 h 7268355"/>
              <a:gd name="connsiteX77" fmla="*/ 1854596 w 6858000"/>
              <a:gd name="connsiteY77" fmla="*/ 6185758 h 7268355"/>
              <a:gd name="connsiteX78" fmla="*/ 351351 w 6858000"/>
              <a:gd name="connsiteY78" fmla="*/ 6185758 h 7268355"/>
              <a:gd name="connsiteX79" fmla="*/ 222374 w 6858000"/>
              <a:gd name="connsiteY79" fmla="*/ 6056837 h 7268355"/>
              <a:gd name="connsiteX80" fmla="*/ 222374 w 6858000"/>
              <a:gd name="connsiteY80" fmla="*/ 6034610 h 7268355"/>
              <a:gd name="connsiteX81" fmla="*/ 351351 w 6858000"/>
              <a:gd name="connsiteY81" fmla="*/ 5905690 h 7268355"/>
              <a:gd name="connsiteX82" fmla="*/ 667121 w 6858000"/>
              <a:gd name="connsiteY82" fmla="*/ 5905690 h 7268355"/>
              <a:gd name="connsiteX83" fmla="*/ 796098 w 6858000"/>
              <a:gd name="connsiteY83" fmla="*/ 5776770 h 7268355"/>
              <a:gd name="connsiteX84" fmla="*/ 796098 w 6858000"/>
              <a:gd name="connsiteY84" fmla="*/ 5767878 h 7268355"/>
              <a:gd name="connsiteX85" fmla="*/ 680463 w 6858000"/>
              <a:gd name="connsiteY85" fmla="*/ 5638958 h 7268355"/>
              <a:gd name="connsiteX86" fmla="*/ 128977 w 6858000"/>
              <a:gd name="connsiteY86" fmla="*/ 5638958 h 7268355"/>
              <a:gd name="connsiteX87" fmla="*/ 115635 w 6858000"/>
              <a:gd name="connsiteY87" fmla="*/ 5638958 h 7268355"/>
              <a:gd name="connsiteX88" fmla="*/ 0 w 6858000"/>
              <a:gd name="connsiteY88" fmla="*/ 5510038 h 7268355"/>
              <a:gd name="connsiteX89" fmla="*/ 0 w 6858000"/>
              <a:gd name="connsiteY89" fmla="*/ 5508909 h 7268355"/>
              <a:gd name="connsiteX90" fmla="*/ 0 w 6858000"/>
              <a:gd name="connsiteY90" fmla="*/ 5497187 h 7268355"/>
              <a:gd name="connsiteX91" fmla="*/ 0 w 6858000"/>
              <a:gd name="connsiteY91" fmla="*/ 5490589 h 7268355"/>
              <a:gd name="connsiteX92" fmla="*/ 0 w 6858000"/>
              <a:gd name="connsiteY92" fmla="*/ 5487810 h 7268355"/>
              <a:gd name="connsiteX93" fmla="*/ 0 w 6858000"/>
              <a:gd name="connsiteY93" fmla="*/ 5052268 h 7268355"/>
              <a:gd name="connsiteX94" fmla="*/ 0 w 6858000"/>
              <a:gd name="connsiteY94" fmla="*/ 4855095 h 7268355"/>
              <a:gd name="connsiteX95" fmla="*/ 0 w 6858000"/>
              <a:gd name="connsiteY95" fmla="*/ 4653685 h 7268355"/>
              <a:gd name="connsiteX96" fmla="*/ 0 w 6858000"/>
              <a:gd name="connsiteY96" fmla="*/ 4359771 h 7268355"/>
              <a:gd name="connsiteX97" fmla="*/ 0 w 6858000"/>
              <a:gd name="connsiteY97" fmla="*/ 0 h 7268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6858000" h="7268355">
                <a:moveTo>
                  <a:pt x="2209591" y="7117860"/>
                </a:moveTo>
                <a:cubicBezTo>
                  <a:pt x="2209591" y="7139991"/>
                  <a:pt x="2209591" y="7139991"/>
                  <a:pt x="2209591" y="7139991"/>
                </a:cubicBezTo>
                <a:cubicBezTo>
                  <a:pt x="2209591" y="7210812"/>
                  <a:pt x="2151771" y="7268354"/>
                  <a:pt x="2080607" y="7268354"/>
                </a:cubicBezTo>
                <a:cubicBezTo>
                  <a:pt x="1395658" y="7268354"/>
                  <a:pt x="1395658" y="7268354"/>
                  <a:pt x="1395658" y="7268354"/>
                </a:cubicBezTo>
                <a:cubicBezTo>
                  <a:pt x="1324494" y="7268354"/>
                  <a:pt x="1266674" y="7210812"/>
                  <a:pt x="1266674" y="7139991"/>
                </a:cubicBezTo>
                <a:cubicBezTo>
                  <a:pt x="1266674" y="7117860"/>
                  <a:pt x="1266674" y="7117860"/>
                  <a:pt x="1266674" y="7117860"/>
                </a:cubicBezTo>
                <a:cubicBezTo>
                  <a:pt x="1266674" y="7047039"/>
                  <a:pt x="1324494" y="6989497"/>
                  <a:pt x="1395658" y="6989497"/>
                </a:cubicBezTo>
                <a:cubicBezTo>
                  <a:pt x="2080607" y="6989497"/>
                  <a:pt x="2080607" y="6989497"/>
                  <a:pt x="2080607" y="6989497"/>
                </a:cubicBezTo>
                <a:cubicBezTo>
                  <a:pt x="2151771" y="6989497"/>
                  <a:pt x="2209591" y="7047039"/>
                  <a:pt x="2209591" y="7117860"/>
                </a:cubicBezTo>
                <a:close/>
                <a:moveTo>
                  <a:pt x="5856005" y="6034241"/>
                </a:moveTo>
                <a:cubicBezTo>
                  <a:pt x="5856005" y="6056560"/>
                  <a:pt x="5856005" y="6056560"/>
                  <a:pt x="5856005" y="6056560"/>
                </a:cubicBezTo>
                <a:cubicBezTo>
                  <a:pt x="5856005" y="6127981"/>
                  <a:pt x="5798312" y="6186011"/>
                  <a:pt x="5727305" y="6186011"/>
                </a:cubicBezTo>
                <a:cubicBezTo>
                  <a:pt x="5043863" y="6186011"/>
                  <a:pt x="5043863" y="6186011"/>
                  <a:pt x="5043863" y="6186011"/>
                </a:cubicBezTo>
                <a:cubicBezTo>
                  <a:pt x="4968418" y="6186011"/>
                  <a:pt x="4910725" y="6127981"/>
                  <a:pt x="4910725" y="6056560"/>
                </a:cubicBezTo>
                <a:cubicBezTo>
                  <a:pt x="4910725" y="6034241"/>
                  <a:pt x="4910725" y="6034241"/>
                  <a:pt x="4910725" y="6034241"/>
                </a:cubicBezTo>
                <a:cubicBezTo>
                  <a:pt x="4910725" y="5962819"/>
                  <a:pt x="4968418" y="5904790"/>
                  <a:pt x="5043863" y="5904790"/>
                </a:cubicBezTo>
                <a:cubicBezTo>
                  <a:pt x="5727305" y="5904790"/>
                  <a:pt x="5727305" y="5904790"/>
                  <a:pt x="5727305" y="5904790"/>
                </a:cubicBezTo>
                <a:cubicBezTo>
                  <a:pt x="5798312" y="5904790"/>
                  <a:pt x="5856005" y="5962819"/>
                  <a:pt x="5856005" y="6034241"/>
                </a:cubicBezTo>
                <a:close/>
                <a:moveTo>
                  <a:pt x="6803647" y="6572190"/>
                </a:moveTo>
                <a:cubicBezTo>
                  <a:pt x="6803647" y="6594361"/>
                  <a:pt x="6803647" y="6594361"/>
                  <a:pt x="6803647" y="6594361"/>
                </a:cubicBezTo>
                <a:cubicBezTo>
                  <a:pt x="6803647" y="6665308"/>
                  <a:pt x="6741393" y="6722952"/>
                  <a:pt x="6670245" y="6722952"/>
                </a:cubicBezTo>
                <a:cubicBezTo>
                  <a:pt x="4700345" y="6722952"/>
                  <a:pt x="4700345" y="6722952"/>
                  <a:pt x="4700345" y="6722952"/>
                </a:cubicBezTo>
                <a:cubicBezTo>
                  <a:pt x="4638091" y="6727386"/>
                  <a:pt x="4589177" y="6780596"/>
                  <a:pt x="4589177" y="6842675"/>
                </a:cubicBezTo>
                <a:cubicBezTo>
                  <a:pt x="4589177" y="6864846"/>
                  <a:pt x="4589177" y="6864846"/>
                  <a:pt x="4589177" y="6864846"/>
                </a:cubicBezTo>
                <a:cubicBezTo>
                  <a:pt x="4589177" y="6931358"/>
                  <a:pt x="4642538" y="6989002"/>
                  <a:pt x="4709238" y="6989002"/>
                </a:cubicBezTo>
                <a:cubicBezTo>
                  <a:pt x="4727025" y="6989002"/>
                  <a:pt x="4727025" y="6989002"/>
                  <a:pt x="4727025" y="6989002"/>
                </a:cubicBezTo>
                <a:cubicBezTo>
                  <a:pt x="5180592" y="6989002"/>
                  <a:pt x="5180592" y="6989002"/>
                  <a:pt x="5180592" y="6989002"/>
                </a:cubicBezTo>
                <a:cubicBezTo>
                  <a:pt x="5251739" y="6989002"/>
                  <a:pt x="5309546" y="7046647"/>
                  <a:pt x="5309546" y="7117593"/>
                </a:cubicBezTo>
                <a:cubicBezTo>
                  <a:pt x="5309546" y="7139764"/>
                  <a:pt x="5309546" y="7139764"/>
                  <a:pt x="5309546" y="7139764"/>
                </a:cubicBezTo>
                <a:cubicBezTo>
                  <a:pt x="5309546" y="7210711"/>
                  <a:pt x="5251739" y="7268355"/>
                  <a:pt x="5180592" y="7268355"/>
                </a:cubicBezTo>
                <a:cubicBezTo>
                  <a:pt x="2530343" y="7268355"/>
                  <a:pt x="2530343" y="7268355"/>
                  <a:pt x="2530343" y="7268355"/>
                </a:cubicBezTo>
                <a:cubicBezTo>
                  <a:pt x="2459195" y="7268355"/>
                  <a:pt x="2401388" y="7210711"/>
                  <a:pt x="2401388" y="7139764"/>
                </a:cubicBezTo>
                <a:cubicBezTo>
                  <a:pt x="2401388" y="7117593"/>
                  <a:pt x="2401388" y="7117593"/>
                  <a:pt x="2401388" y="7117593"/>
                </a:cubicBezTo>
                <a:cubicBezTo>
                  <a:pt x="2401388" y="7046647"/>
                  <a:pt x="2459195" y="6989002"/>
                  <a:pt x="2530343" y="6989002"/>
                </a:cubicBezTo>
                <a:cubicBezTo>
                  <a:pt x="2783806" y="6989002"/>
                  <a:pt x="2783806" y="6989002"/>
                  <a:pt x="2783806" y="6989002"/>
                </a:cubicBezTo>
                <a:cubicBezTo>
                  <a:pt x="2846060" y="6989002"/>
                  <a:pt x="2846060" y="6989002"/>
                  <a:pt x="2846060" y="6989002"/>
                </a:cubicBezTo>
                <a:cubicBezTo>
                  <a:pt x="2912761" y="6989002"/>
                  <a:pt x="2966121" y="6931358"/>
                  <a:pt x="2966121" y="6864846"/>
                </a:cubicBezTo>
                <a:cubicBezTo>
                  <a:pt x="2966121" y="6842675"/>
                  <a:pt x="2966121" y="6842675"/>
                  <a:pt x="2966121" y="6842675"/>
                </a:cubicBezTo>
                <a:cubicBezTo>
                  <a:pt x="2966121" y="6780596"/>
                  <a:pt x="2917207" y="6727386"/>
                  <a:pt x="2854953" y="6722952"/>
                </a:cubicBezTo>
                <a:cubicBezTo>
                  <a:pt x="1672124" y="6722952"/>
                  <a:pt x="1672124" y="6722952"/>
                  <a:pt x="1672124" y="6722952"/>
                </a:cubicBezTo>
                <a:cubicBezTo>
                  <a:pt x="1600977" y="6722952"/>
                  <a:pt x="1543169" y="6665308"/>
                  <a:pt x="1543169" y="6594361"/>
                </a:cubicBezTo>
                <a:cubicBezTo>
                  <a:pt x="1543169" y="6572190"/>
                  <a:pt x="1543169" y="6572190"/>
                  <a:pt x="1543169" y="6572190"/>
                </a:cubicBezTo>
                <a:cubicBezTo>
                  <a:pt x="1543169" y="6501243"/>
                  <a:pt x="1600977" y="6443599"/>
                  <a:pt x="1672124" y="6443599"/>
                </a:cubicBezTo>
                <a:cubicBezTo>
                  <a:pt x="2765463" y="6443599"/>
                  <a:pt x="3619634" y="6443599"/>
                  <a:pt x="4286955" y="6443599"/>
                </a:cubicBezTo>
                <a:lnTo>
                  <a:pt x="4438576" y="6443599"/>
                </a:lnTo>
                <a:lnTo>
                  <a:pt x="4561663" y="6443599"/>
                </a:lnTo>
                <a:cubicBezTo>
                  <a:pt x="6670245" y="6443599"/>
                  <a:pt x="6670245" y="6443599"/>
                  <a:pt x="6670245" y="6443599"/>
                </a:cubicBezTo>
                <a:cubicBezTo>
                  <a:pt x="6741393" y="6443599"/>
                  <a:pt x="6803647" y="6501243"/>
                  <a:pt x="6803647" y="6572190"/>
                </a:cubicBezTo>
                <a:close/>
                <a:moveTo>
                  <a:pt x="6858000" y="0"/>
                </a:moveTo>
                <a:lnTo>
                  <a:pt x="6858000" y="4359772"/>
                </a:lnTo>
                <a:lnTo>
                  <a:pt x="6858000" y="4653686"/>
                </a:lnTo>
                <a:lnTo>
                  <a:pt x="6858000" y="4855095"/>
                </a:lnTo>
                <a:lnTo>
                  <a:pt x="6858000" y="5052269"/>
                </a:lnTo>
                <a:lnTo>
                  <a:pt x="6858000" y="5487810"/>
                </a:lnTo>
                <a:lnTo>
                  <a:pt x="6858000" y="5500661"/>
                </a:lnTo>
                <a:lnTo>
                  <a:pt x="6858000" y="5507260"/>
                </a:lnTo>
                <a:lnTo>
                  <a:pt x="6858000" y="5508909"/>
                </a:lnTo>
                <a:lnTo>
                  <a:pt x="6858000" y="5510038"/>
                </a:lnTo>
                <a:cubicBezTo>
                  <a:pt x="6858000" y="5581167"/>
                  <a:pt x="6795735" y="5638959"/>
                  <a:pt x="6724576" y="5638959"/>
                </a:cubicBezTo>
                <a:cubicBezTo>
                  <a:pt x="2704063" y="5638958"/>
                  <a:pt x="2704063" y="5638958"/>
                  <a:pt x="2704063" y="5638958"/>
                </a:cubicBezTo>
                <a:cubicBezTo>
                  <a:pt x="2637351" y="5643404"/>
                  <a:pt x="2588429" y="5701196"/>
                  <a:pt x="2588429" y="5767878"/>
                </a:cubicBezTo>
                <a:cubicBezTo>
                  <a:pt x="2588429" y="5776770"/>
                  <a:pt x="2588429" y="5776770"/>
                  <a:pt x="2588429" y="5776770"/>
                </a:cubicBezTo>
                <a:cubicBezTo>
                  <a:pt x="2588429" y="5847898"/>
                  <a:pt x="2646246" y="5905690"/>
                  <a:pt x="2717406" y="5905690"/>
                </a:cubicBezTo>
                <a:cubicBezTo>
                  <a:pt x="4647608" y="5905690"/>
                  <a:pt x="4647608" y="5905690"/>
                  <a:pt x="4647608" y="5905690"/>
                </a:cubicBezTo>
                <a:cubicBezTo>
                  <a:pt x="4718767" y="5905690"/>
                  <a:pt x="4776584" y="5963482"/>
                  <a:pt x="4776584" y="6034611"/>
                </a:cubicBezTo>
                <a:cubicBezTo>
                  <a:pt x="4776584" y="6056838"/>
                  <a:pt x="4776584" y="6056838"/>
                  <a:pt x="4776584" y="6056838"/>
                </a:cubicBezTo>
                <a:cubicBezTo>
                  <a:pt x="4776584" y="6127966"/>
                  <a:pt x="4723215" y="6181313"/>
                  <a:pt x="4656503" y="6185758"/>
                </a:cubicBezTo>
                <a:cubicBezTo>
                  <a:pt x="4652055" y="6185758"/>
                  <a:pt x="4652055" y="6185758"/>
                  <a:pt x="4647608" y="6185758"/>
                </a:cubicBezTo>
                <a:cubicBezTo>
                  <a:pt x="4385206" y="6185758"/>
                  <a:pt x="4385206" y="6185758"/>
                  <a:pt x="4385206" y="6185758"/>
                </a:cubicBezTo>
                <a:cubicBezTo>
                  <a:pt x="4322943" y="6194649"/>
                  <a:pt x="4274020" y="6243550"/>
                  <a:pt x="4274020" y="6310232"/>
                </a:cubicBezTo>
                <a:cubicBezTo>
                  <a:pt x="4274020" y="6319124"/>
                  <a:pt x="4274020" y="6319124"/>
                  <a:pt x="4274020" y="6319124"/>
                </a:cubicBezTo>
                <a:cubicBezTo>
                  <a:pt x="4274020" y="6385806"/>
                  <a:pt x="4327389" y="6439153"/>
                  <a:pt x="4398549" y="6439153"/>
                </a:cubicBezTo>
                <a:cubicBezTo>
                  <a:pt x="4438576" y="6439153"/>
                  <a:pt x="4438576" y="6439153"/>
                  <a:pt x="4438576" y="6439153"/>
                </a:cubicBezTo>
                <a:cubicBezTo>
                  <a:pt x="4438576" y="6443599"/>
                  <a:pt x="4438576" y="6443599"/>
                  <a:pt x="4438576" y="6443599"/>
                </a:cubicBezTo>
                <a:cubicBezTo>
                  <a:pt x="1845702" y="6443598"/>
                  <a:pt x="1845702" y="6443598"/>
                  <a:pt x="1845702" y="6443598"/>
                </a:cubicBezTo>
                <a:cubicBezTo>
                  <a:pt x="1912413" y="6443598"/>
                  <a:pt x="1965783" y="6385806"/>
                  <a:pt x="1965783" y="6319124"/>
                </a:cubicBezTo>
                <a:cubicBezTo>
                  <a:pt x="1965783" y="6310232"/>
                  <a:pt x="1965783" y="6310232"/>
                  <a:pt x="1965783" y="6310232"/>
                </a:cubicBezTo>
                <a:cubicBezTo>
                  <a:pt x="1965783" y="6243550"/>
                  <a:pt x="1916861" y="6194649"/>
                  <a:pt x="1854596" y="6185758"/>
                </a:cubicBezTo>
                <a:cubicBezTo>
                  <a:pt x="351351" y="6185758"/>
                  <a:pt x="351351" y="6185758"/>
                  <a:pt x="351351" y="6185758"/>
                </a:cubicBezTo>
                <a:cubicBezTo>
                  <a:pt x="280191" y="6185758"/>
                  <a:pt x="222374" y="6127966"/>
                  <a:pt x="222374" y="6056837"/>
                </a:cubicBezTo>
                <a:cubicBezTo>
                  <a:pt x="222374" y="6034610"/>
                  <a:pt x="222374" y="6034610"/>
                  <a:pt x="222374" y="6034610"/>
                </a:cubicBezTo>
                <a:cubicBezTo>
                  <a:pt x="222374" y="5963481"/>
                  <a:pt x="280191" y="5905690"/>
                  <a:pt x="351351" y="5905690"/>
                </a:cubicBezTo>
                <a:cubicBezTo>
                  <a:pt x="667121" y="5905690"/>
                  <a:pt x="667121" y="5905690"/>
                  <a:pt x="667121" y="5905690"/>
                </a:cubicBezTo>
                <a:cubicBezTo>
                  <a:pt x="738280" y="5905690"/>
                  <a:pt x="796098" y="5847898"/>
                  <a:pt x="796098" y="5776770"/>
                </a:cubicBezTo>
                <a:cubicBezTo>
                  <a:pt x="796098" y="5767878"/>
                  <a:pt x="796098" y="5767878"/>
                  <a:pt x="796098" y="5767878"/>
                </a:cubicBezTo>
                <a:cubicBezTo>
                  <a:pt x="796098" y="5701196"/>
                  <a:pt x="747175" y="5643404"/>
                  <a:pt x="680463" y="5638958"/>
                </a:cubicBezTo>
                <a:cubicBezTo>
                  <a:pt x="128977" y="5638958"/>
                  <a:pt x="128977" y="5638958"/>
                  <a:pt x="128977" y="5638958"/>
                </a:cubicBezTo>
                <a:cubicBezTo>
                  <a:pt x="124529" y="5638958"/>
                  <a:pt x="120082" y="5638958"/>
                  <a:pt x="115635" y="5638958"/>
                </a:cubicBezTo>
                <a:cubicBezTo>
                  <a:pt x="48923" y="5630067"/>
                  <a:pt x="0" y="5576721"/>
                  <a:pt x="0" y="5510038"/>
                </a:cubicBezTo>
                <a:lnTo>
                  <a:pt x="0" y="5508909"/>
                </a:lnTo>
                <a:lnTo>
                  <a:pt x="0" y="5497187"/>
                </a:lnTo>
                <a:lnTo>
                  <a:pt x="0" y="5490589"/>
                </a:lnTo>
                <a:lnTo>
                  <a:pt x="0" y="5487810"/>
                </a:lnTo>
                <a:lnTo>
                  <a:pt x="0" y="5052268"/>
                </a:lnTo>
                <a:lnTo>
                  <a:pt x="0" y="4855095"/>
                </a:lnTo>
                <a:lnTo>
                  <a:pt x="0" y="4653685"/>
                </a:lnTo>
                <a:lnTo>
                  <a:pt x="0" y="435977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3B40A3"/>
              </a:gs>
              <a:gs pos="98000">
                <a:srgbClr val="531B96"/>
              </a:gs>
            </a:gsLst>
            <a:lin ang="2700000" scaled="0"/>
          </a:gra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Freeform 13">
            <a:extLst>
              <a:ext uri="{FF2B5EF4-FFF2-40B4-BE49-F238E27FC236}">
                <a16:creationId xmlns:a16="http://schemas.microsoft.com/office/drawing/2014/main" id="{1623B9B2-DD22-4742-A007-A6B155801502}"/>
              </a:ext>
            </a:extLst>
          </p:cNvPr>
          <p:cNvSpPr>
            <a:spLocks/>
          </p:cNvSpPr>
          <p:nvPr/>
        </p:nvSpPr>
        <p:spPr bwMode="auto">
          <a:xfrm>
            <a:off x="13466056" y="869046"/>
            <a:ext cx="1230313" cy="506413"/>
          </a:xfrm>
          <a:custGeom>
            <a:avLst/>
            <a:gdLst>
              <a:gd name="T0" fmla="*/ 412 w 412"/>
              <a:gd name="T1" fmla="*/ 140 h 170"/>
              <a:gd name="T2" fmla="*/ 403 w 412"/>
              <a:gd name="T3" fmla="*/ 161 h 170"/>
              <a:gd name="T4" fmla="*/ 382 w 412"/>
              <a:gd name="T5" fmla="*/ 170 h 170"/>
              <a:gd name="T6" fmla="*/ 99 w 412"/>
              <a:gd name="T7" fmla="*/ 170 h 170"/>
              <a:gd name="T8" fmla="*/ 69 w 412"/>
              <a:gd name="T9" fmla="*/ 140 h 170"/>
              <a:gd name="T10" fmla="*/ 78 w 412"/>
              <a:gd name="T11" fmla="*/ 118 h 170"/>
              <a:gd name="T12" fmla="*/ 99 w 412"/>
              <a:gd name="T13" fmla="*/ 110 h 170"/>
              <a:gd name="T14" fmla="*/ 131 w 412"/>
              <a:gd name="T15" fmla="*/ 109 h 170"/>
              <a:gd name="T16" fmla="*/ 148 w 412"/>
              <a:gd name="T17" fmla="*/ 102 h 170"/>
              <a:gd name="T18" fmla="*/ 155 w 412"/>
              <a:gd name="T19" fmla="*/ 85 h 170"/>
              <a:gd name="T20" fmla="*/ 131 w 412"/>
              <a:gd name="T21" fmla="*/ 60 h 170"/>
              <a:gd name="T22" fmla="*/ 30 w 412"/>
              <a:gd name="T23" fmla="*/ 60 h 170"/>
              <a:gd name="T24" fmla="*/ 0 w 412"/>
              <a:gd name="T25" fmla="*/ 30 h 170"/>
              <a:gd name="T26" fmla="*/ 9 w 412"/>
              <a:gd name="T27" fmla="*/ 8 h 170"/>
              <a:gd name="T28" fmla="*/ 30 w 412"/>
              <a:gd name="T29" fmla="*/ 0 h 170"/>
              <a:gd name="T30" fmla="*/ 355 w 412"/>
              <a:gd name="T31" fmla="*/ 0 h 170"/>
              <a:gd name="T32" fmla="*/ 385 w 412"/>
              <a:gd name="T33" fmla="*/ 30 h 170"/>
              <a:gd name="T34" fmla="*/ 376 w 412"/>
              <a:gd name="T35" fmla="*/ 51 h 170"/>
              <a:gd name="T36" fmla="*/ 355 w 412"/>
              <a:gd name="T37" fmla="*/ 60 h 170"/>
              <a:gd name="T38" fmla="*/ 308 w 412"/>
              <a:gd name="T39" fmla="*/ 60 h 170"/>
              <a:gd name="T40" fmla="*/ 291 w 412"/>
              <a:gd name="T41" fmla="*/ 67 h 170"/>
              <a:gd name="T42" fmla="*/ 284 w 412"/>
              <a:gd name="T43" fmla="*/ 85 h 170"/>
              <a:gd name="T44" fmla="*/ 308 w 412"/>
              <a:gd name="T45" fmla="*/ 109 h 170"/>
              <a:gd name="T46" fmla="*/ 315 w 412"/>
              <a:gd name="T47" fmla="*/ 109 h 170"/>
              <a:gd name="T48" fmla="*/ 382 w 412"/>
              <a:gd name="T49" fmla="*/ 110 h 170"/>
              <a:gd name="T50" fmla="*/ 412 w 412"/>
              <a:gd name="T51" fmla="*/ 14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12" h="170">
                <a:moveTo>
                  <a:pt x="412" y="140"/>
                </a:moveTo>
                <a:cubicBezTo>
                  <a:pt x="412" y="148"/>
                  <a:pt x="409" y="155"/>
                  <a:pt x="403" y="161"/>
                </a:cubicBezTo>
                <a:cubicBezTo>
                  <a:pt x="398" y="166"/>
                  <a:pt x="390" y="170"/>
                  <a:pt x="382" y="170"/>
                </a:cubicBezTo>
                <a:cubicBezTo>
                  <a:pt x="99" y="170"/>
                  <a:pt x="99" y="170"/>
                  <a:pt x="99" y="170"/>
                </a:cubicBezTo>
                <a:cubicBezTo>
                  <a:pt x="82" y="170"/>
                  <a:pt x="69" y="156"/>
                  <a:pt x="69" y="140"/>
                </a:cubicBezTo>
                <a:cubicBezTo>
                  <a:pt x="69" y="131"/>
                  <a:pt x="72" y="124"/>
                  <a:pt x="78" y="118"/>
                </a:cubicBezTo>
                <a:cubicBezTo>
                  <a:pt x="83" y="113"/>
                  <a:pt x="90" y="110"/>
                  <a:pt x="99" y="110"/>
                </a:cubicBezTo>
                <a:cubicBezTo>
                  <a:pt x="131" y="109"/>
                  <a:pt x="131" y="109"/>
                  <a:pt x="131" y="109"/>
                </a:cubicBezTo>
                <a:cubicBezTo>
                  <a:pt x="138" y="109"/>
                  <a:pt x="144" y="107"/>
                  <a:pt x="148" y="102"/>
                </a:cubicBezTo>
                <a:cubicBezTo>
                  <a:pt x="153" y="98"/>
                  <a:pt x="155" y="91"/>
                  <a:pt x="155" y="85"/>
                </a:cubicBezTo>
                <a:cubicBezTo>
                  <a:pt x="155" y="71"/>
                  <a:pt x="144" y="60"/>
                  <a:pt x="131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14" y="60"/>
                  <a:pt x="0" y="46"/>
                  <a:pt x="0" y="30"/>
                </a:cubicBezTo>
                <a:cubicBezTo>
                  <a:pt x="0" y="21"/>
                  <a:pt x="4" y="14"/>
                  <a:pt x="9" y="8"/>
                </a:cubicBezTo>
                <a:cubicBezTo>
                  <a:pt x="15" y="3"/>
                  <a:pt x="22" y="0"/>
                  <a:pt x="30" y="0"/>
                </a:cubicBezTo>
                <a:cubicBezTo>
                  <a:pt x="355" y="0"/>
                  <a:pt x="355" y="0"/>
                  <a:pt x="355" y="0"/>
                </a:cubicBezTo>
                <a:cubicBezTo>
                  <a:pt x="372" y="0"/>
                  <a:pt x="385" y="13"/>
                  <a:pt x="385" y="30"/>
                </a:cubicBezTo>
                <a:cubicBezTo>
                  <a:pt x="385" y="38"/>
                  <a:pt x="382" y="45"/>
                  <a:pt x="376" y="51"/>
                </a:cubicBezTo>
                <a:cubicBezTo>
                  <a:pt x="371" y="56"/>
                  <a:pt x="363" y="60"/>
                  <a:pt x="355" y="60"/>
                </a:cubicBezTo>
                <a:cubicBezTo>
                  <a:pt x="308" y="60"/>
                  <a:pt x="308" y="60"/>
                  <a:pt x="308" y="60"/>
                </a:cubicBezTo>
                <a:cubicBezTo>
                  <a:pt x="302" y="60"/>
                  <a:pt x="295" y="63"/>
                  <a:pt x="291" y="67"/>
                </a:cubicBezTo>
                <a:cubicBezTo>
                  <a:pt x="286" y="72"/>
                  <a:pt x="284" y="78"/>
                  <a:pt x="284" y="85"/>
                </a:cubicBezTo>
                <a:cubicBezTo>
                  <a:pt x="284" y="98"/>
                  <a:pt x="295" y="109"/>
                  <a:pt x="308" y="109"/>
                </a:cubicBezTo>
                <a:cubicBezTo>
                  <a:pt x="315" y="109"/>
                  <a:pt x="315" y="109"/>
                  <a:pt x="315" y="109"/>
                </a:cubicBezTo>
                <a:cubicBezTo>
                  <a:pt x="382" y="110"/>
                  <a:pt x="382" y="110"/>
                  <a:pt x="382" y="110"/>
                </a:cubicBezTo>
                <a:cubicBezTo>
                  <a:pt x="399" y="110"/>
                  <a:pt x="412" y="123"/>
                  <a:pt x="412" y="14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  <a:alpha val="24000"/>
            </a:schemeClr>
          </a:solidFill>
          <a:ln>
            <a:noFill/>
          </a:ln>
          <a:effectLst>
            <a:outerShdw blurRad="723900" dist="38100" dir="10800000" algn="r" rotWithShape="0">
              <a:schemeClr val="accent4">
                <a:lumMod val="20000"/>
                <a:lumOff val="80000"/>
                <a:alpha val="5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" name="Freeform 14">
            <a:extLst>
              <a:ext uri="{FF2B5EF4-FFF2-40B4-BE49-F238E27FC236}">
                <a16:creationId xmlns:a16="http://schemas.microsoft.com/office/drawing/2014/main" id="{A30798DF-1C49-43DA-9596-540E85015C9E}"/>
              </a:ext>
            </a:extLst>
          </p:cNvPr>
          <p:cNvSpPr>
            <a:spLocks/>
          </p:cNvSpPr>
          <p:nvPr/>
        </p:nvSpPr>
        <p:spPr bwMode="auto">
          <a:xfrm>
            <a:off x="10081453" y="-1715146"/>
            <a:ext cx="1230313" cy="506413"/>
          </a:xfrm>
          <a:custGeom>
            <a:avLst/>
            <a:gdLst>
              <a:gd name="T0" fmla="*/ 0 w 412"/>
              <a:gd name="T1" fmla="*/ 140 h 170"/>
              <a:gd name="T2" fmla="*/ 9 w 412"/>
              <a:gd name="T3" fmla="*/ 161 h 170"/>
              <a:gd name="T4" fmla="*/ 30 w 412"/>
              <a:gd name="T5" fmla="*/ 170 h 170"/>
              <a:gd name="T6" fmla="*/ 313 w 412"/>
              <a:gd name="T7" fmla="*/ 170 h 170"/>
              <a:gd name="T8" fmla="*/ 343 w 412"/>
              <a:gd name="T9" fmla="*/ 140 h 170"/>
              <a:gd name="T10" fmla="*/ 335 w 412"/>
              <a:gd name="T11" fmla="*/ 119 h 170"/>
              <a:gd name="T12" fmla="*/ 313 w 412"/>
              <a:gd name="T13" fmla="*/ 110 h 170"/>
              <a:gd name="T14" fmla="*/ 281 w 412"/>
              <a:gd name="T15" fmla="*/ 110 h 170"/>
              <a:gd name="T16" fmla="*/ 264 w 412"/>
              <a:gd name="T17" fmla="*/ 103 h 170"/>
              <a:gd name="T18" fmla="*/ 257 w 412"/>
              <a:gd name="T19" fmla="*/ 85 h 170"/>
              <a:gd name="T20" fmla="*/ 281 w 412"/>
              <a:gd name="T21" fmla="*/ 60 h 170"/>
              <a:gd name="T22" fmla="*/ 382 w 412"/>
              <a:gd name="T23" fmla="*/ 60 h 170"/>
              <a:gd name="T24" fmla="*/ 412 w 412"/>
              <a:gd name="T25" fmla="*/ 30 h 170"/>
              <a:gd name="T26" fmla="*/ 403 w 412"/>
              <a:gd name="T27" fmla="*/ 9 h 170"/>
              <a:gd name="T28" fmla="*/ 382 w 412"/>
              <a:gd name="T29" fmla="*/ 0 h 170"/>
              <a:gd name="T30" fmla="*/ 57 w 412"/>
              <a:gd name="T31" fmla="*/ 0 h 170"/>
              <a:gd name="T32" fmla="*/ 27 w 412"/>
              <a:gd name="T33" fmla="*/ 30 h 170"/>
              <a:gd name="T34" fmla="*/ 36 w 412"/>
              <a:gd name="T35" fmla="*/ 51 h 170"/>
              <a:gd name="T36" fmla="*/ 57 w 412"/>
              <a:gd name="T37" fmla="*/ 60 h 170"/>
              <a:gd name="T38" fmla="*/ 104 w 412"/>
              <a:gd name="T39" fmla="*/ 60 h 170"/>
              <a:gd name="T40" fmla="*/ 121 w 412"/>
              <a:gd name="T41" fmla="*/ 68 h 170"/>
              <a:gd name="T42" fmla="*/ 128 w 412"/>
              <a:gd name="T43" fmla="*/ 85 h 170"/>
              <a:gd name="T44" fmla="*/ 104 w 412"/>
              <a:gd name="T45" fmla="*/ 110 h 170"/>
              <a:gd name="T46" fmla="*/ 97 w 412"/>
              <a:gd name="T47" fmla="*/ 110 h 170"/>
              <a:gd name="T48" fmla="*/ 30 w 412"/>
              <a:gd name="T49" fmla="*/ 110 h 170"/>
              <a:gd name="T50" fmla="*/ 0 w 412"/>
              <a:gd name="T51" fmla="*/ 14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12" h="170">
                <a:moveTo>
                  <a:pt x="0" y="140"/>
                </a:moveTo>
                <a:cubicBezTo>
                  <a:pt x="0" y="148"/>
                  <a:pt x="3" y="156"/>
                  <a:pt x="9" y="161"/>
                </a:cubicBezTo>
                <a:cubicBezTo>
                  <a:pt x="14" y="167"/>
                  <a:pt x="22" y="170"/>
                  <a:pt x="30" y="170"/>
                </a:cubicBezTo>
                <a:cubicBezTo>
                  <a:pt x="313" y="170"/>
                  <a:pt x="313" y="170"/>
                  <a:pt x="313" y="170"/>
                </a:cubicBezTo>
                <a:cubicBezTo>
                  <a:pt x="330" y="170"/>
                  <a:pt x="343" y="157"/>
                  <a:pt x="343" y="140"/>
                </a:cubicBezTo>
                <a:cubicBezTo>
                  <a:pt x="343" y="132"/>
                  <a:pt x="340" y="124"/>
                  <a:pt x="335" y="119"/>
                </a:cubicBezTo>
                <a:cubicBezTo>
                  <a:pt x="329" y="113"/>
                  <a:pt x="322" y="110"/>
                  <a:pt x="313" y="110"/>
                </a:cubicBezTo>
                <a:cubicBezTo>
                  <a:pt x="281" y="110"/>
                  <a:pt x="281" y="110"/>
                  <a:pt x="281" y="110"/>
                </a:cubicBezTo>
                <a:cubicBezTo>
                  <a:pt x="275" y="110"/>
                  <a:pt x="268" y="107"/>
                  <a:pt x="264" y="103"/>
                </a:cubicBezTo>
                <a:cubicBezTo>
                  <a:pt x="259" y="98"/>
                  <a:pt x="257" y="92"/>
                  <a:pt x="257" y="85"/>
                </a:cubicBezTo>
                <a:cubicBezTo>
                  <a:pt x="257" y="71"/>
                  <a:pt x="268" y="60"/>
                  <a:pt x="281" y="60"/>
                </a:cubicBezTo>
                <a:cubicBezTo>
                  <a:pt x="382" y="60"/>
                  <a:pt x="382" y="60"/>
                  <a:pt x="382" y="60"/>
                </a:cubicBezTo>
                <a:cubicBezTo>
                  <a:pt x="398" y="60"/>
                  <a:pt x="412" y="47"/>
                  <a:pt x="412" y="30"/>
                </a:cubicBezTo>
                <a:cubicBezTo>
                  <a:pt x="412" y="22"/>
                  <a:pt x="408" y="14"/>
                  <a:pt x="403" y="9"/>
                </a:cubicBezTo>
                <a:cubicBezTo>
                  <a:pt x="398" y="3"/>
                  <a:pt x="390" y="0"/>
                  <a:pt x="382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41" y="0"/>
                  <a:pt x="27" y="13"/>
                  <a:pt x="27" y="30"/>
                </a:cubicBezTo>
                <a:cubicBezTo>
                  <a:pt x="27" y="38"/>
                  <a:pt x="30" y="46"/>
                  <a:pt x="36" y="51"/>
                </a:cubicBezTo>
                <a:cubicBezTo>
                  <a:pt x="41" y="57"/>
                  <a:pt x="49" y="60"/>
                  <a:pt x="57" y="60"/>
                </a:cubicBezTo>
                <a:cubicBezTo>
                  <a:pt x="104" y="60"/>
                  <a:pt x="104" y="60"/>
                  <a:pt x="104" y="60"/>
                </a:cubicBezTo>
                <a:cubicBezTo>
                  <a:pt x="111" y="60"/>
                  <a:pt x="117" y="63"/>
                  <a:pt x="121" y="68"/>
                </a:cubicBezTo>
                <a:cubicBezTo>
                  <a:pt x="126" y="72"/>
                  <a:pt x="128" y="78"/>
                  <a:pt x="128" y="85"/>
                </a:cubicBezTo>
                <a:cubicBezTo>
                  <a:pt x="128" y="99"/>
                  <a:pt x="117" y="110"/>
                  <a:pt x="104" y="110"/>
                </a:cubicBezTo>
                <a:cubicBezTo>
                  <a:pt x="97" y="110"/>
                  <a:pt x="97" y="110"/>
                  <a:pt x="97" y="110"/>
                </a:cubicBezTo>
                <a:cubicBezTo>
                  <a:pt x="30" y="110"/>
                  <a:pt x="30" y="110"/>
                  <a:pt x="30" y="110"/>
                </a:cubicBezTo>
                <a:cubicBezTo>
                  <a:pt x="13" y="110"/>
                  <a:pt x="0" y="124"/>
                  <a:pt x="0" y="14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  <a:alpha val="24000"/>
            </a:schemeClr>
          </a:solidFill>
          <a:ln>
            <a:noFill/>
          </a:ln>
          <a:effectLst>
            <a:outerShdw blurRad="723900" dist="38100" dir="10800000" algn="r" rotWithShape="0">
              <a:schemeClr val="accent4">
                <a:lumMod val="20000"/>
                <a:lumOff val="80000"/>
                <a:alpha val="5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299" name="Group 1298">
            <a:extLst>
              <a:ext uri="{FF2B5EF4-FFF2-40B4-BE49-F238E27FC236}">
                <a16:creationId xmlns:a16="http://schemas.microsoft.com/office/drawing/2014/main" id="{59BFC6FA-DB51-49DA-8FF8-E85C68D90B43}"/>
              </a:ext>
            </a:extLst>
          </p:cNvPr>
          <p:cNvGrpSpPr/>
          <p:nvPr/>
        </p:nvGrpSpPr>
        <p:grpSpPr>
          <a:xfrm>
            <a:off x="-542716" y="1239698"/>
            <a:ext cx="7249484" cy="4177708"/>
            <a:chOff x="-5589588" y="-3998913"/>
            <a:chExt cx="5005388" cy="2884488"/>
          </a:xfrm>
        </p:grpSpPr>
        <p:sp>
          <p:nvSpPr>
            <p:cNvPr id="1179" name="Rectangle 169">
              <a:extLst>
                <a:ext uri="{FF2B5EF4-FFF2-40B4-BE49-F238E27FC236}">
                  <a16:creationId xmlns:a16="http://schemas.microsoft.com/office/drawing/2014/main" id="{730D247F-2C36-4483-806F-9EC24E6863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744788" y="-1376363"/>
              <a:ext cx="2160588" cy="261938"/>
            </a:xfrm>
            <a:prstGeom prst="rect">
              <a:avLst/>
            </a:prstGeom>
            <a:solidFill>
              <a:srgbClr val="2805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0" name="Rectangle 170">
              <a:extLst>
                <a:ext uri="{FF2B5EF4-FFF2-40B4-BE49-F238E27FC236}">
                  <a16:creationId xmlns:a16="http://schemas.microsoft.com/office/drawing/2014/main" id="{12685B48-D5C4-45E2-8C31-797BABC052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698750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1" name="Rectangle 171">
              <a:extLst>
                <a:ext uri="{FF2B5EF4-FFF2-40B4-BE49-F238E27FC236}">
                  <a16:creationId xmlns:a16="http://schemas.microsoft.com/office/drawing/2014/main" id="{51B75160-EA2B-426A-BC40-A17AF88D80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6304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2" name="Rectangle 172">
              <a:extLst>
                <a:ext uri="{FF2B5EF4-FFF2-40B4-BE49-F238E27FC236}">
                  <a16:creationId xmlns:a16="http://schemas.microsoft.com/office/drawing/2014/main" id="{F1CC46EC-EA80-4247-9415-3DA8ADDEA8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562225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3" name="Rectangle 173">
              <a:extLst>
                <a:ext uri="{FF2B5EF4-FFF2-40B4-BE49-F238E27FC236}">
                  <a16:creationId xmlns:a16="http://schemas.microsoft.com/office/drawing/2014/main" id="{8322BE58-BEA6-46B9-B99E-61F3C2F58C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92375" y="-1376363"/>
              <a:ext cx="20638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4" name="Rectangle 174">
              <a:extLst>
                <a:ext uri="{FF2B5EF4-FFF2-40B4-BE49-F238E27FC236}">
                  <a16:creationId xmlns:a16="http://schemas.microsoft.com/office/drawing/2014/main" id="{2D628D7B-4141-4B39-9C0D-B9417DF61B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4272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5" name="Rectangle 175">
              <a:extLst>
                <a:ext uri="{FF2B5EF4-FFF2-40B4-BE49-F238E27FC236}">
                  <a16:creationId xmlns:a16="http://schemas.microsoft.com/office/drawing/2014/main" id="{F2EEE0B6-F980-43EA-BC57-B4C278616B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359025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6" name="Rectangle 176">
              <a:extLst>
                <a:ext uri="{FF2B5EF4-FFF2-40B4-BE49-F238E27FC236}">
                  <a16:creationId xmlns:a16="http://schemas.microsoft.com/office/drawing/2014/main" id="{FF534EA3-3581-41FE-92CA-7F2FDFA9B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90763" y="-1376363"/>
              <a:ext cx="25400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7" name="Rectangle 177">
              <a:extLst>
                <a:ext uri="{FF2B5EF4-FFF2-40B4-BE49-F238E27FC236}">
                  <a16:creationId xmlns:a16="http://schemas.microsoft.com/office/drawing/2014/main" id="{1E7E5F54-C8E0-4247-836D-41CD11F4FD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2240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8" name="Rectangle 178">
              <a:extLst>
                <a:ext uri="{FF2B5EF4-FFF2-40B4-BE49-F238E27FC236}">
                  <a16:creationId xmlns:a16="http://schemas.microsoft.com/office/drawing/2014/main" id="{BEB2D789-16AB-4935-974E-3E266C8903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155825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89" name="Rectangle 179">
              <a:extLst>
                <a:ext uri="{FF2B5EF4-FFF2-40B4-BE49-F238E27FC236}">
                  <a16:creationId xmlns:a16="http://schemas.microsoft.com/office/drawing/2014/main" id="{7E0FF847-B355-4846-9ABF-EC5DF3E63F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087563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0" name="Rectangle 180">
              <a:extLst>
                <a:ext uri="{FF2B5EF4-FFF2-40B4-BE49-F238E27FC236}">
                  <a16:creationId xmlns:a16="http://schemas.microsoft.com/office/drawing/2014/main" id="{60E0DFBF-0E1C-4362-8FB1-A3D7D564E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017713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1" name="Rectangle 181">
              <a:extLst>
                <a:ext uri="{FF2B5EF4-FFF2-40B4-BE49-F238E27FC236}">
                  <a16:creationId xmlns:a16="http://schemas.microsoft.com/office/drawing/2014/main" id="{3BAAACB4-931A-4382-BE28-1CF77FC0D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952625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2" name="Rectangle 182">
              <a:extLst>
                <a:ext uri="{FF2B5EF4-FFF2-40B4-BE49-F238E27FC236}">
                  <a16:creationId xmlns:a16="http://schemas.microsoft.com/office/drawing/2014/main" id="{5D0BCC51-AF6C-460F-A1E7-8406E4D0CE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884363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3" name="Rectangle 183">
              <a:extLst>
                <a:ext uri="{FF2B5EF4-FFF2-40B4-BE49-F238E27FC236}">
                  <a16:creationId xmlns:a16="http://schemas.microsoft.com/office/drawing/2014/main" id="{8988028B-5C1B-435C-A418-68817F1697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814513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4" name="Rectangle 184">
              <a:extLst>
                <a:ext uri="{FF2B5EF4-FFF2-40B4-BE49-F238E27FC236}">
                  <a16:creationId xmlns:a16="http://schemas.microsoft.com/office/drawing/2014/main" id="{7DDFEFD6-51AA-4E5F-A685-BC10C8A74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74625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5" name="Rectangle 185">
              <a:extLst>
                <a:ext uri="{FF2B5EF4-FFF2-40B4-BE49-F238E27FC236}">
                  <a16:creationId xmlns:a16="http://schemas.microsoft.com/office/drawing/2014/main" id="{71528D5F-EF30-4ACD-80B6-3CC3B3FE9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681163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6" name="Rectangle 186">
              <a:extLst>
                <a:ext uri="{FF2B5EF4-FFF2-40B4-BE49-F238E27FC236}">
                  <a16:creationId xmlns:a16="http://schemas.microsoft.com/office/drawing/2014/main" id="{E73B4717-AA6D-4721-B8F7-2BC6475C5E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611313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7" name="Rectangle 187">
              <a:extLst>
                <a:ext uri="{FF2B5EF4-FFF2-40B4-BE49-F238E27FC236}">
                  <a16:creationId xmlns:a16="http://schemas.microsoft.com/office/drawing/2014/main" id="{5FD41B6D-9EEF-4439-A573-2B094A0F22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54305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8" name="Rectangle 188">
              <a:extLst>
                <a:ext uri="{FF2B5EF4-FFF2-40B4-BE49-F238E27FC236}">
                  <a16:creationId xmlns:a16="http://schemas.microsoft.com/office/drawing/2014/main" id="{57B11A74-BE51-4217-A293-3E1607320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74788" y="-1376363"/>
              <a:ext cx="20638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99" name="Rectangle 189">
              <a:extLst>
                <a:ext uri="{FF2B5EF4-FFF2-40B4-BE49-F238E27FC236}">
                  <a16:creationId xmlns:a16="http://schemas.microsoft.com/office/drawing/2014/main" id="{2921EF7A-D787-4C3A-ADC0-A16C033F68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0970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0" name="Rectangle 190">
              <a:extLst>
                <a:ext uri="{FF2B5EF4-FFF2-40B4-BE49-F238E27FC236}">
                  <a16:creationId xmlns:a16="http://schemas.microsoft.com/office/drawing/2014/main" id="{20A38608-BA75-441B-B8CC-E7D3C8564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9850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1" name="Rectangle 191">
              <a:extLst>
                <a:ext uri="{FF2B5EF4-FFF2-40B4-BE49-F238E27FC236}">
                  <a16:creationId xmlns:a16="http://schemas.microsoft.com/office/drawing/2014/main" id="{4A6C687D-E70D-46A8-A7FD-9A9B755C67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715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2" name="Rectangle 192">
              <a:extLst>
                <a:ext uri="{FF2B5EF4-FFF2-40B4-BE49-F238E27FC236}">
                  <a16:creationId xmlns:a16="http://schemas.microsoft.com/office/drawing/2014/main" id="{385E93D2-9F52-462B-971B-0BD386D5C2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0650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3" name="Rectangle 193">
              <a:extLst>
                <a:ext uri="{FF2B5EF4-FFF2-40B4-BE49-F238E27FC236}">
                  <a16:creationId xmlns:a16="http://schemas.microsoft.com/office/drawing/2014/main" id="{F1EBC034-93D7-4626-9657-0330C482B6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3665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4" name="Rectangle 194">
              <a:extLst>
                <a:ext uri="{FF2B5EF4-FFF2-40B4-BE49-F238E27FC236}">
                  <a16:creationId xmlns:a16="http://schemas.microsoft.com/office/drawing/2014/main" id="{8525A4F5-44BD-42EC-A0FC-7DAB49C64E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683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5" name="Rectangle 195">
              <a:extLst>
                <a:ext uri="{FF2B5EF4-FFF2-40B4-BE49-F238E27FC236}">
                  <a16:creationId xmlns:a16="http://schemas.microsoft.com/office/drawing/2014/main" id="{72B8A966-4F34-45FA-A377-C425DFF4B2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00125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6" name="Rectangle 196">
              <a:extLst>
                <a:ext uri="{FF2B5EF4-FFF2-40B4-BE49-F238E27FC236}">
                  <a16:creationId xmlns:a16="http://schemas.microsoft.com/office/drawing/2014/main" id="{E49B5FEB-9311-483A-84D7-8E99136F58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61988" y="-1376363"/>
              <a:ext cx="23813" cy="115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7" name="Rectangle 197">
              <a:extLst>
                <a:ext uri="{FF2B5EF4-FFF2-40B4-BE49-F238E27FC236}">
                  <a16:creationId xmlns:a16="http://schemas.microsoft.com/office/drawing/2014/main" id="{7052D9BD-993A-4407-A9D0-4B2AFF4EB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33450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8" name="Rectangle 198">
              <a:extLst>
                <a:ext uri="{FF2B5EF4-FFF2-40B4-BE49-F238E27FC236}">
                  <a16:creationId xmlns:a16="http://schemas.microsoft.com/office/drawing/2014/main" id="{244ED439-2D85-4B9F-A7C8-3963D0948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865188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9" name="Rectangle 199">
              <a:extLst>
                <a:ext uri="{FF2B5EF4-FFF2-40B4-BE49-F238E27FC236}">
                  <a16:creationId xmlns:a16="http://schemas.microsoft.com/office/drawing/2014/main" id="{64F446AE-2016-4CFF-A934-2615F97F9B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96925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0" name="Rectangle 200">
              <a:extLst>
                <a:ext uri="{FF2B5EF4-FFF2-40B4-BE49-F238E27FC236}">
                  <a16:creationId xmlns:a16="http://schemas.microsoft.com/office/drawing/2014/main" id="{FF675562-7BD1-4281-8B64-5F70C61A69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28663" y="-1376363"/>
              <a:ext cx="23813" cy="682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1" name="Freeform 201">
              <a:extLst>
                <a:ext uri="{FF2B5EF4-FFF2-40B4-BE49-F238E27FC236}">
                  <a16:creationId xmlns:a16="http://schemas.microsoft.com/office/drawing/2014/main" id="{FA2A86A0-AEFD-49A0-BACB-CC204185A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84413" y="-1449388"/>
              <a:ext cx="409575" cy="331788"/>
            </a:xfrm>
            <a:custGeom>
              <a:avLst/>
              <a:gdLst>
                <a:gd name="T0" fmla="*/ 109 w 137"/>
                <a:gd name="T1" fmla="*/ 83 h 111"/>
                <a:gd name="T2" fmla="*/ 82 w 137"/>
                <a:gd name="T3" fmla="*/ 83 h 111"/>
                <a:gd name="T4" fmla="*/ 82 w 137"/>
                <a:gd name="T5" fmla="*/ 0 h 111"/>
                <a:gd name="T6" fmla="*/ 54 w 137"/>
                <a:gd name="T7" fmla="*/ 1 h 111"/>
                <a:gd name="T8" fmla="*/ 55 w 137"/>
                <a:gd name="T9" fmla="*/ 83 h 111"/>
                <a:gd name="T10" fmla="*/ 27 w 137"/>
                <a:gd name="T11" fmla="*/ 83 h 111"/>
                <a:gd name="T12" fmla="*/ 0 w 137"/>
                <a:gd name="T13" fmla="*/ 111 h 111"/>
                <a:gd name="T14" fmla="*/ 0 w 137"/>
                <a:gd name="T15" fmla="*/ 111 h 111"/>
                <a:gd name="T16" fmla="*/ 137 w 137"/>
                <a:gd name="T17" fmla="*/ 111 h 111"/>
                <a:gd name="T18" fmla="*/ 137 w 137"/>
                <a:gd name="T19" fmla="*/ 111 h 111"/>
                <a:gd name="T20" fmla="*/ 109 w 137"/>
                <a:gd name="T21" fmla="*/ 8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11">
                  <a:moveTo>
                    <a:pt x="109" y="83"/>
                  </a:moveTo>
                  <a:cubicBezTo>
                    <a:pt x="82" y="83"/>
                    <a:pt x="82" y="83"/>
                    <a:pt x="82" y="8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12" y="83"/>
                    <a:pt x="0" y="96"/>
                    <a:pt x="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7" y="95"/>
                    <a:pt x="125" y="83"/>
                    <a:pt x="109" y="8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2" name="Freeform 202">
              <a:extLst>
                <a:ext uri="{FF2B5EF4-FFF2-40B4-BE49-F238E27FC236}">
                  <a16:creationId xmlns:a16="http://schemas.microsoft.com/office/drawing/2014/main" id="{C5F5881A-549A-477A-A4F3-48CA09ECCFE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2563" y="-3379788"/>
              <a:ext cx="1797050" cy="2027238"/>
            </a:xfrm>
            <a:custGeom>
              <a:avLst/>
              <a:gdLst>
                <a:gd name="T0" fmla="*/ 415 w 602"/>
                <a:gd name="T1" fmla="*/ 39 h 679"/>
                <a:gd name="T2" fmla="*/ 422 w 602"/>
                <a:gd name="T3" fmla="*/ 28 h 679"/>
                <a:gd name="T4" fmla="*/ 417 w 602"/>
                <a:gd name="T5" fmla="*/ 5 h 679"/>
                <a:gd name="T6" fmla="*/ 417 w 602"/>
                <a:gd name="T7" fmla="*/ 5 h 679"/>
                <a:gd name="T8" fmla="*/ 394 w 602"/>
                <a:gd name="T9" fmla="*/ 10 h 679"/>
                <a:gd name="T10" fmla="*/ 387 w 602"/>
                <a:gd name="T11" fmla="*/ 20 h 679"/>
                <a:gd name="T12" fmla="*/ 376 w 602"/>
                <a:gd name="T13" fmla="*/ 38 h 679"/>
                <a:gd name="T14" fmla="*/ 345 w 602"/>
                <a:gd name="T15" fmla="*/ 85 h 679"/>
                <a:gd name="T16" fmla="*/ 360 w 602"/>
                <a:gd name="T17" fmla="*/ 94 h 679"/>
                <a:gd name="T18" fmla="*/ 373 w 602"/>
                <a:gd name="T19" fmla="*/ 104 h 679"/>
                <a:gd name="T20" fmla="*/ 404 w 602"/>
                <a:gd name="T21" fmla="*/ 56 h 679"/>
                <a:gd name="T22" fmla="*/ 486 w 602"/>
                <a:gd name="T23" fmla="*/ 491 h 679"/>
                <a:gd name="T24" fmla="*/ 55 w 602"/>
                <a:gd name="T25" fmla="*/ 594 h 679"/>
                <a:gd name="T26" fmla="*/ 86 w 602"/>
                <a:gd name="T27" fmla="*/ 547 h 679"/>
                <a:gd name="T28" fmla="*/ 72 w 602"/>
                <a:gd name="T29" fmla="*/ 538 h 679"/>
                <a:gd name="T30" fmla="*/ 58 w 602"/>
                <a:gd name="T31" fmla="*/ 528 h 679"/>
                <a:gd name="T32" fmla="*/ 27 w 602"/>
                <a:gd name="T33" fmla="*/ 576 h 679"/>
                <a:gd name="T34" fmla="*/ 16 w 602"/>
                <a:gd name="T35" fmla="*/ 593 h 679"/>
                <a:gd name="T36" fmla="*/ 0 w 602"/>
                <a:gd name="T37" fmla="*/ 618 h 679"/>
                <a:gd name="T38" fmla="*/ 29 w 602"/>
                <a:gd name="T39" fmla="*/ 636 h 679"/>
                <a:gd name="T40" fmla="*/ 44 w 602"/>
                <a:gd name="T41" fmla="*/ 611 h 679"/>
                <a:gd name="T42" fmla="*/ 215 w 602"/>
                <a:gd name="T43" fmla="*/ 658 h 679"/>
                <a:gd name="T44" fmla="*/ 503 w 602"/>
                <a:gd name="T45" fmla="*/ 502 h 679"/>
                <a:gd name="T46" fmla="*/ 415 w 602"/>
                <a:gd name="T47" fmla="*/ 39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2" h="679">
                  <a:moveTo>
                    <a:pt x="415" y="39"/>
                  </a:moveTo>
                  <a:cubicBezTo>
                    <a:pt x="422" y="28"/>
                    <a:pt x="422" y="28"/>
                    <a:pt x="422" y="28"/>
                  </a:cubicBezTo>
                  <a:cubicBezTo>
                    <a:pt x="427" y="21"/>
                    <a:pt x="425" y="10"/>
                    <a:pt x="417" y="5"/>
                  </a:cubicBezTo>
                  <a:cubicBezTo>
                    <a:pt x="417" y="5"/>
                    <a:pt x="417" y="5"/>
                    <a:pt x="417" y="5"/>
                  </a:cubicBezTo>
                  <a:cubicBezTo>
                    <a:pt x="409" y="0"/>
                    <a:pt x="399" y="2"/>
                    <a:pt x="394" y="10"/>
                  </a:cubicBezTo>
                  <a:cubicBezTo>
                    <a:pt x="387" y="20"/>
                    <a:pt x="387" y="20"/>
                    <a:pt x="387" y="20"/>
                  </a:cubicBezTo>
                  <a:cubicBezTo>
                    <a:pt x="376" y="38"/>
                    <a:pt x="376" y="38"/>
                    <a:pt x="376" y="38"/>
                  </a:cubicBezTo>
                  <a:cubicBezTo>
                    <a:pt x="345" y="85"/>
                    <a:pt x="345" y="85"/>
                    <a:pt x="345" y="85"/>
                  </a:cubicBezTo>
                  <a:cubicBezTo>
                    <a:pt x="350" y="88"/>
                    <a:pt x="355" y="91"/>
                    <a:pt x="360" y="94"/>
                  </a:cubicBezTo>
                  <a:cubicBezTo>
                    <a:pt x="364" y="97"/>
                    <a:pt x="369" y="100"/>
                    <a:pt x="373" y="104"/>
                  </a:cubicBezTo>
                  <a:cubicBezTo>
                    <a:pt x="404" y="56"/>
                    <a:pt x="404" y="56"/>
                    <a:pt x="404" y="56"/>
                  </a:cubicBezTo>
                  <a:cubicBezTo>
                    <a:pt x="542" y="155"/>
                    <a:pt x="579" y="347"/>
                    <a:pt x="486" y="491"/>
                  </a:cubicBezTo>
                  <a:cubicBezTo>
                    <a:pt x="392" y="635"/>
                    <a:pt x="202" y="679"/>
                    <a:pt x="55" y="594"/>
                  </a:cubicBezTo>
                  <a:cubicBezTo>
                    <a:pt x="86" y="547"/>
                    <a:pt x="86" y="547"/>
                    <a:pt x="86" y="547"/>
                  </a:cubicBezTo>
                  <a:cubicBezTo>
                    <a:pt x="82" y="544"/>
                    <a:pt x="77" y="541"/>
                    <a:pt x="72" y="538"/>
                  </a:cubicBezTo>
                  <a:cubicBezTo>
                    <a:pt x="67" y="535"/>
                    <a:pt x="63" y="532"/>
                    <a:pt x="58" y="528"/>
                  </a:cubicBezTo>
                  <a:cubicBezTo>
                    <a:pt x="27" y="576"/>
                    <a:pt x="27" y="576"/>
                    <a:pt x="27" y="576"/>
                  </a:cubicBezTo>
                  <a:cubicBezTo>
                    <a:pt x="16" y="593"/>
                    <a:pt x="16" y="593"/>
                    <a:pt x="16" y="593"/>
                  </a:cubicBezTo>
                  <a:cubicBezTo>
                    <a:pt x="0" y="618"/>
                    <a:pt x="0" y="618"/>
                    <a:pt x="0" y="618"/>
                  </a:cubicBezTo>
                  <a:cubicBezTo>
                    <a:pt x="29" y="636"/>
                    <a:pt x="29" y="636"/>
                    <a:pt x="29" y="636"/>
                  </a:cubicBezTo>
                  <a:cubicBezTo>
                    <a:pt x="44" y="611"/>
                    <a:pt x="44" y="611"/>
                    <a:pt x="44" y="611"/>
                  </a:cubicBezTo>
                  <a:cubicBezTo>
                    <a:pt x="98" y="643"/>
                    <a:pt x="157" y="658"/>
                    <a:pt x="215" y="658"/>
                  </a:cubicBezTo>
                  <a:cubicBezTo>
                    <a:pt x="327" y="658"/>
                    <a:pt x="437" y="603"/>
                    <a:pt x="503" y="502"/>
                  </a:cubicBezTo>
                  <a:cubicBezTo>
                    <a:pt x="602" y="348"/>
                    <a:pt x="562" y="144"/>
                    <a:pt x="415" y="39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3" name="Freeform 203">
              <a:extLst>
                <a:ext uri="{FF2B5EF4-FFF2-40B4-BE49-F238E27FC236}">
                  <a16:creationId xmlns:a16="http://schemas.microsoft.com/office/drawing/2014/main" id="{BC4D0B4A-FF5D-4764-A553-138F3F17D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98625" y="-2962275"/>
              <a:ext cx="122238" cy="163513"/>
            </a:xfrm>
            <a:custGeom>
              <a:avLst/>
              <a:gdLst>
                <a:gd name="T0" fmla="*/ 25 w 41"/>
                <a:gd name="T1" fmla="*/ 23 h 55"/>
                <a:gd name="T2" fmla="*/ 10 w 41"/>
                <a:gd name="T3" fmla="*/ 6 h 55"/>
                <a:gd name="T4" fmla="*/ 18 w 41"/>
                <a:gd name="T5" fmla="*/ 39 h 55"/>
                <a:gd name="T6" fmla="*/ 39 w 41"/>
                <a:gd name="T7" fmla="*/ 43 h 55"/>
                <a:gd name="T8" fmla="*/ 25 w 41"/>
                <a:gd name="T9" fmla="*/ 2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55">
                  <a:moveTo>
                    <a:pt x="25" y="23"/>
                  </a:moveTo>
                  <a:cubicBezTo>
                    <a:pt x="25" y="17"/>
                    <a:pt x="20" y="0"/>
                    <a:pt x="10" y="6"/>
                  </a:cubicBezTo>
                  <a:cubicBezTo>
                    <a:pt x="0" y="12"/>
                    <a:pt x="13" y="34"/>
                    <a:pt x="18" y="39"/>
                  </a:cubicBezTo>
                  <a:cubicBezTo>
                    <a:pt x="23" y="44"/>
                    <a:pt x="37" y="55"/>
                    <a:pt x="39" y="43"/>
                  </a:cubicBezTo>
                  <a:cubicBezTo>
                    <a:pt x="41" y="33"/>
                    <a:pt x="22" y="33"/>
                    <a:pt x="25" y="23"/>
                  </a:cubicBezTo>
                  <a:close/>
                </a:path>
              </a:pathLst>
            </a:cu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4" name="Freeform 204">
              <a:extLst>
                <a:ext uri="{FF2B5EF4-FFF2-40B4-BE49-F238E27FC236}">
                  <a16:creationId xmlns:a16="http://schemas.microsoft.com/office/drawing/2014/main" id="{853055C9-8BD1-4C90-B6A5-2DB277A3D1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871788" y="-3300413"/>
              <a:ext cx="1593850" cy="1755775"/>
            </a:xfrm>
            <a:custGeom>
              <a:avLst/>
              <a:gdLst>
                <a:gd name="T0" fmla="*/ 467 w 534"/>
                <a:gd name="T1" fmla="*/ 208 h 588"/>
                <a:gd name="T2" fmla="*/ 434 w 534"/>
                <a:gd name="T3" fmla="*/ 197 h 588"/>
                <a:gd name="T4" fmla="*/ 476 w 534"/>
                <a:gd name="T5" fmla="*/ 239 h 588"/>
                <a:gd name="T6" fmla="*/ 407 w 534"/>
                <a:gd name="T7" fmla="*/ 237 h 588"/>
                <a:gd name="T8" fmla="*/ 404 w 534"/>
                <a:gd name="T9" fmla="*/ 255 h 588"/>
                <a:gd name="T10" fmla="*/ 433 w 534"/>
                <a:gd name="T11" fmla="*/ 297 h 588"/>
                <a:gd name="T12" fmla="*/ 438 w 534"/>
                <a:gd name="T13" fmla="*/ 348 h 588"/>
                <a:gd name="T14" fmla="*/ 417 w 534"/>
                <a:gd name="T15" fmla="*/ 416 h 588"/>
                <a:gd name="T16" fmla="*/ 324 w 534"/>
                <a:gd name="T17" fmla="*/ 510 h 588"/>
                <a:gd name="T18" fmla="*/ 265 w 534"/>
                <a:gd name="T19" fmla="*/ 466 h 588"/>
                <a:gd name="T20" fmla="*/ 248 w 534"/>
                <a:gd name="T21" fmla="*/ 386 h 588"/>
                <a:gd name="T22" fmla="*/ 235 w 534"/>
                <a:gd name="T23" fmla="*/ 346 h 588"/>
                <a:gd name="T24" fmla="*/ 154 w 534"/>
                <a:gd name="T25" fmla="*/ 327 h 588"/>
                <a:gd name="T26" fmla="*/ 122 w 534"/>
                <a:gd name="T27" fmla="*/ 229 h 588"/>
                <a:gd name="T28" fmla="*/ 209 w 534"/>
                <a:gd name="T29" fmla="*/ 164 h 588"/>
                <a:gd name="T30" fmla="*/ 297 w 534"/>
                <a:gd name="T31" fmla="*/ 199 h 588"/>
                <a:gd name="T32" fmla="*/ 368 w 534"/>
                <a:gd name="T33" fmla="*/ 188 h 588"/>
                <a:gd name="T34" fmla="*/ 339 w 534"/>
                <a:gd name="T35" fmla="*/ 140 h 588"/>
                <a:gd name="T36" fmla="*/ 355 w 534"/>
                <a:gd name="T37" fmla="*/ 119 h 588"/>
                <a:gd name="T38" fmla="*/ 324 w 534"/>
                <a:gd name="T39" fmla="*/ 145 h 588"/>
                <a:gd name="T40" fmla="*/ 313 w 534"/>
                <a:gd name="T41" fmla="*/ 160 h 588"/>
                <a:gd name="T42" fmla="*/ 264 w 534"/>
                <a:gd name="T43" fmla="*/ 130 h 588"/>
                <a:gd name="T44" fmla="*/ 263 w 534"/>
                <a:gd name="T45" fmla="*/ 165 h 588"/>
                <a:gd name="T46" fmla="*/ 232 w 534"/>
                <a:gd name="T47" fmla="*/ 138 h 588"/>
                <a:gd name="T48" fmla="*/ 172 w 534"/>
                <a:gd name="T49" fmla="*/ 143 h 588"/>
                <a:gd name="T50" fmla="*/ 204 w 534"/>
                <a:gd name="T51" fmla="*/ 109 h 588"/>
                <a:gd name="T52" fmla="*/ 250 w 534"/>
                <a:gd name="T53" fmla="*/ 87 h 588"/>
                <a:gd name="T54" fmla="*/ 299 w 534"/>
                <a:gd name="T55" fmla="*/ 69 h 588"/>
                <a:gd name="T56" fmla="*/ 252 w 534"/>
                <a:gd name="T57" fmla="*/ 67 h 588"/>
                <a:gd name="T58" fmla="*/ 352 w 534"/>
                <a:gd name="T59" fmla="*/ 39 h 588"/>
                <a:gd name="T60" fmla="*/ 1 w 534"/>
                <a:gd name="T61" fmla="*/ 295 h 588"/>
                <a:gd name="T62" fmla="*/ 91 w 534"/>
                <a:gd name="T63" fmla="*/ 383 h 588"/>
                <a:gd name="T64" fmla="*/ 74 w 534"/>
                <a:gd name="T65" fmla="*/ 439 h 588"/>
                <a:gd name="T66" fmla="*/ 108 w 534"/>
                <a:gd name="T67" fmla="*/ 501 h 588"/>
                <a:gd name="T68" fmla="*/ 136 w 534"/>
                <a:gd name="T69" fmla="*/ 520 h 588"/>
                <a:gd name="T70" fmla="*/ 530 w 534"/>
                <a:gd name="T71" fmla="*/ 270 h 588"/>
                <a:gd name="T72" fmla="*/ 503 w 534"/>
                <a:gd name="T73" fmla="*/ 209 h 588"/>
                <a:gd name="T74" fmla="*/ 428 w 534"/>
                <a:gd name="T75" fmla="*/ 462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4" h="588">
                  <a:moveTo>
                    <a:pt x="503" y="209"/>
                  </a:moveTo>
                  <a:cubicBezTo>
                    <a:pt x="494" y="204"/>
                    <a:pt x="477" y="209"/>
                    <a:pt x="467" y="208"/>
                  </a:cubicBezTo>
                  <a:cubicBezTo>
                    <a:pt x="457" y="208"/>
                    <a:pt x="456" y="206"/>
                    <a:pt x="447" y="202"/>
                  </a:cubicBezTo>
                  <a:cubicBezTo>
                    <a:pt x="444" y="201"/>
                    <a:pt x="438" y="195"/>
                    <a:pt x="434" y="197"/>
                  </a:cubicBezTo>
                  <a:cubicBezTo>
                    <a:pt x="428" y="201"/>
                    <a:pt x="445" y="216"/>
                    <a:pt x="447" y="217"/>
                  </a:cubicBezTo>
                  <a:cubicBezTo>
                    <a:pt x="462" y="226"/>
                    <a:pt x="478" y="215"/>
                    <a:pt x="476" y="239"/>
                  </a:cubicBezTo>
                  <a:cubicBezTo>
                    <a:pt x="475" y="253"/>
                    <a:pt x="459" y="274"/>
                    <a:pt x="444" y="275"/>
                  </a:cubicBezTo>
                  <a:cubicBezTo>
                    <a:pt x="423" y="277"/>
                    <a:pt x="417" y="251"/>
                    <a:pt x="407" y="237"/>
                  </a:cubicBezTo>
                  <a:cubicBezTo>
                    <a:pt x="404" y="233"/>
                    <a:pt x="377" y="202"/>
                    <a:pt x="372" y="208"/>
                  </a:cubicBezTo>
                  <a:cubicBezTo>
                    <a:pt x="369" y="211"/>
                    <a:pt x="401" y="250"/>
                    <a:pt x="404" y="255"/>
                  </a:cubicBezTo>
                  <a:cubicBezTo>
                    <a:pt x="410" y="265"/>
                    <a:pt x="416" y="275"/>
                    <a:pt x="422" y="284"/>
                  </a:cubicBezTo>
                  <a:cubicBezTo>
                    <a:pt x="424" y="287"/>
                    <a:pt x="430" y="295"/>
                    <a:pt x="433" y="297"/>
                  </a:cubicBezTo>
                  <a:cubicBezTo>
                    <a:pt x="446" y="303"/>
                    <a:pt x="441" y="293"/>
                    <a:pt x="454" y="294"/>
                  </a:cubicBezTo>
                  <a:cubicBezTo>
                    <a:pt x="477" y="297"/>
                    <a:pt x="446" y="339"/>
                    <a:pt x="438" y="348"/>
                  </a:cubicBezTo>
                  <a:cubicBezTo>
                    <a:pt x="430" y="359"/>
                    <a:pt x="421" y="368"/>
                    <a:pt x="418" y="381"/>
                  </a:cubicBezTo>
                  <a:cubicBezTo>
                    <a:pt x="414" y="393"/>
                    <a:pt x="418" y="404"/>
                    <a:pt x="417" y="416"/>
                  </a:cubicBezTo>
                  <a:cubicBezTo>
                    <a:pt x="414" y="440"/>
                    <a:pt x="393" y="443"/>
                    <a:pt x="383" y="461"/>
                  </a:cubicBezTo>
                  <a:cubicBezTo>
                    <a:pt x="370" y="485"/>
                    <a:pt x="350" y="500"/>
                    <a:pt x="324" y="510"/>
                  </a:cubicBezTo>
                  <a:cubicBezTo>
                    <a:pt x="298" y="521"/>
                    <a:pt x="294" y="516"/>
                    <a:pt x="284" y="493"/>
                  </a:cubicBezTo>
                  <a:cubicBezTo>
                    <a:pt x="279" y="483"/>
                    <a:pt x="269" y="477"/>
                    <a:pt x="265" y="466"/>
                  </a:cubicBezTo>
                  <a:cubicBezTo>
                    <a:pt x="259" y="451"/>
                    <a:pt x="267" y="435"/>
                    <a:pt x="262" y="420"/>
                  </a:cubicBezTo>
                  <a:cubicBezTo>
                    <a:pt x="257" y="407"/>
                    <a:pt x="249" y="400"/>
                    <a:pt x="248" y="386"/>
                  </a:cubicBezTo>
                  <a:cubicBezTo>
                    <a:pt x="247" y="378"/>
                    <a:pt x="253" y="365"/>
                    <a:pt x="251" y="357"/>
                  </a:cubicBezTo>
                  <a:cubicBezTo>
                    <a:pt x="248" y="347"/>
                    <a:pt x="245" y="348"/>
                    <a:pt x="235" y="346"/>
                  </a:cubicBezTo>
                  <a:cubicBezTo>
                    <a:pt x="219" y="342"/>
                    <a:pt x="216" y="336"/>
                    <a:pt x="204" y="327"/>
                  </a:cubicBezTo>
                  <a:cubicBezTo>
                    <a:pt x="186" y="314"/>
                    <a:pt x="172" y="334"/>
                    <a:pt x="154" y="327"/>
                  </a:cubicBezTo>
                  <a:cubicBezTo>
                    <a:pt x="131" y="317"/>
                    <a:pt x="122" y="283"/>
                    <a:pt x="119" y="262"/>
                  </a:cubicBezTo>
                  <a:cubicBezTo>
                    <a:pt x="117" y="249"/>
                    <a:pt x="116" y="239"/>
                    <a:pt x="122" y="229"/>
                  </a:cubicBezTo>
                  <a:cubicBezTo>
                    <a:pt x="129" y="219"/>
                    <a:pt x="140" y="212"/>
                    <a:pt x="146" y="201"/>
                  </a:cubicBezTo>
                  <a:cubicBezTo>
                    <a:pt x="161" y="177"/>
                    <a:pt x="181" y="168"/>
                    <a:pt x="209" y="164"/>
                  </a:cubicBezTo>
                  <a:cubicBezTo>
                    <a:pt x="239" y="160"/>
                    <a:pt x="246" y="177"/>
                    <a:pt x="268" y="191"/>
                  </a:cubicBezTo>
                  <a:cubicBezTo>
                    <a:pt x="277" y="197"/>
                    <a:pt x="287" y="204"/>
                    <a:pt x="297" y="199"/>
                  </a:cubicBezTo>
                  <a:cubicBezTo>
                    <a:pt x="308" y="195"/>
                    <a:pt x="307" y="184"/>
                    <a:pt x="322" y="185"/>
                  </a:cubicBezTo>
                  <a:cubicBezTo>
                    <a:pt x="337" y="186"/>
                    <a:pt x="355" y="203"/>
                    <a:pt x="368" y="188"/>
                  </a:cubicBezTo>
                  <a:cubicBezTo>
                    <a:pt x="374" y="181"/>
                    <a:pt x="375" y="169"/>
                    <a:pt x="368" y="162"/>
                  </a:cubicBezTo>
                  <a:cubicBezTo>
                    <a:pt x="364" y="158"/>
                    <a:pt x="306" y="154"/>
                    <a:pt x="339" y="140"/>
                  </a:cubicBezTo>
                  <a:cubicBezTo>
                    <a:pt x="347" y="136"/>
                    <a:pt x="363" y="146"/>
                    <a:pt x="372" y="139"/>
                  </a:cubicBezTo>
                  <a:cubicBezTo>
                    <a:pt x="382" y="130"/>
                    <a:pt x="363" y="120"/>
                    <a:pt x="355" y="119"/>
                  </a:cubicBezTo>
                  <a:cubicBezTo>
                    <a:pt x="342" y="116"/>
                    <a:pt x="335" y="119"/>
                    <a:pt x="329" y="130"/>
                  </a:cubicBezTo>
                  <a:cubicBezTo>
                    <a:pt x="326" y="135"/>
                    <a:pt x="328" y="140"/>
                    <a:pt x="324" y="145"/>
                  </a:cubicBezTo>
                  <a:cubicBezTo>
                    <a:pt x="322" y="147"/>
                    <a:pt x="316" y="142"/>
                    <a:pt x="313" y="143"/>
                  </a:cubicBezTo>
                  <a:cubicBezTo>
                    <a:pt x="310" y="145"/>
                    <a:pt x="318" y="155"/>
                    <a:pt x="313" y="160"/>
                  </a:cubicBezTo>
                  <a:cubicBezTo>
                    <a:pt x="308" y="165"/>
                    <a:pt x="297" y="159"/>
                    <a:pt x="293" y="156"/>
                  </a:cubicBezTo>
                  <a:cubicBezTo>
                    <a:pt x="290" y="153"/>
                    <a:pt x="273" y="117"/>
                    <a:pt x="264" y="130"/>
                  </a:cubicBezTo>
                  <a:cubicBezTo>
                    <a:pt x="261" y="134"/>
                    <a:pt x="278" y="149"/>
                    <a:pt x="279" y="156"/>
                  </a:cubicBezTo>
                  <a:cubicBezTo>
                    <a:pt x="279" y="164"/>
                    <a:pt x="269" y="176"/>
                    <a:pt x="263" y="165"/>
                  </a:cubicBezTo>
                  <a:cubicBezTo>
                    <a:pt x="261" y="160"/>
                    <a:pt x="269" y="156"/>
                    <a:pt x="267" y="149"/>
                  </a:cubicBezTo>
                  <a:cubicBezTo>
                    <a:pt x="263" y="136"/>
                    <a:pt x="242" y="136"/>
                    <a:pt x="232" y="138"/>
                  </a:cubicBezTo>
                  <a:cubicBezTo>
                    <a:pt x="217" y="141"/>
                    <a:pt x="208" y="152"/>
                    <a:pt x="195" y="158"/>
                  </a:cubicBezTo>
                  <a:cubicBezTo>
                    <a:pt x="180" y="165"/>
                    <a:pt x="162" y="164"/>
                    <a:pt x="172" y="143"/>
                  </a:cubicBezTo>
                  <a:cubicBezTo>
                    <a:pt x="183" y="124"/>
                    <a:pt x="203" y="141"/>
                    <a:pt x="210" y="133"/>
                  </a:cubicBezTo>
                  <a:cubicBezTo>
                    <a:pt x="218" y="124"/>
                    <a:pt x="197" y="120"/>
                    <a:pt x="204" y="109"/>
                  </a:cubicBezTo>
                  <a:cubicBezTo>
                    <a:pt x="210" y="100"/>
                    <a:pt x="227" y="106"/>
                    <a:pt x="235" y="102"/>
                  </a:cubicBezTo>
                  <a:cubicBezTo>
                    <a:pt x="241" y="98"/>
                    <a:pt x="243" y="90"/>
                    <a:pt x="250" y="87"/>
                  </a:cubicBezTo>
                  <a:cubicBezTo>
                    <a:pt x="258" y="84"/>
                    <a:pt x="265" y="88"/>
                    <a:pt x="272" y="88"/>
                  </a:cubicBezTo>
                  <a:cubicBezTo>
                    <a:pt x="280" y="87"/>
                    <a:pt x="302" y="82"/>
                    <a:pt x="299" y="69"/>
                  </a:cubicBezTo>
                  <a:cubicBezTo>
                    <a:pt x="297" y="58"/>
                    <a:pt x="283" y="74"/>
                    <a:pt x="279" y="76"/>
                  </a:cubicBezTo>
                  <a:cubicBezTo>
                    <a:pt x="270" y="80"/>
                    <a:pt x="251" y="82"/>
                    <a:pt x="252" y="67"/>
                  </a:cubicBezTo>
                  <a:cubicBezTo>
                    <a:pt x="253" y="54"/>
                    <a:pt x="280" y="47"/>
                    <a:pt x="290" y="45"/>
                  </a:cubicBezTo>
                  <a:cubicBezTo>
                    <a:pt x="316" y="40"/>
                    <a:pt x="342" y="71"/>
                    <a:pt x="352" y="39"/>
                  </a:cubicBezTo>
                  <a:cubicBezTo>
                    <a:pt x="240" y="0"/>
                    <a:pt x="111" y="41"/>
                    <a:pt x="44" y="145"/>
                  </a:cubicBezTo>
                  <a:cubicBezTo>
                    <a:pt x="14" y="191"/>
                    <a:pt x="0" y="243"/>
                    <a:pt x="1" y="295"/>
                  </a:cubicBezTo>
                  <a:cubicBezTo>
                    <a:pt x="5" y="312"/>
                    <a:pt x="13" y="325"/>
                    <a:pt x="33" y="335"/>
                  </a:cubicBezTo>
                  <a:cubicBezTo>
                    <a:pt x="56" y="347"/>
                    <a:pt x="84" y="355"/>
                    <a:pt x="91" y="383"/>
                  </a:cubicBezTo>
                  <a:cubicBezTo>
                    <a:pt x="94" y="394"/>
                    <a:pt x="95" y="411"/>
                    <a:pt x="92" y="423"/>
                  </a:cubicBezTo>
                  <a:cubicBezTo>
                    <a:pt x="88" y="439"/>
                    <a:pt x="82" y="431"/>
                    <a:pt x="74" y="439"/>
                  </a:cubicBezTo>
                  <a:cubicBezTo>
                    <a:pt x="65" y="450"/>
                    <a:pt x="81" y="467"/>
                    <a:pt x="87" y="483"/>
                  </a:cubicBezTo>
                  <a:cubicBezTo>
                    <a:pt x="93" y="490"/>
                    <a:pt x="101" y="496"/>
                    <a:pt x="108" y="501"/>
                  </a:cubicBezTo>
                  <a:cubicBezTo>
                    <a:pt x="113" y="505"/>
                    <a:pt x="117" y="508"/>
                    <a:pt x="122" y="511"/>
                  </a:cubicBezTo>
                  <a:cubicBezTo>
                    <a:pt x="127" y="514"/>
                    <a:pt x="132" y="517"/>
                    <a:pt x="136" y="520"/>
                  </a:cubicBezTo>
                  <a:cubicBezTo>
                    <a:pt x="257" y="588"/>
                    <a:pt x="411" y="551"/>
                    <a:pt x="488" y="433"/>
                  </a:cubicBezTo>
                  <a:cubicBezTo>
                    <a:pt x="520" y="383"/>
                    <a:pt x="534" y="326"/>
                    <a:pt x="530" y="270"/>
                  </a:cubicBezTo>
                  <a:cubicBezTo>
                    <a:pt x="526" y="262"/>
                    <a:pt x="524" y="256"/>
                    <a:pt x="524" y="256"/>
                  </a:cubicBezTo>
                  <a:cubicBezTo>
                    <a:pt x="518" y="242"/>
                    <a:pt x="517" y="217"/>
                    <a:pt x="503" y="209"/>
                  </a:cubicBezTo>
                  <a:close/>
                  <a:moveTo>
                    <a:pt x="403" y="477"/>
                  </a:moveTo>
                  <a:cubicBezTo>
                    <a:pt x="404" y="467"/>
                    <a:pt x="428" y="440"/>
                    <a:pt x="428" y="462"/>
                  </a:cubicBezTo>
                  <a:cubicBezTo>
                    <a:pt x="425" y="475"/>
                    <a:pt x="401" y="505"/>
                    <a:pt x="403" y="477"/>
                  </a:cubicBezTo>
                  <a:close/>
                </a:path>
              </a:pathLst>
            </a:cu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5" name="Freeform 205">
              <a:extLst>
                <a:ext uri="{FF2B5EF4-FFF2-40B4-BE49-F238E27FC236}">
                  <a16:creationId xmlns:a16="http://schemas.microsoft.com/office/drawing/2014/main" id="{9012E70D-E064-4D96-AB7C-59B494DAD1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25713" y="-3182938"/>
              <a:ext cx="1236663" cy="1438275"/>
            </a:xfrm>
            <a:custGeom>
              <a:avLst/>
              <a:gdLst>
                <a:gd name="T0" fmla="*/ 294 w 414"/>
                <a:gd name="T1" fmla="*/ 28 h 482"/>
                <a:gd name="T2" fmla="*/ 236 w 414"/>
                <a:gd name="T3" fmla="*/ 0 h 482"/>
                <a:gd name="T4" fmla="*/ 136 w 414"/>
                <a:gd name="T5" fmla="*/ 28 h 482"/>
                <a:gd name="T6" fmla="*/ 183 w 414"/>
                <a:gd name="T7" fmla="*/ 30 h 482"/>
                <a:gd name="T8" fmla="*/ 134 w 414"/>
                <a:gd name="T9" fmla="*/ 48 h 482"/>
                <a:gd name="T10" fmla="*/ 88 w 414"/>
                <a:gd name="T11" fmla="*/ 70 h 482"/>
                <a:gd name="T12" fmla="*/ 56 w 414"/>
                <a:gd name="T13" fmla="*/ 104 h 482"/>
                <a:gd name="T14" fmla="*/ 116 w 414"/>
                <a:gd name="T15" fmla="*/ 99 h 482"/>
                <a:gd name="T16" fmla="*/ 147 w 414"/>
                <a:gd name="T17" fmla="*/ 126 h 482"/>
                <a:gd name="T18" fmla="*/ 148 w 414"/>
                <a:gd name="T19" fmla="*/ 91 h 482"/>
                <a:gd name="T20" fmla="*/ 197 w 414"/>
                <a:gd name="T21" fmla="*/ 121 h 482"/>
                <a:gd name="T22" fmla="*/ 208 w 414"/>
                <a:gd name="T23" fmla="*/ 106 h 482"/>
                <a:gd name="T24" fmla="*/ 239 w 414"/>
                <a:gd name="T25" fmla="*/ 80 h 482"/>
                <a:gd name="T26" fmla="*/ 223 w 414"/>
                <a:gd name="T27" fmla="*/ 101 h 482"/>
                <a:gd name="T28" fmla="*/ 252 w 414"/>
                <a:gd name="T29" fmla="*/ 149 h 482"/>
                <a:gd name="T30" fmla="*/ 181 w 414"/>
                <a:gd name="T31" fmla="*/ 160 h 482"/>
                <a:gd name="T32" fmla="*/ 93 w 414"/>
                <a:gd name="T33" fmla="*/ 125 h 482"/>
                <a:gd name="T34" fmla="*/ 6 w 414"/>
                <a:gd name="T35" fmla="*/ 190 h 482"/>
                <a:gd name="T36" fmla="*/ 38 w 414"/>
                <a:gd name="T37" fmla="*/ 288 h 482"/>
                <a:gd name="T38" fmla="*/ 119 w 414"/>
                <a:gd name="T39" fmla="*/ 307 h 482"/>
                <a:gd name="T40" fmla="*/ 132 w 414"/>
                <a:gd name="T41" fmla="*/ 347 h 482"/>
                <a:gd name="T42" fmla="*/ 149 w 414"/>
                <a:gd name="T43" fmla="*/ 427 h 482"/>
                <a:gd name="T44" fmla="*/ 208 w 414"/>
                <a:gd name="T45" fmla="*/ 471 h 482"/>
                <a:gd name="T46" fmla="*/ 301 w 414"/>
                <a:gd name="T47" fmla="*/ 377 h 482"/>
                <a:gd name="T48" fmla="*/ 322 w 414"/>
                <a:gd name="T49" fmla="*/ 309 h 482"/>
                <a:gd name="T50" fmla="*/ 317 w 414"/>
                <a:gd name="T51" fmla="*/ 258 h 482"/>
                <a:gd name="T52" fmla="*/ 288 w 414"/>
                <a:gd name="T53" fmla="*/ 216 h 482"/>
                <a:gd name="T54" fmla="*/ 291 w 414"/>
                <a:gd name="T55" fmla="*/ 198 h 482"/>
                <a:gd name="T56" fmla="*/ 360 w 414"/>
                <a:gd name="T57" fmla="*/ 200 h 482"/>
                <a:gd name="T58" fmla="*/ 318 w 414"/>
                <a:gd name="T59" fmla="*/ 158 h 482"/>
                <a:gd name="T60" fmla="*/ 351 w 414"/>
                <a:gd name="T61" fmla="*/ 169 h 482"/>
                <a:gd name="T62" fmla="*/ 408 w 414"/>
                <a:gd name="T63" fmla="*/ 217 h 482"/>
                <a:gd name="T64" fmla="*/ 307 w 414"/>
                <a:gd name="T65" fmla="*/ 38 h 482"/>
                <a:gd name="T66" fmla="*/ 295 w 414"/>
                <a:gd name="T67" fmla="*/ 113 h 482"/>
                <a:gd name="T68" fmla="*/ 302 w 414"/>
                <a:gd name="T69" fmla="*/ 97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4" h="482">
                  <a:moveTo>
                    <a:pt x="307" y="38"/>
                  </a:moveTo>
                  <a:cubicBezTo>
                    <a:pt x="303" y="34"/>
                    <a:pt x="298" y="31"/>
                    <a:pt x="294" y="28"/>
                  </a:cubicBezTo>
                  <a:cubicBezTo>
                    <a:pt x="289" y="25"/>
                    <a:pt x="284" y="22"/>
                    <a:pt x="279" y="19"/>
                  </a:cubicBezTo>
                  <a:cubicBezTo>
                    <a:pt x="265" y="11"/>
                    <a:pt x="251" y="5"/>
                    <a:pt x="236" y="0"/>
                  </a:cubicBezTo>
                  <a:cubicBezTo>
                    <a:pt x="226" y="32"/>
                    <a:pt x="200" y="1"/>
                    <a:pt x="174" y="6"/>
                  </a:cubicBezTo>
                  <a:cubicBezTo>
                    <a:pt x="164" y="8"/>
                    <a:pt x="137" y="15"/>
                    <a:pt x="136" y="28"/>
                  </a:cubicBezTo>
                  <a:cubicBezTo>
                    <a:pt x="135" y="43"/>
                    <a:pt x="154" y="41"/>
                    <a:pt x="163" y="37"/>
                  </a:cubicBezTo>
                  <a:cubicBezTo>
                    <a:pt x="167" y="35"/>
                    <a:pt x="181" y="19"/>
                    <a:pt x="183" y="30"/>
                  </a:cubicBezTo>
                  <a:cubicBezTo>
                    <a:pt x="186" y="43"/>
                    <a:pt x="164" y="48"/>
                    <a:pt x="156" y="49"/>
                  </a:cubicBezTo>
                  <a:cubicBezTo>
                    <a:pt x="149" y="49"/>
                    <a:pt x="142" y="45"/>
                    <a:pt x="134" y="48"/>
                  </a:cubicBezTo>
                  <a:cubicBezTo>
                    <a:pt x="127" y="51"/>
                    <a:pt x="125" y="59"/>
                    <a:pt x="119" y="63"/>
                  </a:cubicBezTo>
                  <a:cubicBezTo>
                    <a:pt x="111" y="67"/>
                    <a:pt x="94" y="61"/>
                    <a:pt x="88" y="70"/>
                  </a:cubicBezTo>
                  <a:cubicBezTo>
                    <a:pt x="81" y="81"/>
                    <a:pt x="102" y="85"/>
                    <a:pt x="94" y="94"/>
                  </a:cubicBezTo>
                  <a:cubicBezTo>
                    <a:pt x="87" y="102"/>
                    <a:pt x="67" y="85"/>
                    <a:pt x="56" y="104"/>
                  </a:cubicBezTo>
                  <a:cubicBezTo>
                    <a:pt x="46" y="125"/>
                    <a:pt x="64" y="126"/>
                    <a:pt x="79" y="119"/>
                  </a:cubicBezTo>
                  <a:cubicBezTo>
                    <a:pt x="92" y="113"/>
                    <a:pt x="101" y="102"/>
                    <a:pt x="116" y="99"/>
                  </a:cubicBezTo>
                  <a:cubicBezTo>
                    <a:pt x="126" y="97"/>
                    <a:pt x="147" y="97"/>
                    <a:pt x="151" y="110"/>
                  </a:cubicBezTo>
                  <a:cubicBezTo>
                    <a:pt x="153" y="117"/>
                    <a:pt x="145" y="121"/>
                    <a:pt x="147" y="126"/>
                  </a:cubicBezTo>
                  <a:cubicBezTo>
                    <a:pt x="153" y="137"/>
                    <a:pt x="163" y="125"/>
                    <a:pt x="163" y="117"/>
                  </a:cubicBezTo>
                  <a:cubicBezTo>
                    <a:pt x="162" y="110"/>
                    <a:pt x="145" y="95"/>
                    <a:pt x="148" y="91"/>
                  </a:cubicBezTo>
                  <a:cubicBezTo>
                    <a:pt x="157" y="78"/>
                    <a:pt x="174" y="114"/>
                    <a:pt x="177" y="117"/>
                  </a:cubicBezTo>
                  <a:cubicBezTo>
                    <a:pt x="181" y="120"/>
                    <a:pt x="192" y="126"/>
                    <a:pt x="197" y="121"/>
                  </a:cubicBezTo>
                  <a:cubicBezTo>
                    <a:pt x="202" y="116"/>
                    <a:pt x="194" y="106"/>
                    <a:pt x="197" y="104"/>
                  </a:cubicBezTo>
                  <a:cubicBezTo>
                    <a:pt x="200" y="103"/>
                    <a:pt x="206" y="108"/>
                    <a:pt x="208" y="106"/>
                  </a:cubicBezTo>
                  <a:cubicBezTo>
                    <a:pt x="212" y="101"/>
                    <a:pt x="210" y="96"/>
                    <a:pt x="213" y="91"/>
                  </a:cubicBezTo>
                  <a:cubicBezTo>
                    <a:pt x="219" y="80"/>
                    <a:pt x="226" y="77"/>
                    <a:pt x="239" y="80"/>
                  </a:cubicBezTo>
                  <a:cubicBezTo>
                    <a:pt x="247" y="81"/>
                    <a:pt x="266" y="91"/>
                    <a:pt x="256" y="100"/>
                  </a:cubicBezTo>
                  <a:cubicBezTo>
                    <a:pt x="247" y="107"/>
                    <a:pt x="231" y="97"/>
                    <a:pt x="223" y="101"/>
                  </a:cubicBezTo>
                  <a:cubicBezTo>
                    <a:pt x="190" y="115"/>
                    <a:pt x="248" y="119"/>
                    <a:pt x="252" y="123"/>
                  </a:cubicBezTo>
                  <a:cubicBezTo>
                    <a:pt x="259" y="130"/>
                    <a:pt x="258" y="142"/>
                    <a:pt x="252" y="149"/>
                  </a:cubicBezTo>
                  <a:cubicBezTo>
                    <a:pt x="239" y="164"/>
                    <a:pt x="221" y="147"/>
                    <a:pt x="206" y="146"/>
                  </a:cubicBezTo>
                  <a:cubicBezTo>
                    <a:pt x="191" y="145"/>
                    <a:pt x="192" y="156"/>
                    <a:pt x="181" y="160"/>
                  </a:cubicBezTo>
                  <a:cubicBezTo>
                    <a:pt x="171" y="165"/>
                    <a:pt x="161" y="158"/>
                    <a:pt x="152" y="152"/>
                  </a:cubicBezTo>
                  <a:cubicBezTo>
                    <a:pt x="130" y="138"/>
                    <a:pt x="123" y="121"/>
                    <a:pt x="93" y="125"/>
                  </a:cubicBezTo>
                  <a:cubicBezTo>
                    <a:pt x="65" y="129"/>
                    <a:pt x="45" y="138"/>
                    <a:pt x="30" y="162"/>
                  </a:cubicBezTo>
                  <a:cubicBezTo>
                    <a:pt x="24" y="173"/>
                    <a:pt x="13" y="180"/>
                    <a:pt x="6" y="190"/>
                  </a:cubicBezTo>
                  <a:cubicBezTo>
                    <a:pt x="0" y="200"/>
                    <a:pt x="1" y="210"/>
                    <a:pt x="3" y="223"/>
                  </a:cubicBezTo>
                  <a:cubicBezTo>
                    <a:pt x="6" y="244"/>
                    <a:pt x="15" y="278"/>
                    <a:pt x="38" y="288"/>
                  </a:cubicBezTo>
                  <a:cubicBezTo>
                    <a:pt x="56" y="295"/>
                    <a:pt x="70" y="275"/>
                    <a:pt x="88" y="288"/>
                  </a:cubicBezTo>
                  <a:cubicBezTo>
                    <a:pt x="100" y="297"/>
                    <a:pt x="103" y="303"/>
                    <a:pt x="119" y="307"/>
                  </a:cubicBezTo>
                  <a:cubicBezTo>
                    <a:pt x="129" y="309"/>
                    <a:pt x="132" y="308"/>
                    <a:pt x="135" y="318"/>
                  </a:cubicBezTo>
                  <a:cubicBezTo>
                    <a:pt x="137" y="326"/>
                    <a:pt x="131" y="339"/>
                    <a:pt x="132" y="347"/>
                  </a:cubicBezTo>
                  <a:cubicBezTo>
                    <a:pt x="133" y="361"/>
                    <a:pt x="141" y="368"/>
                    <a:pt x="146" y="381"/>
                  </a:cubicBezTo>
                  <a:cubicBezTo>
                    <a:pt x="151" y="396"/>
                    <a:pt x="143" y="412"/>
                    <a:pt x="149" y="427"/>
                  </a:cubicBezTo>
                  <a:cubicBezTo>
                    <a:pt x="153" y="438"/>
                    <a:pt x="163" y="444"/>
                    <a:pt x="168" y="454"/>
                  </a:cubicBezTo>
                  <a:cubicBezTo>
                    <a:pt x="178" y="477"/>
                    <a:pt x="182" y="482"/>
                    <a:pt x="208" y="471"/>
                  </a:cubicBezTo>
                  <a:cubicBezTo>
                    <a:pt x="234" y="461"/>
                    <a:pt x="254" y="446"/>
                    <a:pt x="267" y="422"/>
                  </a:cubicBezTo>
                  <a:cubicBezTo>
                    <a:pt x="277" y="404"/>
                    <a:pt x="298" y="401"/>
                    <a:pt x="301" y="377"/>
                  </a:cubicBezTo>
                  <a:cubicBezTo>
                    <a:pt x="302" y="365"/>
                    <a:pt x="298" y="354"/>
                    <a:pt x="302" y="342"/>
                  </a:cubicBezTo>
                  <a:cubicBezTo>
                    <a:pt x="305" y="329"/>
                    <a:pt x="314" y="320"/>
                    <a:pt x="322" y="309"/>
                  </a:cubicBezTo>
                  <a:cubicBezTo>
                    <a:pt x="330" y="300"/>
                    <a:pt x="361" y="258"/>
                    <a:pt x="338" y="255"/>
                  </a:cubicBezTo>
                  <a:cubicBezTo>
                    <a:pt x="325" y="254"/>
                    <a:pt x="330" y="264"/>
                    <a:pt x="317" y="258"/>
                  </a:cubicBezTo>
                  <a:cubicBezTo>
                    <a:pt x="314" y="256"/>
                    <a:pt x="308" y="248"/>
                    <a:pt x="306" y="245"/>
                  </a:cubicBezTo>
                  <a:cubicBezTo>
                    <a:pt x="300" y="236"/>
                    <a:pt x="294" y="226"/>
                    <a:pt x="288" y="216"/>
                  </a:cubicBezTo>
                  <a:cubicBezTo>
                    <a:pt x="285" y="211"/>
                    <a:pt x="253" y="172"/>
                    <a:pt x="256" y="169"/>
                  </a:cubicBezTo>
                  <a:cubicBezTo>
                    <a:pt x="261" y="163"/>
                    <a:pt x="288" y="194"/>
                    <a:pt x="291" y="198"/>
                  </a:cubicBezTo>
                  <a:cubicBezTo>
                    <a:pt x="301" y="212"/>
                    <a:pt x="307" y="238"/>
                    <a:pt x="328" y="236"/>
                  </a:cubicBezTo>
                  <a:cubicBezTo>
                    <a:pt x="343" y="235"/>
                    <a:pt x="359" y="214"/>
                    <a:pt x="360" y="200"/>
                  </a:cubicBezTo>
                  <a:cubicBezTo>
                    <a:pt x="362" y="176"/>
                    <a:pt x="346" y="187"/>
                    <a:pt x="331" y="178"/>
                  </a:cubicBezTo>
                  <a:cubicBezTo>
                    <a:pt x="329" y="177"/>
                    <a:pt x="312" y="162"/>
                    <a:pt x="318" y="158"/>
                  </a:cubicBezTo>
                  <a:cubicBezTo>
                    <a:pt x="322" y="156"/>
                    <a:pt x="328" y="162"/>
                    <a:pt x="331" y="163"/>
                  </a:cubicBezTo>
                  <a:cubicBezTo>
                    <a:pt x="340" y="167"/>
                    <a:pt x="341" y="169"/>
                    <a:pt x="351" y="169"/>
                  </a:cubicBezTo>
                  <a:cubicBezTo>
                    <a:pt x="361" y="170"/>
                    <a:pt x="378" y="165"/>
                    <a:pt x="387" y="170"/>
                  </a:cubicBezTo>
                  <a:cubicBezTo>
                    <a:pt x="401" y="178"/>
                    <a:pt x="402" y="203"/>
                    <a:pt x="408" y="217"/>
                  </a:cubicBezTo>
                  <a:cubicBezTo>
                    <a:pt x="408" y="217"/>
                    <a:pt x="410" y="223"/>
                    <a:pt x="414" y="231"/>
                  </a:cubicBezTo>
                  <a:cubicBezTo>
                    <a:pt x="408" y="157"/>
                    <a:pt x="371" y="85"/>
                    <a:pt x="307" y="38"/>
                  </a:cubicBezTo>
                  <a:close/>
                  <a:moveTo>
                    <a:pt x="316" y="117"/>
                  </a:moveTo>
                  <a:cubicBezTo>
                    <a:pt x="314" y="129"/>
                    <a:pt x="300" y="118"/>
                    <a:pt x="295" y="113"/>
                  </a:cubicBezTo>
                  <a:cubicBezTo>
                    <a:pt x="290" y="108"/>
                    <a:pt x="277" y="86"/>
                    <a:pt x="287" y="80"/>
                  </a:cubicBezTo>
                  <a:cubicBezTo>
                    <a:pt x="297" y="74"/>
                    <a:pt x="302" y="91"/>
                    <a:pt x="302" y="97"/>
                  </a:cubicBezTo>
                  <a:cubicBezTo>
                    <a:pt x="299" y="107"/>
                    <a:pt x="318" y="107"/>
                    <a:pt x="316" y="117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6" name="Freeform 206">
              <a:extLst>
                <a:ext uri="{FF2B5EF4-FFF2-40B4-BE49-F238E27FC236}">
                  <a16:creationId xmlns:a16="http://schemas.microsoft.com/office/drawing/2014/main" id="{9A00E614-1BA0-40D1-ACD2-EDE62D8D4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70200" y="-2419350"/>
              <a:ext cx="280988" cy="561975"/>
            </a:xfrm>
            <a:custGeom>
              <a:avLst/>
              <a:gdLst>
                <a:gd name="T0" fmla="*/ 73 w 94"/>
                <a:gd name="T1" fmla="*/ 144 h 188"/>
                <a:gd name="T2" fmla="*/ 91 w 94"/>
                <a:gd name="T3" fmla="*/ 128 h 188"/>
                <a:gd name="T4" fmla="*/ 90 w 94"/>
                <a:gd name="T5" fmla="*/ 88 h 188"/>
                <a:gd name="T6" fmla="*/ 32 w 94"/>
                <a:gd name="T7" fmla="*/ 40 h 188"/>
                <a:gd name="T8" fmla="*/ 0 w 94"/>
                <a:gd name="T9" fmla="*/ 0 h 188"/>
                <a:gd name="T10" fmla="*/ 86 w 94"/>
                <a:gd name="T11" fmla="*/ 188 h 188"/>
                <a:gd name="T12" fmla="*/ 73 w 94"/>
                <a:gd name="T13" fmla="*/ 14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188">
                  <a:moveTo>
                    <a:pt x="73" y="144"/>
                  </a:moveTo>
                  <a:cubicBezTo>
                    <a:pt x="81" y="136"/>
                    <a:pt x="87" y="144"/>
                    <a:pt x="91" y="128"/>
                  </a:cubicBezTo>
                  <a:cubicBezTo>
                    <a:pt x="94" y="116"/>
                    <a:pt x="93" y="99"/>
                    <a:pt x="90" y="88"/>
                  </a:cubicBezTo>
                  <a:cubicBezTo>
                    <a:pt x="83" y="60"/>
                    <a:pt x="55" y="52"/>
                    <a:pt x="32" y="40"/>
                  </a:cubicBezTo>
                  <a:cubicBezTo>
                    <a:pt x="12" y="30"/>
                    <a:pt x="4" y="17"/>
                    <a:pt x="0" y="0"/>
                  </a:cubicBezTo>
                  <a:cubicBezTo>
                    <a:pt x="2" y="70"/>
                    <a:pt x="32" y="139"/>
                    <a:pt x="86" y="188"/>
                  </a:cubicBezTo>
                  <a:cubicBezTo>
                    <a:pt x="80" y="172"/>
                    <a:pt x="64" y="155"/>
                    <a:pt x="73" y="144"/>
                  </a:cubicBezTo>
                  <a:close/>
                </a:path>
              </a:pathLst>
            </a:custGeom>
            <a:solidFill>
              <a:srgbClr val="D8E5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7" name="Freeform 207">
              <a:extLst>
                <a:ext uri="{FF2B5EF4-FFF2-40B4-BE49-F238E27FC236}">
                  <a16:creationId xmlns:a16="http://schemas.microsoft.com/office/drawing/2014/main" id="{730A75E4-7D1A-41D0-9C77-585AECA48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74963" y="-25019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8E5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8" name="Freeform 208">
              <a:extLst>
                <a:ext uri="{FF2B5EF4-FFF2-40B4-BE49-F238E27FC236}">
                  <a16:creationId xmlns:a16="http://schemas.microsoft.com/office/drawing/2014/main" id="{8C011C7E-5D58-4120-A412-B6FE59568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74813" y="-1985963"/>
              <a:ext cx="80963" cy="193675"/>
            </a:xfrm>
            <a:custGeom>
              <a:avLst/>
              <a:gdLst>
                <a:gd name="T0" fmla="*/ 2 w 27"/>
                <a:gd name="T1" fmla="*/ 37 h 65"/>
                <a:gd name="T2" fmla="*/ 27 w 27"/>
                <a:gd name="T3" fmla="*/ 22 h 65"/>
                <a:gd name="T4" fmla="*/ 2 w 27"/>
                <a:gd name="T5" fmla="*/ 3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5">
                  <a:moveTo>
                    <a:pt x="2" y="37"/>
                  </a:moveTo>
                  <a:cubicBezTo>
                    <a:pt x="0" y="65"/>
                    <a:pt x="24" y="35"/>
                    <a:pt x="27" y="22"/>
                  </a:cubicBezTo>
                  <a:cubicBezTo>
                    <a:pt x="27" y="0"/>
                    <a:pt x="3" y="27"/>
                    <a:pt x="2" y="37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9" name="Freeform 209">
              <a:extLst>
                <a:ext uri="{FF2B5EF4-FFF2-40B4-BE49-F238E27FC236}">
                  <a16:creationId xmlns:a16="http://schemas.microsoft.com/office/drawing/2014/main" id="{130D3B33-3287-455E-82EE-AADBD6A26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51313" y="-3630613"/>
              <a:ext cx="568325" cy="566738"/>
            </a:xfrm>
            <a:custGeom>
              <a:avLst/>
              <a:gdLst>
                <a:gd name="T0" fmla="*/ 180 w 190"/>
                <a:gd name="T1" fmla="*/ 104 h 190"/>
                <a:gd name="T2" fmla="*/ 86 w 190"/>
                <a:gd name="T3" fmla="*/ 10 h 190"/>
                <a:gd name="T4" fmla="*/ 49 w 190"/>
                <a:gd name="T5" fmla="*/ 10 h 190"/>
                <a:gd name="T6" fmla="*/ 0 w 190"/>
                <a:gd name="T7" fmla="*/ 58 h 190"/>
                <a:gd name="T8" fmla="*/ 132 w 190"/>
                <a:gd name="T9" fmla="*/ 190 h 190"/>
                <a:gd name="T10" fmla="*/ 180 w 190"/>
                <a:gd name="T11" fmla="*/ 141 h 190"/>
                <a:gd name="T12" fmla="*/ 180 w 190"/>
                <a:gd name="T13" fmla="*/ 10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90">
                  <a:moveTo>
                    <a:pt x="180" y="104"/>
                  </a:moveTo>
                  <a:cubicBezTo>
                    <a:pt x="86" y="10"/>
                    <a:pt x="86" y="10"/>
                    <a:pt x="86" y="10"/>
                  </a:cubicBezTo>
                  <a:cubicBezTo>
                    <a:pt x="76" y="0"/>
                    <a:pt x="59" y="0"/>
                    <a:pt x="49" y="10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32" y="190"/>
                    <a:pt x="132" y="190"/>
                    <a:pt x="132" y="190"/>
                  </a:cubicBezTo>
                  <a:cubicBezTo>
                    <a:pt x="180" y="141"/>
                    <a:pt x="180" y="141"/>
                    <a:pt x="180" y="141"/>
                  </a:cubicBezTo>
                  <a:cubicBezTo>
                    <a:pt x="190" y="131"/>
                    <a:pt x="190" y="115"/>
                    <a:pt x="180" y="104"/>
                  </a:cubicBezTo>
                  <a:close/>
                </a:path>
              </a:pathLst>
            </a:custGeom>
            <a:gradFill>
              <a:gsLst>
                <a:gs pos="0">
                  <a:srgbClr val="F9A09B"/>
                </a:gs>
                <a:gs pos="73000">
                  <a:srgbClr val="F5748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0" name="Freeform 210">
              <a:extLst>
                <a:ext uri="{FF2B5EF4-FFF2-40B4-BE49-F238E27FC236}">
                  <a16:creationId xmlns:a16="http://schemas.microsoft.com/office/drawing/2014/main" id="{97C4E792-62D7-43F7-BA30-86C25D482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71950" y="-3457575"/>
              <a:ext cx="301625" cy="650875"/>
            </a:xfrm>
            <a:custGeom>
              <a:avLst/>
              <a:gdLst>
                <a:gd name="T0" fmla="*/ 13 w 190"/>
                <a:gd name="T1" fmla="*/ 0 h 410"/>
                <a:gd name="T2" fmla="*/ 0 w 190"/>
                <a:gd name="T3" fmla="*/ 410 h 410"/>
                <a:gd name="T4" fmla="*/ 190 w 190"/>
                <a:gd name="T5" fmla="*/ 176 h 410"/>
                <a:gd name="T6" fmla="*/ 13 w 190"/>
                <a:gd name="T7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" h="410">
                  <a:moveTo>
                    <a:pt x="13" y="0"/>
                  </a:moveTo>
                  <a:lnTo>
                    <a:pt x="0" y="410"/>
                  </a:lnTo>
                  <a:lnTo>
                    <a:pt x="190" y="176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1" name="Freeform 211">
              <a:extLst>
                <a:ext uri="{FF2B5EF4-FFF2-40B4-BE49-F238E27FC236}">
                  <a16:creationId xmlns:a16="http://schemas.microsoft.com/office/drawing/2014/main" id="{F3688ADE-6F65-4F0E-98BD-1405AED12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3900" y="-3630613"/>
              <a:ext cx="568325" cy="566738"/>
            </a:xfrm>
            <a:custGeom>
              <a:avLst/>
              <a:gdLst>
                <a:gd name="T0" fmla="*/ 10 w 190"/>
                <a:gd name="T1" fmla="*/ 104 h 190"/>
                <a:gd name="T2" fmla="*/ 104 w 190"/>
                <a:gd name="T3" fmla="*/ 10 h 190"/>
                <a:gd name="T4" fmla="*/ 141 w 190"/>
                <a:gd name="T5" fmla="*/ 10 h 190"/>
                <a:gd name="T6" fmla="*/ 190 w 190"/>
                <a:gd name="T7" fmla="*/ 58 h 190"/>
                <a:gd name="T8" fmla="*/ 58 w 190"/>
                <a:gd name="T9" fmla="*/ 190 h 190"/>
                <a:gd name="T10" fmla="*/ 10 w 190"/>
                <a:gd name="T11" fmla="*/ 141 h 190"/>
                <a:gd name="T12" fmla="*/ 10 w 190"/>
                <a:gd name="T13" fmla="*/ 10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90">
                  <a:moveTo>
                    <a:pt x="10" y="104"/>
                  </a:moveTo>
                  <a:cubicBezTo>
                    <a:pt x="104" y="10"/>
                    <a:pt x="104" y="10"/>
                    <a:pt x="104" y="10"/>
                  </a:cubicBezTo>
                  <a:cubicBezTo>
                    <a:pt x="115" y="0"/>
                    <a:pt x="131" y="0"/>
                    <a:pt x="141" y="10"/>
                  </a:cubicBezTo>
                  <a:cubicBezTo>
                    <a:pt x="190" y="58"/>
                    <a:pt x="190" y="58"/>
                    <a:pt x="190" y="58"/>
                  </a:cubicBezTo>
                  <a:cubicBezTo>
                    <a:pt x="58" y="190"/>
                    <a:pt x="58" y="190"/>
                    <a:pt x="58" y="190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0" y="131"/>
                    <a:pt x="0" y="115"/>
                    <a:pt x="10" y="104"/>
                  </a:cubicBezTo>
                  <a:close/>
                </a:path>
              </a:pathLst>
            </a:custGeom>
            <a:gradFill>
              <a:gsLst>
                <a:gs pos="0">
                  <a:srgbClr val="F9A09B"/>
                </a:gs>
                <a:gs pos="73000">
                  <a:srgbClr val="F5748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2" name="Freeform 212">
              <a:extLst>
                <a:ext uri="{FF2B5EF4-FFF2-40B4-BE49-F238E27FC236}">
                  <a16:creationId xmlns:a16="http://schemas.microsoft.com/office/drawing/2014/main" id="{654BEFD2-0BE2-4F6E-9BB9-1C037FFA7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76563" y="-3457575"/>
              <a:ext cx="301625" cy="650875"/>
            </a:xfrm>
            <a:custGeom>
              <a:avLst/>
              <a:gdLst>
                <a:gd name="T0" fmla="*/ 177 w 190"/>
                <a:gd name="T1" fmla="*/ 0 h 410"/>
                <a:gd name="T2" fmla="*/ 190 w 190"/>
                <a:gd name="T3" fmla="*/ 410 h 410"/>
                <a:gd name="T4" fmla="*/ 0 w 190"/>
                <a:gd name="T5" fmla="*/ 176 h 410"/>
                <a:gd name="T6" fmla="*/ 177 w 190"/>
                <a:gd name="T7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" h="410">
                  <a:moveTo>
                    <a:pt x="177" y="0"/>
                  </a:moveTo>
                  <a:lnTo>
                    <a:pt x="190" y="410"/>
                  </a:lnTo>
                  <a:lnTo>
                    <a:pt x="0" y="176"/>
                  </a:lnTo>
                  <a:lnTo>
                    <a:pt x="177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3" name="Freeform 213">
              <a:extLst>
                <a:ext uri="{FF2B5EF4-FFF2-40B4-BE49-F238E27FC236}">
                  <a16:creationId xmlns:a16="http://schemas.microsoft.com/office/drawing/2014/main" id="{56E17861-B624-4DF0-B81C-C65DA4EDA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7288" y="-3508375"/>
              <a:ext cx="114300" cy="231775"/>
            </a:xfrm>
            <a:custGeom>
              <a:avLst/>
              <a:gdLst>
                <a:gd name="T0" fmla="*/ 0 w 72"/>
                <a:gd name="T1" fmla="*/ 146 h 146"/>
                <a:gd name="T2" fmla="*/ 72 w 72"/>
                <a:gd name="T3" fmla="*/ 116 h 146"/>
                <a:gd name="T4" fmla="*/ 72 w 72"/>
                <a:gd name="T5" fmla="*/ 0 h 146"/>
                <a:gd name="T6" fmla="*/ 0 w 72"/>
                <a:gd name="T7" fmla="*/ 0 h 146"/>
                <a:gd name="T8" fmla="*/ 0 w 72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46">
                  <a:moveTo>
                    <a:pt x="0" y="146"/>
                  </a:moveTo>
                  <a:lnTo>
                    <a:pt x="72" y="116"/>
                  </a:lnTo>
                  <a:lnTo>
                    <a:pt x="72" y="0"/>
                  </a:lnTo>
                  <a:lnTo>
                    <a:pt x="0" y="0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4" name="Freeform 214">
              <a:extLst>
                <a:ext uri="{FF2B5EF4-FFF2-40B4-BE49-F238E27FC236}">
                  <a16:creationId xmlns:a16="http://schemas.microsoft.com/office/drawing/2014/main" id="{F1A24964-5C44-4374-9D94-9034F235A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260725" y="-3508375"/>
              <a:ext cx="111125" cy="231775"/>
            </a:xfrm>
            <a:custGeom>
              <a:avLst/>
              <a:gdLst>
                <a:gd name="T0" fmla="*/ 0 w 70"/>
                <a:gd name="T1" fmla="*/ 0 h 146"/>
                <a:gd name="T2" fmla="*/ 0 w 70"/>
                <a:gd name="T3" fmla="*/ 116 h 146"/>
                <a:gd name="T4" fmla="*/ 70 w 70"/>
                <a:gd name="T5" fmla="*/ 146 h 146"/>
                <a:gd name="T6" fmla="*/ 70 w 70"/>
                <a:gd name="T7" fmla="*/ 0 h 146"/>
                <a:gd name="T8" fmla="*/ 0 w 70"/>
                <a:gd name="T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46">
                  <a:moveTo>
                    <a:pt x="0" y="0"/>
                  </a:moveTo>
                  <a:lnTo>
                    <a:pt x="0" y="116"/>
                  </a:lnTo>
                  <a:lnTo>
                    <a:pt x="70" y="146"/>
                  </a:lnTo>
                  <a:lnTo>
                    <a:pt x="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5" name="Freeform 215">
              <a:extLst>
                <a:ext uri="{FF2B5EF4-FFF2-40B4-BE49-F238E27FC236}">
                  <a16:creationId xmlns:a16="http://schemas.microsoft.com/office/drawing/2014/main" id="{457AE9C0-ED3E-45CF-BDEC-A74E47FBB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7288" y="-3616325"/>
              <a:ext cx="547688" cy="107950"/>
            </a:xfrm>
            <a:custGeom>
              <a:avLst/>
              <a:gdLst>
                <a:gd name="T0" fmla="*/ 277 w 345"/>
                <a:gd name="T1" fmla="*/ 0 h 68"/>
                <a:gd name="T2" fmla="*/ 173 w 345"/>
                <a:gd name="T3" fmla="*/ 0 h 68"/>
                <a:gd name="T4" fmla="*/ 68 w 345"/>
                <a:gd name="T5" fmla="*/ 0 h 68"/>
                <a:gd name="T6" fmla="*/ 0 w 345"/>
                <a:gd name="T7" fmla="*/ 68 h 68"/>
                <a:gd name="T8" fmla="*/ 72 w 345"/>
                <a:gd name="T9" fmla="*/ 68 h 68"/>
                <a:gd name="T10" fmla="*/ 173 w 345"/>
                <a:gd name="T11" fmla="*/ 68 h 68"/>
                <a:gd name="T12" fmla="*/ 275 w 345"/>
                <a:gd name="T13" fmla="*/ 68 h 68"/>
                <a:gd name="T14" fmla="*/ 345 w 345"/>
                <a:gd name="T15" fmla="*/ 68 h 68"/>
                <a:gd name="T16" fmla="*/ 277 w 345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68">
                  <a:moveTo>
                    <a:pt x="277" y="0"/>
                  </a:moveTo>
                  <a:lnTo>
                    <a:pt x="173" y="0"/>
                  </a:lnTo>
                  <a:lnTo>
                    <a:pt x="68" y="0"/>
                  </a:lnTo>
                  <a:lnTo>
                    <a:pt x="0" y="68"/>
                  </a:lnTo>
                  <a:lnTo>
                    <a:pt x="72" y="68"/>
                  </a:lnTo>
                  <a:lnTo>
                    <a:pt x="173" y="68"/>
                  </a:lnTo>
                  <a:lnTo>
                    <a:pt x="275" y="68"/>
                  </a:lnTo>
                  <a:lnTo>
                    <a:pt x="345" y="68"/>
                  </a:lnTo>
                  <a:lnTo>
                    <a:pt x="277" y="0"/>
                  </a:lnTo>
                  <a:close/>
                </a:path>
              </a:pathLst>
            </a:custGeom>
            <a:gradFill>
              <a:gsLst>
                <a:gs pos="0">
                  <a:srgbClr val="F5748A"/>
                </a:gs>
                <a:gs pos="100000">
                  <a:srgbClr val="531B96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6" name="Freeform 216">
              <a:extLst>
                <a:ext uri="{FF2B5EF4-FFF2-40B4-BE49-F238E27FC236}">
                  <a16:creationId xmlns:a16="http://schemas.microsoft.com/office/drawing/2014/main" id="{567946CB-BDBD-44E9-84DF-75AB7D3EF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76725" y="-3406775"/>
              <a:ext cx="1706563" cy="2163763"/>
            </a:xfrm>
            <a:custGeom>
              <a:avLst/>
              <a:gdLst>
                <a:gd name="T0" fmla="*/ 286 w 571"/>
                <a:gd name="T1" fmla="*/ 7 h 725"/>
                <a:gd name="T2" fmla="*/ 0 w 571"/>
                <a:gd name="T3" fmla="*/ 359 h 725"/>
                <a:gd name="T4" fmla="*/ 0 w 571"/>
                <a:gd name="T5" fmla="*/ 725 h 725"/>
                <a:gd name="T6" fmla="*/ 571 w 571"/>
                <a:gd name="T7" fmla="*/ 725 h 725"/>
                <a:gd name="T8" fmla="*/ 571 w 571"/>
                <a:gd name="T9" fmla="*/ 359 h 725"/>
                <a:gd name="T10" fmla="*/ 286 w 571"/>
                <a:gd name="T11" fmla="*/ 7 h 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1" h="725">
                  <a:moveTo>
                    <a:pt x="286" y="7"/>
                  </a:moveTo>
                  <a:cubicBezTo>
                    <a:pt x="286" y="7"/>
                    <a:pt x="0" y="0"/>
                    <a:pt x="0" y="359"/>
                  </a:cubicBezTo>
                  <a:cubicBezTo>
                    <a:pt x="0" y="725"/>
                    <a:pt x="0" y="725"/>
                    <a:pt x="0" y="725"/>
                  </a:cubicBezTo>
                  <a:cubicBezTo>
                    <a:pt x="571" y="725"/>
                    <a:pt x="571" y="725"/>
                    <a:pt x="571" y="725"/>
                  </a:cubicBezTo>
                  <a:cubicBezTo>
                    <a:pt x="571" y="359"/>
                    <a:pt x="571" y="359"/>
                    <a:pt x="571" y="359"/>
                  </a:cubicBezTo>
                  <a:cubicBezTo>
                    <a:pt x="571" y="0"/>
                    <a:pt x="286" y="7"/>
                    <a:pt x="286" y="7"/>
                  </a:cubicBezTo>
                  <a:close/>
                </a:path>
              </a:pathLst>
            </a:custGeom>
            <a:gradFill>
              <a:gsLst>
                <a:gs pos="0">
                  <a:srgbClr val="F9A09B"/>
                </a:gs>
                <a:gs pos="100000">
                  <a:srgbClr val="F5748A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7" name="Freeform 217">
              <a:extLst>
                <a:ext uri="{FF2B5EF4-FFF2-40B4-BE49-F238E27FC236}">
                  <a16:creationId xmlns:a16="http://schemas.microsoft.com/office/drawing/2014/main" id="{B9A25C81-6AC6-4AF9-966D-2372B1ABB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05275" y="-2195513"/>
              <a:ext cx="1363663" cy="854075"/>
            </a:xfrm>
            <a:custGeom>
              <a:avLst/>
              <a:gdLst>
                <a:gd name="T0" fmla="*/ 432 w 457"/>
                <a:gd name="T1" fmla="*/ 286 h 286"/>
                <a:gd name="T2" fmla="*/ 25 w 457"/>
                <a:gd name="T3" fmla="*/ 286 h 286"/>
                <a:gd name="T4" fmla="*/ 0 w 457"/>
                <a:gd name="T5" fmla="*/ 262 h 286"/>
                <a:gd name="T6" fmla="*/ 0 w 457"/>
                <a:gd name="T7" fmla="*/ 25 h 286"/>
                <a:gd name="T8" fmla="*/ 25 w 457"/>
                <a:gd name="T9" fmla="*/ 0 h 286"/>
                <a:gd name="T10" fmla="*/ 432 w 457"/>
                <a:gd name="T11" fmla="*/ 0 h 286"/>
                <a:gd name="T12" fmla="*/ 457 w 457"/>
                <a:gd name="T13" fmla="*/ 25 h 286"/>
                <a:gd name="T14" fmla="*/ 457 w 457"/>
                <a:gd name="T15" fmla="*/ 262 h 286"/>
                <a:gd name="T16" fmla="*/ 432 w 457"/>
                <a:gd name="T17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7" h="286">
                  <a:moveTo>
                    <a:pt x="432" y="286"/>
                  </a:moveTo>
                  <a:cubicBezTo>
                    <a:pt x="25" y="286"/>
                    <a:pt x="25" y="286"/>
                    <a:pt x="25" y="286"/>
                  </a:cubicBezTo>
                  <a:cubicBezTo>
                    <a:pt x="12" y="286"/>
                    <a:pt x="0" y="275"/>
                    <a:pt x="0" y="26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2" y="0"/>
                    <a:pt x="25" y="0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446" y="0"/>
                    <a:pt x="457" y="11"/>
                    <a:pt x="457" y="25"/>
                  </a:cubicBezTo>
                  <a:cubicBezTo>
                    <a:pt x="457" y="262"/>
                    <a:pt x="457" y="262"/>
                    <a:pt x="457" y="262"/>
                  </a:cubicBezTo>
                  <a:cubicBezTo>
                    <a:pt x="457" y="275"/>
                    <a:pt x="446" y="286"/>
                    <a:pt x="432" y="286"/>
                  </a:cubicBezTo>
                  <a:close/>
                </a:path>
              </a:pathLst>
            </a:custGeom>
            <a:gradFill>
              <a:gsLst>
                <a:gs pos="0">
                  <a:schemeClr val="tx2"/>
                </a:gs>
                <a:gs pos="100000">
                  <a:schemeClr val="tx2">
                    <a:lumMod val="20000"/>
                    <a:lumOff val="8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8" name="Freeform 218">
              <a:extLst>
                <a:ext uri="{FF2B5EF4-FFF2-40B4-BE49-F238E27FC236}">
                  <a16:creationId xmlns:a16="http://schemas.microsoft.com/office/drawing/2014/main" id="{12FA5BB5-2F17-4EC2-AA2B-B3101D0C3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02113" y="-3305175"/>
              <a:ext cx="1557338" cy="1004888"/>
            </a:xfrm>
            <a:custGeom>
              <a:avLst/>
              <a:gdLst>
                <a:gd name="T0" fmla="*/ 521 w 521"/>
                <a:gd name="T1" fmla="*/ 337 h 337"/>
                <a:gd name="T2" fmla="*/ 261 w 521"/>
                <a:gd name="T3" fmla="*/ 0 h 337"/>
                <a:gd name="T4" fmla="*/ 0 w 521"/>
                <a:gd name="T5" fmla="*/ 33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21" h="337">
                  <a:moveTo>
                    <a:pt x="521" y="337"/>
                  </a:moveTo>
                  <a:cubicBezTo>
                    <a:pt x="521" y="337"/>
                    <a:pt x="518" y="0"/>
                    <a:pt x="261" y="0"/>
                  </a:cubicBezTo>
                  <a:cubicBezTo>
                    <a:pt x="3" y="0"/>
                    <a:pt x="0" y="337"/>
                    <a:pt x="0" y="337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9" name="Line 219">
              <a:extLst>
                <a:ext uri="{FF2B5EF4-FFF2-40B4-BE49-F238E27FC236}">
                  <a16:creationId xmlns:a16="http://schemas.microsoft.com/office/drawing/2014/main" id="{6E2BD358-7F27-4D23-8E48-459B6A4A9E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4105275" y="-2033588"/>
              <a:ext cx="1363663" cy="0"/>
            </a:xfrm>
            <a:prstGeom prst="line">
              <a:avLst/>
            </a:prstGeom>
            <a:noFill/>
            <a:ln w="158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0" name="Freeform 220">
              <a:extLst>
                <a:ext uri="{FF2B5EF4-FFF2-40B4-BE49-F238E27FC236}">
                  <a16:creationId xmlns:a16="http://schemas.microsoft.com/office/drawing/2014/main" id="{6F32B05A-2A05-49D9-A117-382F62971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968625" y="-2033588"/>
              <a:ext cx="98425" cy="131763"/>
            </a:xfrm>
            <a:custGeom>
              <a:avLst/>
              <a:gdLst>
                <a:gd name="T0" fmla="*/ 27 w 33"/>
                <a:gd name="T1" fmla="*/ 15 h 44"/>
                <a:gd name="T2" fmla="*/ 27 w 33"/>
                <a:gd name="T3" fmla="*/ 0 h 44"/>
                <a:gd name="T4" fmla="*/ 6 w 33"/>
                <a:gd name="T5" fmla="*/ 0 h 44"/>
                <a:gd name="T6" fmla="*/ 6 w 33"/>
                <a:gd name="T7" fmla="*/ 15 h 44"/>
                <a:gd name="T8" fmla="*/ 0 w 33"/>
                <a:gd name="T9" fmla="*/ 27 h 44"/>
                <a:gd name="T10" fmla="*/ 17 w 33"/>
                <a:gd name="T11" fmla="*/ 44 h 44"/>
                <a:gd name="T12" fmla="*/ 33 w 33"/>
                <a:gd name="T13" fmla="*/ 27 h 44"/>
                <a:gd name="T14" fmla="*/ 27 w 33"/>
                <a:gd name="T15" fmla="*/ 15 h 44"/>
                <a:gd name="T16" fmla="*/ 17 w 33"/>
                <a:gd name="T17" fmla="*/ 33 h 44"/>
                <a:gd name="T18" fmla="*/ 11 w 33"/>
                <a:gd name="T19" fmla="*/ 27 h 44"/>
                <a:gd name="T20" fmla="*/ 17 w 33"/>
                <a:gd name="T21" fmla="*/ 21 h 44"/>
                <a:gd name="T22" fmla="*/ 23 w 33"/>
                <a:gd name="T23" fmla="*/ 27 h 44"/>
                <a:gd name="T24" fmla="*/ 17 w 33"/>
                <a:gd name="T25" fmla="*/ 3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4">
                  <a:moveTo>
                    <a:pt x="27" y="15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8"/>
                    <a:pt x="0" y="22"/>
                    <a:pt x="0" y="27"/>
                  </a:cubicBezTo>
                  <a:cubicBezTo>
                    <a:pt x="0" y="36"/>
                    <a:pt x="8" y="44"/>
                    <a:pt x="17" y="44"/>
                  </a:cubicBezTo>
                  <a:cubicBezTo>
                    <a:pt x="26" y="44"/>
                    <a:pt x="33" y="36"/>
                    <a:pt x="33" y="27"/>
                  </a:cubicBezTo>
                  <a:cubicBezTo>
                    <a:pt x="33" y="22"/>
                    <a:pt x="31" y="18"/>
                    <a:pt x="27" y="15"/>
                  </a:cubicBezTo>
                  <a:close/>
                  <a:moveTo>
                    <a:pt x="17" y="33"/>
                  </a:moveTo>
                  <a:cubicBezTo>
                    <a:pt x="13" y="33"/>
                    <a:pt x="11" y="31"/>
                    <a:pt x="11" y="27"/>
                  </a:cubicBezTo>
                  <a:cubicBezTo>
                    <a:pt x="11" y="24"/>
                    <a:pt x="13" y="21"/>
                    <a:pt x="17" y="21"/>
                  </a:cubicBezTo>
                  <a:cubicBezTo>
                    <a:pt x="20" y="21"/>
                    <a:pt x="23" y="24"/>
                    <a:pt x="23" y="27"/>
                  </a:cubicBezTo>
                  <a:cubicBezTo>
                    <a:pt x="23" y="31"/>
                    <a:pt x="20" y="33"/>
                    <a:pt x="17" y="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1" name="Freeform 221">
              <a:extLst>
                <a:ext uri="{FF2B5EF4-FFF2-40B4-BE49-F238E27FC236}">
                  <a16:creationId xmlns:a16="http://schemas.microsoft.com/office/drawing/2014/main" id="{78A31DF4-8E88-4B32-A9C9-AB219A6C16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249738" y="-2314575"/>
              <a:ext cx="98425" cy="131763"/>
            </a:xfrm>
            <a:custGeom>
              <a:avLst/>
              <a:gdLst>
                <a:gd name="T0" fmla="*/ 26 w 33"/>
                <a:gd name="T1" fmla="*/ 15 h 44"/>
                <a:gd name="T2" fmla="*/ 26 w 33"/>
                <a:gd name="T3" fmla="*/ 0 h 44"/>
                <a:gd name="T4" fmla="*/ 6 w 33"/>
                <a:gd name="T5" fmla="*/ 0 h 44"/>
                <a:gd name="T6" fmla="*/ 6 w 33"/>
                <a:gd name="T7" fmla="*/ 15 h 44"/>
                <a:gd name="T8" fmla="*/ 0 w 33"/>
                <a:gd name="T9" fmla="*/ 28 h 44"/>
                <a:gd name="T10" fmla="*/ 16 w 33"/>
                <a:gd name="T11" fmla="*/ 44 h 44"/>
                <a:gd name="T12" fmla="*/ 33 w 33"/>
                <a:gd name="T13" fmla="*/ 28 h 44"/>
                <a:gd name="T14" fmla="*/ 26 w 33"/>
                <a:gd name="T15" fmla="*/ 15 h 44"/>
                <a:gd name="T16" fmla="*/ 16 w 33"/>
                <a:gd name="T17" fmla="*/ 34 h 44"/>
                <a:gd name="T18" fmla="*/ 10 w 33"/>
                <a:gd name="T19" fmla="*/ 28 h 44"/>
                <a:gd name="T20" fmla="*/ 16 w 33"/>
                <a:gd name="T21" fmla="*/ 22 h 44"/>
                <a:gd name="T22" fmla="*/ 22 w 33"/>
                <a:gd name="T23" fmla="*/ 28 h 44"/>
                <a:gd name="T24" fmla="*/ 16 w 33"/>
                <a:gd name="T25" fmla="*/ 3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4">
                  <a:moveTo>
                    <a:pt x="26" y="1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2" y="18"/>
                    <a:pt x="0" y="23"/>
                    <a:pt x="0" y="28"/>
                  </a:cubicBezTo>
                  <a:cubicBezTo>
                    <a:pt x="0" y="37"/>
                    <a:pt x="7" y="44"/>
                    <a:pt x="16" y="44"/>
                  </a:cubicBezTo>
                  <a:cubicBezTo>
                    <a:pt x="25" y="44"/>
                    <a:pt x="33" y="37"/>
                    <a:pt x="33" y="28"/>
                  </a:cubicBezTo>
                  <a:cubicBezTo>
                    <a:pt x="33" y="23"/>
                    <a:pt x="30" y="18"/>
                    <a:pt x="26" y="15"/>
                  </a:cubicBezTo>
                  <a:close/>
                  <a:moveTo>
                    <a:pt x="16" y="34"/>
                  </a:moveTo>
                  <a:cubicBezTo>
                    <a:pt x="13" y="34"/>
                    <a:pt x="10" y="31"/>
                    <a:pt x="10" y="28"/>
                  </a:cubicBezTo>
                  <a:cubicBezTo>
                    <a:pt x="10" y="24"/>
                    <a:pt x="13" y="22"/>
                    <a:pt x="16" y="22"/>
                  </a:cubicBezTo>
                  <a:cubicBezTo>
                    <a:pt x="19" y="22"/>
                    <a:pt x="22" y="24"/>
                    <a:pt x="22" y="28"/>
                  </a:cubicBezTo>
                  <a:cubicBezTo>
                    <a:pt x="22" y="31"/>
                    <a:pt x="19" y="34"/>
                    <a:pt x="16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2" name="Freeform 222">
              <a:extLst>
                <a:ext uri="{FF2B5EF4-FFF2-40B4-BE49-F238E27FC236}">
                  <a16:creationId xmlns:a16="http://schemas.microsoft.com/office/drawing/2014/main" id="{665A9577-B214-4D49-8BC1-F7194F5E5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76725" y="-1243013"/>
              <a:ext cx="1706563" cy="125413"/>
            </a:xfrm>
            <a:custGeom>
              <a:avLst/>
              <a:gdLst>
                <a:gd name="T0" fmla="*/ 42 w 571"/>
                <a:gd name="T1" fmla="*/ 42 h 42"/>
                <a:gd name="T2" fmla="*/ 529 w 571"/>
                <a:gd name="T3" fmla="*/ 42 h 42"/>
                <a:gd name="T4" fmla="*/ 571 w 571"/>
                <a:gd name="T5" fmla="*/ 0 h 42"/>
                <a:gd name="T6" fmla="*/ 571 w 571"/>
                <a:gd name="T7" fmla="*/ 0 h 42"/>
                <a:gd name="T8" fmla="*/ 0 w 571"/>
                <a:gd name="T9" fmla="*/ 0 h 42"/>
                <a:gd name="T10" fmla="*/ 0 w 571"/>
                <a:gd name="T11" fmla="*/ 0 h 42"/>
                <a:gd name="T12" fmla="*/ 42 w 571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1" h="42">
                  <a:moveTo>
                    <a:pt x="42" y="42"/>
                  </a:moveTo>
                  <a:cubicBezTo>
                    <a:pt x="529" y="42"/>
                    <a:pt x="529" y="42"/>
                    <a:pt x="529" y="42"/>
                  </a:cubicBezTo>
                  <a:cubicBezTo>
                    <a:pt x="552" y="42"/>
                    <a:pt x="571" y="24"/>
                    <a:pt x="571" y="0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19" y="42"/>
                    <a:pt x="42" y="42"/>
                  </a:cubicBezTo>
                  <a:close/>
                </a:path>
              </a:pathLst>
            </a:custGeom>
            <a:gradFill>
              <a:gsLst>
                <a:gs pos="0">
                  <a:srgbClr val="F5748A"/>
                </a:gs>
                <a:gs pos="100000">
                  <a:srgbClr val="531B96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3" name="Rectangle 223">
              <a:extLst>
                <a:ext uri="{FF2B5EF4-FFF2-40B4-BE49-F238E27FC236}">
                  <a16:creationId xmlns:a16="http://schemas.microsoft.com/office/drawing/2014/main" id="{ECCEC034-E556-4288-8BDE-260E388B3B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792663" y="-1416050"/>
              <a:ext cx="765175" cy="2984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4" name="Rectangle 224">
              <a:extLst>
                <a:ext uri="{FF2B5EF4-FFF2-40B4-BE49-F238E27FC236}">
                  <a16:creationId xmlns:a16="http://schemas.microsoft.com/office/drawing/2014/main" id="{98D9AA41-A32F-4313-894D-A370D3FA9C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11800" y="-1374775"/>
              <a:ext cx="719138" cy="2159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5" name="Rectangle 225">
              <a:extLst>
                <a:ext uri="{FF2B5EF4-FFF2-40B4-BE49-F238E27FC236}">
                  <a16:creationId xmlns:a16="http://schemas.microsoft.com/office/drawing/2014/main" id="{8E29E846-6596-460F-8779-C8F7F15B15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11800" y="-1198563"/>
              <a:ext cx="719138" cy="3968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6" name="Freeform 226">
              <a:extLst>
                <a:ext uri="{FF2B5EF4-FFF2-40B4-BE49-F238E27FC236}">
                  <a16:creationId xmlns:a16="http://schemas.microsoft.com/office/drawing/2014/main" id="{059141CB-2E20-4863-B5F7-AF74D5143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45138" y="-1416050"/>
              <a:ext cx="793750" cy="298450"/>
            </a:xfrm>
            <a:custGeom>
              <a:avLst/>
              <a:gdLst>
                <a:gd name="T0" fmla="*/ 474 w 500"/>
                <a:gd name="T1" fmla="*/ 0 h 188"/>
                <a:gd name="T2" fmla="*/ 0 w 500"/>
                <a:gd name="T3" fmla="*/ 0 h 188"/>
                <a:gd name="T4" fmla="*/ 0 w 500"/>
                <a:gd name="T5" fmla="*/ 26 h 188"/>
                <a:gd name="T6" fmla="*/ 474 w 500"/>
                <a:gd name="T7" fmla="*/ 26 h 188"/>
                <a:gd name="T8" fmla="*/ 474 w 500"/>
                <a:gd name="T9" fmla="*/ 162 h 188"/>
                <a:gd name="T10" fmla="*/ 0 w 500"/>
                <a:gd name="T11" fmla="*/ 162 h 188"/>
                <a:gd name="T12" fmla="*/ 0 w 500"/>
                <a:gd name="T13" fmla="*/ 188 h 188"/>
                <a:gd name="T14" fmla="*/ 474 w 500"/>
                <a:gd name="T15" fmla="*/ 188 h 188"/>
                <a:gd name="T16" fmla="*/ 500 w 500"/>
                <a:gd name="T17" fmla="*/ 188 h 188"/>
                <a:gd name="T18" fmla="*/ 500 w 500"/>
                <a:gd name="T19" fmla="*/ 0 h 188"/>
                <a:gd name="T20" fmla="*/ 474 w 500"/>
                <a:gd name="T21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0" h="188">
                  <a:moveTo>
                    <a:pt x="474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474" y="26"/>
                  </a:lnTo>
                  <a:lnTo>
                    <a:pt x="474" y="162"/>
                  </a:lnTo>
                  <a:lnTo>
                    <a:pt x="0" y="162"/>
                  </a:lnTo>
                  <a:lnTo>
                    <a:pt x="0" y="188"/>
                  </a:lnTo>
                  <a:lnTo>
                    <a:pt x="474" y="188"/>
                  </a:lnTo>
                  <a:lnTo>
                    <a:pt x="500" y="188"/>
                  </a:lnTo>
                  <a:lnTo>
                    <a:pt x="500" y="0"/>
                  </a:lnTo>
                  <a:lnTo>
                    <a:pt x="47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7" name="Freeform 227">
              <a:extLst>
                <a:ext uri="{FF2B5EF4-FFF2-40B4-BE49-F238E27FC236}">
                  <a16:creationId xmlns:a16="http://schemas.microsoft.com/office/drawing/2014/main" id="{B30665BE-4B69-4893-A76C-46237A94D0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89588" y="-1974850"/>
              <a:ext cx="1020763" cy="212725"/>
            </a:xfrm>
            <a:custGeom>
              <a:avLst/>
              <a:gdLst>
                <a:gd name="T0" fmla="*/ 342 w 342"/>
                <a:gd name="T1" fmla="*/ 0 h 71"/>
                <a:gd name="T2" fmla="*/ 24 w 342"/>
                <a:gd name="T3" fmla="*/ 0 h 71"/>
                <a:gd name="T4" fmla="*/ 0 w 342"/>
                <a:gd name="T5" fmla="*/ 24 h 71"/>
                <a:gd name="T6" fmla="*/ 0 w 342"/>
                <a:gd name="T7" fmla="*/ 47 h 71"/>
                <a:gd name="T8" fmla="*/ 24 w 342"/>
                <a:gd name="T9" fmla="*/ 71 h 71"/>
                <a:gd name="T10" fmla="*/ 342 w 342"/>
                <a:gd name="T11" fmla="*/ 71 h 71"/>
                <a:gd name="T12" fmla="*/ 342 w 342"/>
                <a:gd name="T1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2" h="71">
                  <a:moveTo>
                    <a:pt x="342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60"/>
                    <a:pt x="11" y="71"/>
                    <a:pt x="24" y="71"/>
                  </a:cubicBezTo>
                  <a:cubicBezTo>
                    <a:pt x="342" y="71"/>
                    <a:pt x="342" y="71"/>
                    <a:pt x="342" y="71"/>
                  </a:cubicBezTo>
                  <a:lnTo>
                    <a:pt x="34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8" name="Rectangle 228">
              <a:extLst>
                <a:ext uri="{FF2B5EF4-FFF2-40B4-BE49-F238E27FC236}">
                  <a16:creationId xmlns:a16="http://schemas.microsoft.com/office/drawing/2014/main" id="{3D9E41F9-413D-4E04-A1A3-B6D55FB8C2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527550" y="-1931988"/>
              <a:ext cx="514350" cy="12858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9" name="Rectangle 229">
              <a:extLst>
                <a:ext uri="{FF2B5EF4-FFF2-40B4-BE49-F238E27FC236}">
                  <a16:creationId xmlns:a16="http://schemas.microsoft.com/office/drawing/2014/main" id="{B45F69E0-DEFD-4015-969C-8499FD5270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527550" y="-1931988"/>
              <a:ext cx="514350" cy="412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0" name="Freeform 230">
              <a:extLst>
                <a:ext uri="{FF2B5EF4-FFF2-40B4-BE49-F238E27FC236}">
                  <a16:creationId xmlns:a16="http://schemas.microsoft.com/office/drawing/2014/main" id="{796FCB60-9649-4239-A288-5E32D43D1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4568825" y="-1974850"/>
              <a:ext cx="588963" cy="212725"/>
            </a:xfrm>
            <a:custGeom>
              <a:avLst/>
              <a:gdLst>
                <a:gd name="T0" fmla="*/ 371 w 371"/>
                <a:gd name="T1" fmla="*/ 27 h 134"/>
                <a:gd name="T2" fmla="*/ 371 w 371"/>
                <a:gd name="T3" fmla="*/ 0 h 134"/>
                <a:gd name="T4" fmla="*/ 26 w 371"/>
                <a:gd name="T5" fmla="*/ 0 h 134"/>
                <a:gd name="T6" fmla="*/ 0 w 371"/>
                <a:gd name="T7" fmla="*/ 0 h 134"/>
                <a:gd name="T8" fmla="*/ 0 w 371"/>
                <a:gd name="T9" fmla="*/ 134 h 134"/>
                <a:gd name="T10" fmla="*/ 26 w 371"/>
                <a:gd name="T11" fmla="*/ 134 h 134"/>
                <a:gd name="T12" fmla="*/ 371 w 371"/>
                <a:gd name="T13" fmla="*/ 134 h 134"/>
                <a:gd name="T14" fmla="*/ 371 w 371"/>
                <a:gd name="T15" fmla="*/ 108 h 134"/>
                <a:gd name="T16" fmla="*/ 26 w 371"/>
                <a:gd name="T17" fmla="*/ 108 h 134"/>
                <a:gd name="T18" fmla="*/ 26 w 371"/>
                <a:gd name="T19" fmla="*/ 27 h 134"/>
                <a:gd name="T20" fmla="*/ 371 w 371"/>
                <a:gd name="T21" fmla="*/ 27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1" h="134">
                  <a:moveTo>
                    <a:pt x="371" y="27"/>
                  </a:moveTo>
                  <a:lnTo>
                    <a:pt x="371" y="0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134"/>
                  </a:lnTo>
                  <a:lnTo>
                    <a:pt x="26" y="134"/>
                  </a:lnTo>
                  <a:lnTo>
                    <a:pt x="371" y="134"/>
                  </a:lnTo>
                  <a:lnTo>
                    <a:pt x="371" y="108"/>
                  </a:lnTo>
                  <a:lnTo>
                    <a:pt x="26" y="108"/>
                  </a:lnTo>
                  <a:lnTo>
                    <a:pt x="26" y="27"/>
                  </a:lnTo>
                  <a:lnTo>
                    <a:pt x="371" y="2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1" name="Rectangle 231">
              <a:extLst>
                <a:ext uri="{FF2B5EF4-FFF2-40B4-BE49-F238E27FC236}">
                  <a16:creationId xmlns:a16="http://schemas.microsoft.com/office/drawing/2014/main" id="{83871B71-03B6-4EBA-BE77-24698BAE46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446713" y="-1762125"/>
              <a:ext cx="576263" cy="34607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2" name="Rectangle 232">
              <a:extLst>
                <a:ext uri="{FF2B5EF4-FFF2-40B4-BE49-F238E27FC236}">
                  <a16:creationId xmlns:a16="http://schemas.microsoft.com/office/drawing/2014/main" id="{F42959C9-7A88-46CF-A68E-3A01DAFF0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870450" y="-1720850"/>
              <a:ext cx="692150" cy="2667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3" name="Rectangle 233">
              <a:extLst>
                <a:ext uri="{FF2B5EF4-FFF2-40B4-BE49-F238E27FC236}">
                  <a16:creationId xmlns:a16="http://schemas.microsoft.com/office/drawing/2014/main" id="{F37EF5E3-8DD5-470C-8281-11B5546B12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870450" y="-1720850"/>
              <a:ext cx="692150" cy="396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4" name="Freeform 234">
              <a:extLst>
                <a:ext uri="{FF2B5EF4-FFF2-40B4-BE49-F238E27FC236}">
                  <a16:creationId xmlns:a16="http://schemas.microsoft.com/office/drawing/2014/main" id="{88AED160-0F18-42B2-8190-2F8F8D906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46713" y="-1762125"/>
              <a:ext cx="576263" cy="346075"/>
            </a:xfrm>
            <a:custGeom>
              <a:avLst/>
              <a:gdLst>
                <a:gd name="T0" fmla="*/ 363 w 363"/>
                <a:gd name="T1" fmla="*/ 26 h 218"/>
                <a:gd name="T2" fmla="*/ 363 w 363"/>
                <a:gd name="T3" fmla="*/ 0 h 218"/>
                <a:gd name="T4" fmla="*/ 24 w 363"/>
                <a:gd name="T5" fmla="*/ 0 h 218"/>
                <a:gd name="T6" fmla="*/ 0 w 363"/>
                <a:gd name="T7" fmla="*/ 0 h 218"/>
                <a:gd name="T8" fmla="*/ 0 w 363"/>
                <a:gd name="T9" fmla="*/ 218 h 218"/>
                <a:gd name="T10" fmla="*/ 24 w 363"/>
                <a:gd name="T11" fmla="*/ 218 h 218"/>
                <a:gd name="T12" fmla="*/ 363 w 363"/>
                <a:gd name="T13" fmla="*/ 218 h 218"/>
                <a:gd name="T14" fmla="*/ 363 w 363"/>
                <a:gd name="T15" fmla="*/ 194 h 218"/>
                <a:gd name="T16" fmla="*/ 24 w 363"/>
                <a:gd name="T17" fmla="*/ 194 h 218"/>
                <a:gd name="T18" fmla="*/ 24 w 363"/>
                <a:gd name="T19" fmla="*/ 26 h 218"/>
                <a:gd name="T20" fmla="*/ 363 w 363"/>
                <a:gd name="T21" fmla="*/ 2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3" h="218">
                  <a:moveTo>
                    <a:pt x="363" y="26"/>
                  </a:moveTo>
                  <a:lnTo>
                    <a:pt x="363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218"/>
                  </a:lnTo>
                  <a:lnTo>
                    <a:pt x="24" y="218"/>
                  </a:lnTo>
                  <a:lnTo>
                    <a:pt x="363" y="218"/>
                  </a:lnTo>
                  <a:lnTo>
                    <a:pt x="363" y="194"/>
                  </a:lnTo>
                  <a:lnTo>
                    <a:pt x="24" y="194"/>
                  </a:lnTo>
                  <a:lnTo>
                    <a:pt x="24" y="26"/>
                  </a:lnTo>
                  <a:lnTo>
                    <a:pt x="363" y="2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5" name="Rectangle 235">
              <a:extLst>
                <a:ext uri="{FF2B5EF4-FFF2-40B4-BE49-F238E27FC236}">
                  <a16:creationId xmlns:a16="http://schemas.microsoft.com/office/drawing/2014/main" id="{0646EFF5-5595-4BB1-B661-5E71DA7625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870450" y="-1762125"/>
              <a:ext cx="692150" cy="4127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6" name="Rectangle 236">
              <a:extLst>
                <a:ext uri="{FF2B5EF4-FFF2-40B4-BE49-F238E27FC236}">
                  <a16:creationId xmlns:a16="http://schemas.microsoft.com/office/drawing/2014/main" id="{ECD014FD-0059-473C-99F0-8DC2A9A0E8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870450" y="-1454150"/>
              <a:ext cx="692150" cy="3810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7" name="Rectangle 237">
              <a:extLst>
                <a:ext uri="{FF2B5EF4-FFF2-40B4-BE49-F238E27FC236}">
                  <a16:creationId xmlns:a16="http://schemas.microsoft.com/office/drawing/2014/main" id="{A7771C13-F17E-424E-8499-D88157DDB7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94238" y="-1416050"/>
              <a:ext cx="80963" cy="29845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8" name="Rectangle 238">
              <a:extLst>
                <a:ext uri="{FF2B5EF4-FFF2-40B4-BE49-F238E27FC236}">
                  <a16:creationId xmlns:a16="http://schemas.microsoft.com/office/drawing/2014/main" id="{C1260FFF-1EE3-4C49-AEC7-114CE89ACB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152900" y="-1416050"/>
              <a:ext cx="79375" cy="29845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49" name="Line 239">
              <a:extLst>
                <a:ext uri="{FF2B5EF4-FFF2-40B4-BE49-F238E27FC236}">
                  <a16:creationId xmlns:a16="http://schemas.microsoft.com/office/drawing/2014/main" id="{2CCF4383-555D-4DA6-8867-DE2F788A3CF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5348288" y="-1347788"/>
              <a:ext cx="466725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0" name="Line 240">
              <a:extLst>
                <a:ext uri="{FF2B5EF4-FFF2-40B4-BE49-F238E27FC236}">
                  <a16:creationId xmlns:a16="http://schemas.microsoft.com/office/drawing/2014/main" id="{2BD14812-177D-4AD6-998C-BAA8B70A64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5135563" y="-1589088"/>
              <a:ext cx="465138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1" name="Line 241">
              <a:extLst>
                <a:ext uri="{FF2B5EF4-FFF2-40B4-BE49-F238E27FC236}">
                  <a16:creationId xmlns:a16="http://schemas.microsoft.com/office/drawing/2014/main" id="{427FDAD7-6663-46A7-B620-5E638953C3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4633913" y="-1544638"/>
              <a:ext cx="455613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2" name="Line 242">
              <a:extLst>
                <a:ext uri="{FF2B5EF4-FFF2-40B4-BE49-F238E27FC236}">
                  <a16:creationId xmlns:a16="http://schemas.microsoft.com/office/drawing/2014/main" id="{67753157-D2BA-4659-A9E0-2A86953DBA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4792663" y="-1654175"/>
              <a:ext cx="465138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3" name="Line 243">
              <a:extLst>
                <a:ext uri="{FF2B5EF4-FFF2-40B4-BE49-F238E27FC236}">
                  <a16:creationId xmlns:a16="http://schemas.microsoft.com/office/drawing/2014/main" id="{F03EF034-3C92-4504-945A-98002B0D2F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4681538" y="-1630363"/>
              <a:ext cx="354013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4" name="Line 244">
              <a:extLst>
                <a:ext uri="{FF2B5EF4-FFF2-40B4-BE49-F238E27FC236}">
                  <a16:creationId xmlns:a16="http://schemas.microsoft.com/office/drawing/2014/main" id="{39CCA3D1-DDEF-4314-B461-22F43039C3D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4500563" y="-1866900"/>
              <a:ext cx="355600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5" name="Line 245">
              <a:extLst>
                <a:ext uri="{FF2B5EF4-FFF2-40B4-BE49-F238E27FC236}">
                  <a16:creationId xmlns:a16="http://schemas.microsoft.com/office/drawing/2014/main" id="{28D4F0CD-F260-4B0C-A6E3-5044278751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4352925" y="-1843088"/>
              <a:ext cx="339725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6" name="Line 246">
              <a:extLst>
                <a:ext uri="{FF2B5EF4-FFF2-40B4-BE49-F238E27FC236}">
                  <a16:creationId xmlns:a16="http://schemas.microsoft.com/office/drawing/2014/main" id="{9419AA38-9C30-4F70-9A11-5B28EB9B1E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5280025" y="-1490663"/>
              <a:ext cx="355600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7" name="Line 247">
              <a:extLst>
                <a:ext uri="{FF2B5EF4-FFF2-40B4-BE49-F238E27FC236}">
                  <a16:creationId xmlns:a16="http://schemas.microsoft.com/office/drawing/2014/main" id="{2B5CA707-F99A-4D46-B100-0890ECE6AE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-5392738" y="-1266825"/>
              <a:ext cx="355600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8" name="Freeform 248">
              <a:extLst>
                <a:ext uri="{FF2B5EF4-FFF2-40B4-BE49-F238E27FC236}">
                  <a16:creationId xmlns:a16="http://schemas.microsoft.com/office/drawing/2014/main" id="{18B5FEF2-3FEE-4820-9EEF-635806679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30488" y="-1263650"/>
              <a:ext cx="314325" cy="149225"/>
            </a:xfrm>
            <a:custGeom>
              <a:avLst/>
              <a:gdLst>
                <a:gd name="T0" fmla="*/ 0 w 105"/>
                <a:gd name="T1" fmla="*/ 21 h 50"/>
                <a:gd name="T2" fmla="*/ 29 w 105"/>
                <a:gd name="T3" fmla="*/ 50 h 50"/>
                <a:gd name="T4" fmla="*/ 30 w 105"/>
                <a:gd name="T5" fmla="*/ 50 h 50"/>
                <a:gd name="T6" fmla="*/ 75 w 105"/>
                <a:gd name="T7" fmla="*/ 50 h 50"/>
                <a:gd name="T8" fmla="*/ 76 w 105"/>
                <a:gd name="T9" fmla="*/ 50 h 50"/>
                <a:gd name="T10" fmla="*/ 105 w 105"/>
                <a:gd name="T11" fmla="*/ 21 h 50"/>
                <a:gd name="T12" fmla="*/ 105 w 105"/>
                <a:gd name="T13" fmla="*/ 0 h 50"/>
                <a:gd name="T14" fmla="*/ 0 w 105"/>
                <a:gd name="T15" fmla="*/ 0 h 50"/>
                <a:gd name="T16" fmla="*/ 0 w 105"/>
                <a:gd name="T17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" h="50">
                  <a:moveTo>
                    <a:pt x="0" y="21"/>
                  </a:moveTo>
                  <a:cubicBezTo>
                    <a:pt x="0" y="37"/>
                    <a:pt x="13" y="50"/>
                    <a:pt x="29" y="50"/>
                  </a:cubicBezTo>
                  <a:cubicBezTo>
                    <a:pt x="29" y="50"/>
                    <a:pt x="29" y="50"/>
                    <a:pt x="30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6" y="50"/>
                  </a:cubicBezTo>
                  <a:cubicBezTo>
                    <a:pt x="92" y="50"/>
                    <a:pt x="105" y="37"/>
                    <a:pt x="105" y="21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59" name="Freeform 249">
              <a:extLst>
                <a:ext uri="{FF2B5EF4-FFF2-40B4-BE49-F238E27FC236}">
                  <a16:creationId xmlns:a16="http://schemas.microsoft.com/office/drawing/2014/main" id="{5A0D5163-A09E-4DE0-90C4-BEB0ED04C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30488" y="-2006600"/>
              <a:ext cx="314325" cy="444500"/>
            </a:xfrm>
            <a:custGeom>
              <a:avLst/>
              <a:gdLst>
                <a:gd name="T0" fmla="*/ 99 w 105"/>
                <a:gd name="T1" fmla="*/ 130 h 149"/>
                <a:gd name="T2" fmla="*/ 105 w 105"/>
                <a:gd name="T3" fmla="*/ 82 h 149"/>
                <a:gd name="T4" fmla="*/ 70 w 105"/>
                <a:gd name="T5" fmla="*/ 23 h 149"/>
                <a:gd name="T6" fmla="*/ 70 w 105"/>
                <a:gd name="T7" fmla="*/ 0 h 149"/>
                <a:gd name="T8" fmla="*/ 52 w 105"/>
                <a:gd name="T9" fmla="*/ 0 h 149"/>
                <a:gd name="T10" fmla="*/ 35 w 105"/>
                <a:gd name="T11" fmla="*/ 0 h 149"/>
                <a:gd name="T12" fmla="*/ 35 w 105"/>
                <a:gd name="T13" fmla="*/ 23 h 149"/>
                <a:gd name="T14" fmla="*/ 0 w 105"/>
                <a:gd name="T15" fmla="*/ 82 h 149"/>
                <a:gd name="T16" fmla="*/ 6 w 105"/>
                <a:gd name="T17" fmla="*/ 130 h 149"/>
                <a:gd name="T18" fmla="*/ 3 w 105"/>
                <a:gd name="T19" fmla="*/ 149 h 149"/>
                <a:gd name="T20" fmla="*/ 102 w 105"/>
                <a:gd name="T21" fmla="*/ 149 h 149"/>
                <a:gd name="T22" fmla="*/ 99 w 105"/>
                <a:gd name="T23" fmla="*/ 13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9">
                  <a:moveTo>
                    <a:pt x="99" y="130"/>
                  </a:moveTo>
                  <a:cubicBezTo>
                    <a:pt x="96" y="113"/>
                    <a:pt x="105" y="99"/>
                    <a:pt x="105" y="82"/>
                  </a:cubicBezTo>
                  <a:cubicBezTo>
                    <a:pt x="105" y="49"/>
                    <a:pt x="70" y="23"/>
                    <a:pt x="70" y="23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0" y="49"/>
                    <a:pt x="0" y="82"/>
                  </a:cubicBezTo>
                  <a:cubicBezTo>
                    <a:pt x="0" y="99"/>
                    <a:pt x="8" y="113"/>
                    <a:pt x="6" y="130"/>
                  </a:cubicBezTo>
                  <a:cubicBezTo>
                    <a:pt x="4" y="137"/>
                    <a:pt x="4" y="143"/>
                    <a:pt x="3" y="149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1" y="143"/>
                    <a:pt x="100" y="137"/>
                    <a:pt x="99" y="13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0" name="Freeform 250">
              <a:extLst>
                <a:ext uri="{FF2B5EF4-FFF2-40B4-BE49-F238E27FC236}">
                  <a16:creationId xmlns:a16="http://schemas.microsoft.com/office/drawing/2014/main" id="{3B95AED6-FFA5-469E-9A95-48B9E913B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30488" y="-1562100"/>
              <a:ext cx="314325" cy="298450"/>
            </a:xfrm>
            <a:custGeom>
              <a:avLst/>
              <a:gdLst>
                <a:gd name="T0" fmla="*/ 102 w 105"/>
                <a:gd name="T1" fmla="*/ 0 h 100"/>
                <a:gd name="T2" fmla="*/ 3 w 105"/>
                <a:gd name="T3" fmla="*/ 0 h 100"/>
                <a:gd name="T4" fmla="*/ 0 w 105"/>
                <a:gd name="T5" fmla="*/ 59 h 100"/>
                <a:gd name="T6" fmla="*/ 0 w 105"/>
                <a:gd name="T7" fmla="*/ 100 h 100"/>
                <a:gd name="T8" fmla="*/ 105 w 105"/>
                <a:gd name="T9" fmla="*/ 100 h 100"/>
                <a:gd name="T10" fmla="*/ 105 w 105"/>
                <a:gd name="T11" fmla="*/ 5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100">
                  <a:moveTo>
                    <a:pt x="102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20"/>
                    <a:pt x="0" y="39"/>
                    <a:pt x="0" y="5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05" y="59"/>
                    <a:pt x="105" y="59"/>
                    <a:pt x="105" y="59"/>
                  </a:cubicBezTo>
                </a:path>
              </a:pathLst>
            </a:custGeom>
            <a:gradFill>
              <a:gsLst>
                <a:gs pos="0">
                  <a:srgbClr val="3B40A3"/>
                </a:gs>
                <a:gs pos="100000">
                  <a:srgbClr val="531B96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1" name="Rectangle 251">
              <a:extLst>
                <a:ext uri="{FF2B5EF4-FFF2-40B4-BE49-F238E27FC236}">
                  <a16:creationId xmlns:a16="http://schemas.microsoft.com/office/drawing/2014/main" id="{BE8AB54A-FA73-4244-85D7-DA8727F58E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535238" y="-2019300"/>
              <a:ext cx="122238" cy="74613"/>
            </a:xfrm>
            <a:prstGeom prst="rect">
              <a:avLst/>
            </a:prstGeom>
            <a:gradFill>
              <a:gsLst>
                <a:gs pos="0">
                  <a:srgbClr val="3B40A3"/>
                </a:gs>
                <a:gs pos="100000">
                  <a:srgbClr val="531B96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2" name="Line 252">
              <a:extLst>
                <a:ext uri="{FF2B5EF4-FFF2-40B4-BE49-F238E27FC236}">
                  <a16:creationId xmlns:a16="http://schemas.microsoft.com/office/drawing/2014/main" id="{C41FE849-AFFB-43EB-83B4-B66776B453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586038" y="-1803400"/>
              <a:ext cx="219075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3" name="Line 253">
              <a:extLst>
                <a:ext uri="{FF2B5EF4-FFF2-40B4-BE49-F238E27FC236}">
                  <a16:creationId xmlns:a16="http://schemas.microsoft.com/office/drawing/2014/main" id="{5CBB8F18-F679-4662-9A82-5C4B0E0E3B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492375" y="-1762125"/>
              <a:ext cx="146050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4" name="Line 254">
              <a:extLst>
                <a:ext uri="{FF2B5EF4-FFF2-40B4-BE49-F238E27FC236}">
                  <a16:creationId xmlns:a16="http://schemas.microsoft.com/office/drawing/2014/main" id="{2FA61E03-9DA8-438F-A371-21E77B9B46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568575" y="-1681163"/>
              <a:ext cx="96838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5" name="Line 255">
              <a:extLst>
                <a:ext uri="{FF2B5EF4-FFF2-40B4-BE49-F238E27FC236}">
                  <a16:creationId xmlns:a16="http://schemas.microsoft.com/office/drawing/2014/main" id="{BAF2A816-CBE2-4CD8-9118-64A65FA8D4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568575" y="-1203325"/>
              <a:ext cx="147638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6" name="Line 256">
              <a:extLst>
                <a:ext uri="{FF2B5EF4-FFF2-40B4-BE49-F238E27FC236}">
                  <a16:creationId xmlns:a16="http://schemas.microsoft.com/office/drawing/2014/main" id="{3CDEA4AD-2154-4C75-8F40-D5C88C0DB1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2474913" y="-1179513"/>
              <a:ext cx="115888" cy="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7" name="Freeform 257">
              <a:extLst>
                <a:ext uri="{FF2B5EF4-FFF2-40B4-BE49-F238E27FC236}">
                  <a16:creationId xmlns:a16="http://schemas.microsoft.com/office/drawing/2014/main" id="{9B74EE9C-D5E0-4E18-9A43-63F60A453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17825" y="-1490663"/>
              <a:ext cx="409575" cy="376238"/>
            </a:xfrm>
            <a:custGeom>
              <a:avLst/>
              <a:gdLst>
                <a:gd name="T0" fmla="*/ 0 w 137"/>
                <a:gd name="T1" fmla="*/ 63 h 126"/>
                <a:gd name="T2" fmla="*/ 68 w 137"/>
                <a:gd name="T3" fmla="*/ 125 h 126"/>
                <a:gd name="T4" fmla="*/ 137 w 137"/>
                <a:gd name="T5" fmla="*/ 63 h 126"/>
                <a:gd name="T6" fmla="*/ 68 w 137"/>
                <a:gd name="T7" fmla="*/ 0 h 126"/>
                <a:gd name="T8" fmla="*/ 0 w 137"/>
                <a:gd name="T9" fmla="*/ 6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26">
                  <a:moveTo>
                    <a:pt x="0" y="63"/>
                  </a:moveTo>
                  <a:cubicBezTo>
                    <a:pt x="0" y="125"/>
                    <a:pt x="30" y="125"/>
                    <a:pt x="68" y="125"/>
                  </a:cubicBezTo>
                  <a:cubicBezTo>
                    <a:pt x="106" y="125"/>
                    <a:pt x="137" y="126"/>
                    <a:pt x="137" y="63"/>
                  </a:cubicBezTo>
                  <a:cubicBezTo>
                    <a:pt x="137" y="28"/>
                    <a:pt x="106" y="0"/>
                    <a:pt x="68" y="0"/>
                  </a:cubicBezTo>
                  <a:cubicBezTo>
                    <a:pt x="30" y="0"/>
                    <a:pt x="0" y="28"/>
                    <a:pt x="0" y="6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8" name="Freeform 258">
              <a:extLst>
                <a:ext uri="{FF2B5EF4-FFF2-40B4-BE49-F238E27FC236}">
                  <a16:creationId xmlns:a16="http://schemas.microsoft.com/office/drawing/2014/main" id="{56079AF0-4FE8-4153-864B-007E8AEFA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14625" y="-1527175"/>
              <a:ext cx="138113" cy="125413"/>
            </a:xfrm>
            <a:custGeom>
              <a:avLst/>
              <a:gdLst>
                <a:gd name="T0" fmla="*/ 43 w 46"/>
                <a:gd name="T1" fmla="*/ 3 h 42"/>
                <a:gd name="T2" fmla="*/ 0 w 46"/>
                <a:gd name="T3" fmla="*/ 42 h 42"/>
                <a:gd name="T4" fmla="*/ 43 w 46"/>
                <a:gd name="T5" fmla="*/ 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2">
                  <a:moveTo>
                    <a:pt x="43" y="3"/>
                  </a:moveTo>
                  <a:cubicBezTo>
                    <a:pt x="43" y="3"/>
                    <a:pt x="0" y="0"/>
                    <a:pt x="0" y="42"/>
                  </a:cubicBezTo>
                  <a:cubicBezTo>
                    <a:pt x="46" y="42"/>
                    <a:pt x="43" y="3"/>
                    <a:pt x="43" y="3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9" name="Freeform 259">
              <a:extLst>
                <a:ext uri="{FF2B5EF4-FFF2-40B4-BE49-F238E27FC236}">
                  <a16:creationId xmlns:a16="http://schemas.microsoft.com/office/drawing/2014/main" id="{C4EB2BBA-D158-4D5D-B2C9-9574190D3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03813" y="-3795713"/>
              <a:ext cx="403225" cy="487363"/>
            </a:xfrm>
            <a:custGeom>
              <a:avLst/>
              <a:gdLst>
                <a:gd name="T0" fmla="*/ 0 w 135"/>
                <a:gd name="T1" fmla="*/ 0 h 163"/>
                <a:gd name="T2" fmla="*/ 77 w 135"/>
                <a:gd name="T3" fmla="*/ 119 h 163"/>
                <a:gd name="T4" fmla="*/ 0 w 135"/>
                <a:gd name="T5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5" h="163">
                  <a:moveTo>
                    <a:pt x="0" y="0"/>
                  </a:moveTo>
                  <a:cubicBezTo>
                    <a:pt x="0" y="0"/>
                    <a:pt x="135" y="78"/>
                    <a:pt x="77" y="119"/>
                  </a:cubicBezTo>
                  <a:cubicBezTo>
                    <a:pt x="17" y="163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0" name="Freeform 260">
              <a:extLst>
                <a:ext uri="{FF2B5EF4-FFF2-40B4-BE49-F238E27FC236}">
                  <a16:creationId xmlns:a16="http://schemas.microsoft.com/office/drawing/2014/main" id="{642E2525-B0BA-45FE-8B1D-60D882CAE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10175" y="-3395663"/>
              <a:ext cx="346075" cy="325438"/>
            </a:xfrm>
            <a:custGeom>
              <a:avLst/>
              <a:gdLst>
                <a:gd name="T0" fmla="*/ 0 w 116"/>
                <a:gd name="T1" fmla="*/ 26 h 109"/>
                <a:gd name="T2" fmla="*/ 105 w 116"/>
                <a:gd name="T3" fmla="*/ 53 h 109"/>
                <a:gd name="T4" fmla="*/ 0 w 116"/>
                <a:gd name="T5" fmla="*/ 2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6" h="109">
                  <a:moveTo>
                    <a:pt x="0" y="26"/>
                  </a:moveTo>
                  <a:cubicBezTo>
                    <a:pt x="0" y="26"/>
                    <a:pt x="116" y="0"/>
                    <a:pt x="105" y="53"/>
                  </a:cubicBezTo>
                  <a:cubicBezTo>
                    <a:pt x="93" y="109"/>
                    <a:pt x="0" y="26"/>
                    <a:pt x="0" y="26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1" name="Freeform 261">
              <a:extLst>
                <a:ext uri="{FF2B5EF4-FFF2-40B4-BE49-F238E27FC236}">
                  <a16:creationId xmlns:a16="http://schemas.microsoft.com/office/drawing/2014/main" id="{1F3DFE10-5506-49B8-8964-4351760FB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32388" y="-3003550"/>
              <a:ext cx="354013" cy="322263"/>
            </a:xfrm>
            <a:custGeom>
              <a:avLst/>
              <a:gdLst>
                <a:gd name="T0" fmla="*/ 0 w 119"/>
                <a:gd name="T1" fmla="*/ 0 h 108"/>
                <a:gd name="T2" fmla="*/ 91 w 119"/>
                <a:gd name="T3" fmla="*/ 59 h 108"/>
                <a:gd name="T4" fmla="*/ 0 w 119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9" h="108">
                  <a:moveTo>
                    <a:pt x="0" y="0"/>
                  </a:moveTo>
                  <a:cubicBezTo>
                    <a:pt x="0" y="0"/>
                    <a:pt x="119" y="11"/>
                    <a:pt x="91" y="59"/>
                  </a:cubicBezTo>
                  <a:cubicBezTo>
                    <a:pt x="63" y="10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2" name="Freeform 262">
              <a:extLst>
                <a:ext uri="{FF2B5EF4-FFF2-40B4-BE49-F238E27FC236}">
                  <a16:creationId xmlns:a16="http://schemas.microsoft.com/office/drawing/2014/main" id="{B0B3D57A-D0B4-4897-9DD4-7456BE497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56150" y="-3257550"/>
              <a:ext cx="373063" cy="298450"/>
            </a:xfrm>
            <a:custGeom>
              <a:avLst/>
              <a:gdLst>
                <a:gd name="T0" fmla="*/ 125 w 125"/>
                <a:gd name="T1" fmla="*/ 0 h 100"/>
                <a:gd name="T2" fmla="*/ 31 w 125"/>
                <a:gd name="T3" fmla="*/ 55 h 100"/>
                <a:gd name="T4" fmla="*/ 125 w 125"/>
                <a:gd name="T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" h="100">
                  <a:moveTo>
                    <a:pt x="125" y="0"/>
                  </a:moveTo>
                  <a:cubicBezTo>
                    <a:pt x="125" y="0"/>
                    <a:pt x="61" y="100"/>
                    <a:pt x="31" y="55"/>
                  </a:cubicBezTo>
                  <a:cubicBezTo>
                    <a:pt x="0" y="7"/>
                    <a:pt x="125" y="0"/>
                    <a:pt x="125" y="0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3" name="Freeform 263">
              <a:extLst>
                <a:ext uri="{FF2B5EF4-FFF2-40B4-BE49-F238E27FC236}">
                  <a16:creationId xmlns:a16="http://schemas.microsoft.com/office/drawing/2014/main" id="{CB93B565-8A3A-473F-84B1-7029490F9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3938" y="-2840038"/>
              <a:ext cx="376238" cy="301625"/>
            </a:xfrm>
            <a:custGeom>
              <a:avLst/>
              <a:gdLst>
                <a:gd name="T0" fmla="*/ 126 w 126"/>
                <a:gd name="T1" fmla="*/ 0 h 101"/>
                <a:gd name="T2" fmla="*/ 32 w 126"/>
                <a:gd name="T3" fmla="*/ 55 h 101"/>
                <a:gd name="T4" fmla="*/ 126 w 126"/>
                <a:gd name="T5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6" h="101">
                  <a:moveTo>
                    <a:pt x="126" y="0"/>
                  </a:moveTo>
                  <a:cubicBezTo>
                    <a:pt x="126" y="0"/>
                    <a:pt x="61" y="101"/>
                    <a:pt x="32" y="55"/>
                  </a:cubicBezTo>
                  <a:cubicBezTo>
                    <a:pt x="0" y="7"/>
                    <a:pt x="126" y="0"/>
                    <a:pt x="126" y="0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4" name="Freeform 264">
              <a:extLst>
                <a:ext uri="{FF2B5EF4-FFF2-40B4-BE49-F238E27FC236}">
                  <a16:creationId xmlns:a16="http://schemas.microsoft.com/office/drawing/2014/main" id="{22FCDE1F-C145-433C-BC3C-63239BA5B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62525" y="-3582988"/>
              <a:ext cx="298450" cy="1035050"/>
            </a:xfrm>
            <a:custGeom>
              <a:avLst/>
              <a:gdLst>
                <a:gd name="T0" fmla="*/ 0 w 100"/>
                <a:gd name="T1" fmla="*/ 0 h 347"/>
                <a:gd name="T2" fmla="*/ 37 w 100"/>
                <a:gd name="T3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0" h="347">
                  <a:moveTo>
                    <a:pt x="0" y="0"/>
                  </a:moveTo>
                  <a:cubicBezTo>
                    <a:pt x="0" y="0"/>
                    <a:pt x="100" y="124"/>
                    <a:pt x="37" y="347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5" name="Freeform 265">
              <a:extLst>
                <a:ext uri="{FF2B5EF4-FFF2-40B4-BE49-F238E27FC236}">
                  <a16:creationId xmlns:a16="http://schemas.microsoft.com/office/drawing/2014/main" id="{6D7478B4-67AB-4447-8C97-2B7EB5274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37113" y="-2717800"/>
              <a:ext cx="166688" cy="119063"/>
            </a:xfrm>
            <a:custGeom>
              <a:avLst/>
              <a:gdLst>
                <a:gd name="T0" fmla="*/ 56 w 56"/>
                <a:gd name="T1" fmla="*/ 0 h 40"/>
                <a:gd name="T2" fmla="*/ 0 w 56"/>
                <a:gd name="T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6" h="40">
                  <a:moveTo>
                    <a:pt x="56" y="0"/>
                  </a:moveTo>
                  <a:cubicBezTo>
                    <a:pt x="56" y="0"/>
                    <a:pt x="20" y="9"/>
                    <a:pt x="0" y="40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6" name="Freeform 266">
              <a:extLst>
                <a:ext uri="{FF2B5EF4-FFF2-40B4-BE49-F238E27FC236}">
                  <a16:creationId xmlns:a16="http://schemas.microsoft.com/office/drawing/2014/main" id="{DEDD1D00-738E-4834-90C3-6D608F58A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51413" y="-3948113"/>
              <a:ext cx="595313" cy="579438"/>
            </a:xfrm>
            <a:custGeom>
              <a:avLst/>
              <a:gdLst>
                <a:gd name="T0" fmla="*/ 199 w 199"/>
                <a:gd name="T1" fmla="*/ 0 h 194"/>
                <a:gd name="T2" fmla="*/ 73 w 199"/>
                <a:gd name="T3" fmla="*/ 134 h 194"/>
                <a:gd name="T4" fmla="*/ 199 w 199"/>
                <a:gd name="T5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9" h="194">
                  <a:moveTo>
                    <a:pt x="199" y="0"/>
                  </a:moveTo>
                  <a:cubicBezTo>
                    <a:pt x="199" y="0"/>
                    <a:pt x="143" y="194"/>
                    <a:pt x="73" y="134"/>
                  </a:cubicBezTo>
                  <a:cubicBezTo>
                    <a:pt x="0" y="72"/>
                    <a:pt x="199" y="0"/>
                    <a:pt x="199" y="0"/>
                  </a:cubicBezTo>
                  <a:close/>
                </a:path>
              </a:pathLst>
            </a:custGeom>
            <a:solidFill>
              <a:srgbClr val="7423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7" name="Freeform 267">
              <a:extLst>
                <a:ext uri="{FF2B5EF4-FFF2-40B4-BE49-F238E27FC236}">
                  <a16:creationId xmlns:a16="http://schemas.microsoft.com/office/drawing/2014/main" id="{F62947ED-AD3A-4D9B-B907-4F0963592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92663" y="-3154363"/>
              <a:ext cx="212725" cy="257175"/>
            </a:xfrm>
            <a:custGeom>
              <a:avLst/>
              <a:gdLst>
                <a:gd name="T0" fmla="*/ 71 w 71"/>
                <a:gd name="T1" fmla="*/ 0 h 86"/>
                <a:gd name="T2" fmla="*/ 0 w 71"/>
                <a:gd name="T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1" h="86">
                  <a:moveTo>
                    <a:pt x="71" y="0"/>
                  </a:moveTo>
                  <a:cubicBezTo>
                    <a:pt x="71" y="0"/>
                    <a:pt x="18" y="25"/>
                    <a:pt x="0" y="86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8" name="Freeform 268">
              <a:extLst>
                <a:ext uri="{FF2B5EF4-FFF2-40B4-BE49-F238E27FC236}">
                  <a16:creationId xmlns:a16="http://schemas.microsoft.com/office/drawing/2014/main" id="{F3F965D6-752F-4FE0-9ECF-A3B0F2264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60925" y="-3778250"/>
              <a:ext cx="357188" cy="498475"/>
            </a:xfrm>
            <a:custGeom>
              <a:avLst/>
              <a:gdLst>
                <a:gd name="T0" fmla="*/ 120 w 120"/>
                <a:gd name="T1" fmla="*/ 0 h 167"/>
                <a:gd name="T2" fmla="*/ 12 w 120"/>
                <a:gd name="T3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0" h="167">
                  <a:moveTo>
                    <a:pt x="120" y="0"/>
                  </a:moveTo>
                  <a:cubicBezTo>
                    <a:pt x="120" y="0"/>
                    <a:pt x="0" y="90"/>
                    <a:pt x="12" y="167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79" name="Freeform 269">
              <a:extLst>
                <a:ext uri="{FF2B5EF4-FFF2-40B4-BE49-F238E27FC236}">
                  <a16:creationId xmlns:a16="http://schemas.microsoft.com/office/drawing/2014/main" id="{7170D8EE-F1A6-41E5-9C34-ACC9D1FE9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05388" y="-3273425"/>
              <a:ext cx="206375" cy="149225"/>
            </a:xfrm>
            <a:custGeom>
              <a:avLst/>
              <a:gdLst>
                <a:gd name="T0" fmla="*/ 0 w 69"/>
                <a:gd name="T1" fmla="*/ 0 h 50"/>
                <a:gd name="T2" fmla="*/ 69 w 69"/>
                <a:gd name="T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9" h="50">
                  <a:moveTo>
                    <a:pt x="0" y="0"/>
                  </a:moveTo>
                  <a:cubicBezTo>
                    <a:pt x="0" y="0"/>
                    <a:pt x="42" y="1"/>
                    <a:pt x="69" y="50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0" name="Freeform 270">
              <a:extLst>
                <a:ext uri="{FF2B5EF4-FFF2-40B4-BE49-F238E27FC236}">
                  <a16:creationId xmlns:a16="http://schemas.microsoft.com/office/drawing/2014/main" id="{0E20C4DF-CCF5-4E3F-905A-20A208C99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54588" y="-2903538"/>
              <a:ext cx="141288" cy="188913"/>
            </a:xfrm>
            <a:custGeom>
              <a:avLst/>
              <a:gdLst>
                <a:gd name="T0" fmla="*/ 0 w 47"/>
                <a:gd name="T1" fmla="*/ 0 h 63"/>
                <a:gd name="T2" fmla="*/ 47 w 47"/>
                <a:gd name="T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7" h="63">
                  <a:moveTo>
                    <a:pt x="0" y="0"/>
                  </a:moveTo>
                  <a:cubicBezTo>
                    <a:pt x="0" y="0"/>
                    <a:pt x="38" y="26"/>
                    <a:pt x="47" y="63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1" name="Freeform 271">
              <a:extLst>
                <a:ext uri="{FF2B5EF4-FFF2-40B4-BE49-F238E27FC236}">
                  <a16:creationId xmlns:a16="http://schemas.microsoft.com/office/drawing/2014/main" id="{2A38B134-48CA-4B8F-B32B-6835920BD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32388" y="-3870325"/>
              <a:ext cx="427038" cy="531813"/>
            </a:xfrm>
            <a:custGeom>
              <a:avLst/>
              <a:gdLst>
                <a:gd name="T0" fmla="*/ 143 w 143"/>
                <a:gd name="T1" fmla="*/ 0 h 178"/>
                <a:gd name="T2" fmla="*/ 65 w 143"/>
                <a:gd name="T3" fmla="*/ 134 h 178"/>
                <a:gd name="T4" fmla="*/ 143 w 143"/>
                <a:gd name="T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3" h="178">
                  <a:moveTo>
                    <a:pt x="143" y="0"/>
                  </a:moveTo>
                  <a:cubicBezTo>
                    <a:pt x="143" y="0"/>
                    <a:pt x="0" y="92"/>
                    <a:pt x="65" y="134"/>
                  </a:cubicBezTo>
                  <a:cubicBezTo>
                    <a:pt x="133" y="178"/>
                    <a:pt x="143" y="0"/>
                    <a:pt x="143" y="0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2" name="Freeform 272">
              <a:extLst>
                <a:ext uri="{FF2B5EF4-FFF2-40B4-BE49-F238E27FC236}">
                  <a16:creationId xmlns:a16="http://schemas.microsoft.com/office/drawing/2014/main" id="{550A8819-5555-4CD5-9878-ADFAA23CA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48238" y="-3422650"/>
              <a:ext cx="385763" cy="352425"/>
            </a:xfrm>
            <a:custGeom>
              <a:avLst/>
              <a:gdLst>
                <a:gd name="T0" fmla="*/ 129 w 129"/>
                <a:gd name="T1" fmla="*/ 22 h 118"/>
                <a:gd name="T2" fmla="*/ 15 w 129"/>
                <a:gd name="T3" fmla="*/ 58 h 118"/>
                <a:gd name="T4" fmla="*/ 129 w 129"/>
                <a:gd name="T5" fmla="*/ 2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" h="118">
                  <a:moveTo>
                    <a:pt x="129" y="22"/>
                  </a:moveTo>
                  <a:cubicBezTo>
                    <a:pt x="129" y="22"/>
                    <a:pt x="0" y="0"/>
                    <a:pt x="15" y="58"/>
                  </a:cubicBezTo>
                  <a:cubicBezTo>
                    <a:pt x="31" y="118"/>
                    <a:pt x="129" y="22"/>
                    <a:pt x="129" y="22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3" name="Freeform 273">
              <a:extLst>
                <a:ext uri="{FF2B5EF4-FFF2-40B4-BE49-F238E27FC236}">
                  <a16:creationId xmlns:a16="http://schemas.microsoft.com/office/drawing/2014/main" id="{9BA4CC9F-8D3D-49A5-A56B-E3F96DB2F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16500" y="-3009900"/>
              <a:ext cx="385763" cy="363538"/>
            </a:xfrm>
            <a:custGeom>
              <a:avLst/>
              <a:gdLst>
                <a:gd name="T0" fmla="*/ 129 w 129"/>
                <a:gd name="T1" fmla="*/ 0 h 122"/>
                <a:gd name="T2" fmla="*/ 32 w 129"/>
                <a:gd name="T3" fmla="*/ 69 h 122"/>
                <a:gd name="T4" fmla="*/ 129 w 129"/>
                <a:gd name="T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9" h="122">
                  <a:moveTo>
                    <a:pt x="129" y="0"/>
                  </a:moveTo>
                  <a:cubicBezTo>
                    <a:pt x="129" y="0"/>
                    <a:pt x="0" y="19"/>
                    <a:pt x="32" y="69"/>
                  </a:cubicBezTo>
                  <a:cubicBezTo>
                    <a:pt x="65" y="122"/>
                    <a:pt x="129" y="0"/>
                    <a:pt x="129" y="0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4" name="Freeform 274">
              <a:extLst>
                <a:ext uri="{FF2B5EF4-FFF2-40B4-BE49-F238E27FC236}">
                  <a16:creationId xmlns:a16="http://schemas.microsoft.com/office/drawing/2014/main" id="{73BF0201-333B-40E4-9373-42B01D251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4175" y="-3249613"/>
              <a:ext cx="407988" cy="320675"/>
            </a:xfrm>
            <a:custGeom>
              <a:avLst/>
              <a:gdLst>
                <a:gd name="T0" fmla="*/ 0 w 137"/>
                <a:gd name="T1" fmla="*/ 0 h 107"/>
                <a:gd name="T2" fmla="*/ 106 w 137"/>
                <a:gd name="T3" fmla="*/ 56 h 107"/>
                <a:gd name="T4" fmla="*/ 0 w 137"/>
                <a:gd name="T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7" h="107">
                  <a:moveTo>
                    <a:pt x="0" y="0"/>
                  </a:moveTo>
                  <a:cubicBezTo>
                    <a:pt x="0" y="0"/>
                    <a:pt x="76" y="107"/>
                    <a:pt x="106" y="56"/>
                  </a:cubicBezTo>
                  <a:cubicBezTo>
                    <a:pt x="137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5" name="Freeform 275">
              <a:extLst>
                <a:ext uri="{FF2B5EF4-FFF2-40B4-BE49-F238E27FC236}">
                  <a16:creationId xmlns:a16="http://schemas.microsoft.com/office/drawing/2014/main" id="{E317C53D-C1C5-4666-A4C2-0B87F71AE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59400" y="-2795588"/>
              <a:ext cx="407988" cy="319088"/>
            </a:xfrm>
            <a:custGeom>
              <a:avLst/>
              <a:gdLst>
                <a:gd name="T0" fmla="*/ 0 w 137"/>
                <a:gd name="T1" fmla="*/ 0 h 107"/>
                <a:gd name="T2" fmla="*/ 105 w 137"/>
                <a:gd name="T3" fmla="*/ 55 h 107"/>
                <a:gd name="T4" fmla="*/ 0 w 137"/>
                <a:gd name="T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7" h="107">
                  <a:moveTo>
                    <a:pt x="0" y="0"/>
                  </a:moveTo>
                  <a:cubicBezTo>
                    <a:pt x="0" y="0"/>
                    <a:pt x="75" y="107"/>
                    <a:pt x="105" y="55"/>
                  </a:cubicBezTo>
                  <a:cubicBezTo>
                    <a:pt x="137" y="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6" name="Freeform 276">
              <a:extLst>
                <a:ext uri="{FF2B5EF4-FFF2-40B4-BE49-F238E27FC236}">
                  <a16:creationId xmlns:a16="http://schemas.microsoft.com/office/drawing/2014/main" id="{EFA3A822-1A60-4662-922C-B85ECF0E6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57788" y="-3630613"/>
              <a:ext cx="307975" cy="1133475"/>
            </a:xfrm>
            <a:custGeom>
              <a:avLst/>
              <a:gdLst>
                <a:gd name="T0" fmla="*/ 103 w 103"/>
                <a:gd name="T1" fmla="*/ 0 h 380"/>
                <a:gd name="T2" fmla="*/ 81 w 103"/>
                <a:gd name="T3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3" h="380">
                  <a:moveTo>
                    <a:pt x="103" y="0"/>
                  </a:moveTo>
                  <a:cubicBezTo>
                    <a:pt x="103" y="0"/>
                    <a:pt x="0" y="140"/>
                    <a:pt x="81" y="380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7" name="Freeform 277">
              <a:extLst>
                <a:ext uri="{FF2B5EF4-FFF2-40B4-BE49-F238E27FC236}">
                  <a16:creationId xmlns:a16="http://schemas.microsoft.com/office/drawing/2014/main" id="{B071406B-C2E0-4766-B938-51DF6A3F1DC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24450" y="-2673350"/>
              <a:ext cx="192088" cy="122238"/>
            </a:xfrm>
            <a:custGeom>
              <a:avLst/>
              <a:gdLst>
                <a:gd name="T0" fmla="*/ 0 w 64"/>
                <a:gd name="T1" fmla="*/ 0 h 41"/>
                <a:gd name="T2" fmla="*/ 64 w 64"/>
                <a:gd name="T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4" h="41">
                  <a:moveTo>
                    <a:pt x="0" y="0"/>
                  </a:moveTo>
                  <a:cubicBezTo>
                    <a:pt x="0" y="0"/>
                    <a:pt x="39" y="9"/>
                    <a:pt x="64" y="41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8" name="Freeform 278">
              <a:extLst>
                <a:ext uri="{FF2B5EF4-FFF2-40B4-BE49-F238E27FC236}">
                  <a16:creationId xmlns:a16="http://schemas.microsoft.com/office/drawing/2014/main" id="{A3B1BD79-FDBD-4E51-9CAF-836376B44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530850" y="-3998913"/>
              <a:ext cx="660400" cy="623888"/>
            </a:xfrm>
            <a:custGeom>
              <a:avLst/>
              <a:gdLst>
                <a:gd name="T0" fmla="*/ 0 w 221"/>
                <a:gd name="T1" fmla="*/ 0 h 209"/>
                <a:gd name="T2" fmla="*/ 145 w 221"/>
                <a:gd name="T3" fmla="*/ 140 h 209"/>
                <a:gd name="T4" fmla="*/ 0 w 221"/>
                <a:gd name="T5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1" h="209">
                  <a:moveTo>
                    <a:pt x="0" y="0"/>
                  </a:moveTo>
                  <a:cubicBezTo>
                    <a:pt x="0" y="0"/>
                    <a:pt x="71" y="209"/>
                    <a:pt x="145" y="140"/>
                  </a:cubicBezTo>
                  <a:cubicBezTo>
                    <a:pt x="221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B15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89" name="Freeform 279">
              <a:extLst>
                <a:ext uri="{FF2B5EF4-FFF2-40B4-BE49-F238E27FC236}">
                  <a16:creationId xmlns:a16="http://schemas.microsoft.com/office/drawing/2014/main" id="{149BE31A-D393-43B2-9CD8-BA70C81A3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-5243513" y="-3144838"/>
              <a:ext cx="244475" cy="271463"/>
            </a:xfrm>
            <a:custGeom>
              <a:avLst/>
              <a:gdLst>
                <a:gd name="T0" fmla="*/ 0 w 82"/>
                <a:gd name="T1" fmla="*/ 0 h 91"/>
                <a:gd name="T2" fmla="*/ 82 w 82"/>
                <a:gd name="T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2" h="91">
                  <a:moveTo>
                    <a:pt x="0" y="0"/>
                  </a:moveTo>
                  <a:cubicBezTo>
                    <a:pt x="0" y="0"/>
                    <a:pt x="60" y="25"/>
                    <a:pt x="82" y="91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0" name="Freeform 280">
              <a:extLst>
                <a:ext uri="{FF2B5EF4-FFF2-40B4-BE49-F238E27FC236}">
                  <a16:creationId xmlns:a16="http://schemas.microsoft.com/office/drawing/2014/main" id="{8647B94D-00D4-446F-AE76-1BBEB29926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359400" y="-3819525"/>
              <a:ext cx="403225" cy="528638"/>
            </a:xfrm>
            <a:custGeom>
              <a:avLst/>
              <a:gdLst>
                <a:gd name="T0" fmla="*/ 0 w 135"/>
                <a:gd name="T1" fmla="*/ 0 h 177"/>
                <a:gd name="T2" fmla="*/ 127 w 135"/>
                <a:gd name="T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5" h="177">
                  <a:moveTo>
                    <a:pt x="0" y="0"/>
                  </a:moveTo>
                  <a:cubicBezTo>
                    <a:pt x="0" y="0"/>
                    <a:pt x="135" y="92"/>
                    <a:pt x="127" y="177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1" name="Freeform 281">
              <a:extLst>
                <a:ext uri="{FF2B5EF4-FFF2-40B4-BE49-F238E27FC236}">
                  <a16:creationId xmlns:a16="http://schemas.microsoft.com/office/drawing/2014/main" id="{E494763E-2C68-45FE-BA41-0F15A957A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5005388" y="-3297238"/>
              <a:ext cx="219075" cy="176213"/>
            </a:xfrm>
            <a:custGeom>
              <a:avLst/>
              <a:gdLst>
                <a:gd name="T0" fmla="*/ 73 w 73"/>
                <a:gd name="T1" fmla="*/ 0 h 59"/>
                <a:gd name="T2" fmla="*/ 0 w 73"/>
                <a:gd name="T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3" h="59">
                  <a:moveTo>
                    <a:pt x="73" y="0"/>
                  </a:moveTo>
                  <a:cubicBezTo>
                    <a:pt x="73" y="0"/>
                    <a:pt x="28" y="4"/>
                    <a:pt x="0" y="59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2" name="Freeform 282">
              <a:extLst>
                <a:ext uri="{FF2B5EF4-FFF2-40B4-BE49-F238E27FC236}">
                  <a16:creationId xmlns:a16="http://schemas.microsoft.com/office/drawing/2014/main" id="{AA0B868E-490B-4BA3-B4B4-63364B949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965700" y="-2887663"/>
              <a:ext cx="142875" cy="211138"/>
            </a:xfrm>
            <a:custGeom>
              <a:avLst/>
              <a:gdLst>
                <a:gd name="T0" fmla="*/ 48 w 48"/>
                <a:gd name="T1" fmla="*/ 0 h 71"/>
                <a:gd name="T2" fmla="*/ 0 w 48"/>
                <a:gd name="T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" h="71">
                  <a:moveTo>
                    <a:pt x="48" y="0"/>
                  </a:moveTo>
                  <a:cubicBezTo>
                    <a:pt x="48" y="0"/>
                    <a:pt x="7" y="31"/>
                    <a:pt x="0" y="71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3" name="Freeform 283">
              <a:extLst>
                <a:ext uri="{FF2B5EF4-FFF2-40B4-BE49-F238E27FC236}">
                  <a16:creationId xmlns:a16="http://schemas.microsoft.com/office/drawing/2014/main" id="{3FF209E6-5308-4178-9483-F5C7C2D4B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78425" y="-2547938"/>
              <a:ext cx="574675" cy="573088"/>
            </a:xfrm>
            <a:custGeom>
              <a:avLst/>
              <a:gdLst>
                <a:gd name="T0" fmla="*/ 47 w 362"/>
                <a:gd name="T1" fmla="*/ 361 h 361"/>
                <a:gd name="T2" fmla="*/ 314 w 362"/>
                <a:gd name="T3" fmla="*/ 361 h 361"/>
                <a:gd name="T4" fmla="*/ 362 w 362"/>
                <a:gd name="T5" fmla="*/ 0 h 361"/>
                <a:gd name="T6" fmla="*/ 0 w 362"/>
                <a:gd name="T7" fmla="*/ 0 h 361"/>
                <a:gd name="T8" fmla="*/ 47 w 362"/>
                <a:gd name="T9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2" h="361">
                  <a:moveTo>
                    <a:pt x="47" y="361"/>
                  </a:moveTo>
                  <a:lnTo>
                    <a:pt x="314" y="361"/>
                  </a:lnTo>
                  <a:lnTo>
                    <a:pt x="362" y="0"/>
                  </a:lnTo>
                  <a:lnTo>
                    <a:pt x="0" y="0"/>
                  </a:lnTo>
                  <a:lnTo>
                    <a:pt x="47" y="361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4" name="Rectangle 284">
              <a:extLst>
                <a:ext uri="{FF2B5EF4-FFF2-40B4-BE49-F238E27FC236}">
                  <a16:creationId xmlns:a16="http://schemas.microsoft.com/office/drawing/2014/main" id="{036EE5B3-23E4-4B82-9F8E-CC3B0E47EB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205413" y="-2547938"/>
              <a:ext cx="615950" cy="13493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6" name="Line 286">
              <a:extLst>
                <a:ext uri="{FF2B5EF4-FFF2-40B4-BE49-F238E27FC236}">
                  <a16:creationId xmlns:a16="http://schemas.microsoft.com/office/drawing/2014/main" id="{74942C50-2AAA-4832-905D-56F50C2C09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4870450" y="-1720850"/>
              <a:ext cx="0" cy="266700"/>
            </a:xfrm>
            <a:prstGeom prst="line">
              <a:avLst/>
            </a:pr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7" name="Freeform 287">
              <a:extLst>
                <a:ext uri="{FF2B5EF4-FFF2-40B4-BE49-F238E27FC236}">
                  <a16:creationId xmlns:a16="http://schemas.microsoft.com/office/drawing/2014/main" id="{7F7DDAFC-2B43-43D2-9642-4295B075F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52725" y="-1433513"/>
              <a:ext cx="92075" cy="50800"/>
            </a:xfrm>
            <a:custGeom>
              <a:avLst/>
              <a:gdLst>
                <a:gd name="T0" fmla="*/ 0 w 31"/>
                <a:gd name="T1" fmla="*/ 0 h 17"/>
                <a:gd name="T2" fmla="*/ 31 w 31"/>
                <a:gd name="T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1" h="17">
                  <a:moveTo>
                    <a:pt x="0" y="0"/>
                  </a:moveTo>
                  <a:cubicBezTo>
                    <a:pt x="0" y="0"/>
                    <a:pt x="9" y="13"/>
                    <a:pt x="31" y="17"/>
                  </a:cubicBezTo>
                </a:path>
              </a:pathLst>
            </a:custGeom>
            <a:noFill/>
            <a:ln w="15875" cap="rnd">
              <a:solidFill>
                <a:schemeClr val="accent3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8" name="Freeform 288">
              <a:extLst>
                <a:ext uri="{FF2B5EF4-FFF2-40B4-BE49-F238E27FC236}">
                  <a16:creationId xmlns:a16="http://schemas.microsoft.com/office/drawing/2014/main" id="{DB00DC6A-85AC-4487-A16A-4DAFCF5819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519363" y="-3494088"/>
              <a:ext cx="1376363" cy="1776413"/>
            </a:xfrm>
            <a:custGeom>
              <a:avLst/>
              <a:gdLst>
                <a:gd name="T0" fmla="*/ 0 w 461"/>
                <a:gd name="T1" fmla="*/ 135 h 595"/>
                <a:gd name="T2" fmla="*/ 357 w 461"/>
                <a:gd name="T3" fmla="*/ 192 h 595"/>
                <a:gd name="T4" fmla="*/ 256 w 461"/>
                <a:gd name="T5" fmla="*/ 595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1" h="595">
                  <a:moveTo>
                    <a:pt x="0" y="135"/>
                  </a:moveTo>
                  <a:cubicBezTo>
                    <a:pt x="0" y="135"/>
                    <a:pt x="189" y="0"/>
                    <a:pt x="357" y="192"/>
                  </a:cubicBezTo>
                  <a:cubicBezTo>
                    <a:pt x="461" y="327"/>
                    <a:pt x="422" y="513"/>
                    <a:pt x="256" y="595"/>
                  </a:cubicBezTo>
                </a:path>
              </a:pathLst>
            </a:custGeom>
            <a:noFill/>
            <a:ln w="15875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309" name="Oval 1308">
            <a:extLst>
              <a:ext uri="{FF2B5EF4-FFF2-40B4-BE49-F238E27FC236}">
                <a16:creationId xmlns:a16="http://schemas.microsoft.com/office/drawing/2014/main" id="{18802491-FFCF-42FE-9B5A-961493CEB01A}"/>
              </a:ext>
            </a:extLst>
          </p:cNvPr>
          <p:cNvSpPr>
            <a:spLocks noChangeAspect="1"/>
          </p:cNvSpPr>
          <p:nvPr/>
        </p:nvSpPr>
        <p:spPr>
          <a:xfrm>
            <a:off x="10943933" y="823753"/>
            <a:ext cx="119011" cy="119008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89" name="Freeform 298">
            <a:extLst>
              <a:ext uri="{FF2B5EF4-FFF2-40B4-BE49-F238E27FC236}">
                <a16:creationId xmlns:a16="http://schemas.microsoft.com/office/drawing/2014/main" id="{3D353559-3137-4741-8946-25932564C9C8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8457321" y="1161164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CFCFBFE4-8909-4E01-AA8A-0CDBBC9C5D26}"/>
              </a:ext>
            </a:extLst>
          </p:cNvPr>
          <p:cNvSpPr>
            <a:spLocks noChangeAspect="1"/>
          </p:cNvSpPr>
          <p:nvPr/>
        </p:nvSpPr>
        <p:spPr>
          <a:xfrm>
            <a:off x="2543694" y="5483302"/>
            <a:ext cx="119011" cy="119008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4" name="Oval 333">
            <a:extLst>
              <a:ext uri="{FF2B5EF4-FFF2-40B4-BE49-F238E27FC236}">
                <a16:creationId xmlns:a16="http://schemas.microsoft.com/office/drawing/2014/main" id="{820FB32B-2EB2-4205-A826-AD62319BF259}"/>
              </a:ext>
            </a:extLst>
          </p:cNvPr>
          <p:cNvSpPr>
            <a:spLocks noChangeAspect="1"/>
          </p:cNvSpPr>
          <p:nvPr/>
        </p:nvSpPr>
        <p:spPr>
          <a:xfrm>
            <a:off x="-73046" y="697294"/>
            <a:ext cx="119011" cy="119008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5" name="Oval 334">
            <a:extLst>
              <a:ext uri="{FF2B5EF4-FFF2-40B4-BE49-F238E27FC236}">
                <a16:creationId xmlns:a16="http://schemas.microsoft.com/office/drawing/2014/main" id="{48207054-844F-40E9-A59C-ADCAA08FCB92}"/>
              </a:ext>
            </a:extLst>
          </p:cNvPr>
          <p:cNvSpPr>
            <a:spLocks noChangeAspect="1"/>
          </p:cNvSpPr>
          <p:nvPr/>
        </p:nvSpPr>
        <p:spPr>
          <a:xfrm>
            <a:off x="11488682" y="4753728"/>
            <a:ext cx="119011" cy="119008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6" name="Freeform 298">
            <a:extLst>
              <a:ext uri="{FF2B5EF4-FFF2-40B4-BE49-F238E27FC236}">
                <a16:creationId xmlns:a16="http://schemas.microsoft.com/office/drawing/2014/main" id="{1599650D-8729-4D4F-A7C5-170A8F2D523F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1166035" y="1122253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7" name="Freeform 298">
            <a:extLst>
              <a:ext uri="{FF2B5EF4-FFF2-40B4-BE49-F238E27FC236}">
                <a16:creationId xmlns:a16="http://schemas.microsoft.com/office/drawing/2014/main" id="{0D599392-771A-4036-9E6B-C176942E0025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193269" y="6151453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8" name="Freeform 298">
            <a:extLst>
              <a:ext uri="{FF2B5EF4-FFF2-40B4-BE49-F238E27FC236}">
                <a16:creationId xmlns:a16="http://schemas.microsoft.com/office/drawing/2014/main" id="{8DEDB4D5-46A8-4B37-910E-8B382A15EFEF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11239432" y="4001641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39" name="Freeform 298">
            <a:extLst>
              <a:ext uri="{FF2B5EF4-FFF2-40B4-BE49-F238E27FC236}">
                <a16:creationId xmlns:a16="http://schemas.microsoft.com/office/drawing/2014/main" id="{88CC9EFC-3E28-4D48-AE3C-84D7009A60A1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5436478" y="2007470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0" name="Freeform 298">
            <a:extLst>
              <a:ext uri="{FF2B5EF4-FFF2-40B4-BE49-F238E27FC236}">
                <a16:creationId xmlns:a16="http://schemas.microsoft.com/office/drawing/2014/main" id="{FB2ACBED-79A4-481B-BB3F-0FDB5A855F5E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3743865" y="3836270"/>
            <a:ext cx="144668" cy="144000"/>
          </a:xfrm>
          <a:custGeom>
            <a:avLst/>
            <a:gdLst>
              <a:gd name="T0" fmla="*/ 228 w 228"/>
              <a:gd name="T1" fmla="*/ 113 h 227"/>
              <a:gd name="T2" fmla="*/ 218 w 228"/>
              <a:gd name="T3" fmla="*/ 136 h 227"/>
              <a:gd name="T4" fmla="*/ 196 w 228"/>
              <a:gd name="T5" fmla="*/ 145 h 227"/>
              <a:gd name="T6" fmla="*/ 146 w 228"/>
              <a:gd name="T7" fmla="*/ 145 h 227"/>
              <a:gd name="T8" fmla="*/ 146 w 228"/>
              <a:gd name="T9" fmla="*/ 195 h 227"/>
              <a:gd name="T10" fmla="*/ 114 w 228"/>
              <a:gd name="T11" fmla="*/ 227 h 227"/>
              <a:gd name="T12" fmla="*/ 91 w 228"/>
              <a:gd name="T13" fmla="*/ 218 h 227"/>
              <a:gd name="T14" fmla="*/ 82 w 228"/>
              <a:gd name="T15" fmla="*/ 195 h 227"/>
              <a:gd name="T16" fmla="*/ 82 w 228"/>
              <a:gd name="T17" fmla="*/ 145 h 227"/>
              <a:gd name="T18" fmla="*/ 32 w 228"/>
              <a:gd name="T19" fmla="*/ 145 h 227"/>
              <a:gd name="T20" fmla="*/ 0 w 228"/>
              <a:gd name="T21" fmla="*/ 113 h 227"/>
              <a:gd name="T22" fmla="*/ 9 w 228"/>
              <a:gd name="T23" fmla="*/ 91 h 227"/>
              <a:gd name="T24" fmla="*/ 32 w 228"/>
              <a:gd name="T25" fmla="*/ 82 h 227"/>
              <a:gd name="T26" fmla="*/ 82 w 228"/>
              <a:gd name="T27" fmla="*/ 82 h 227"/>
              <a:gd name="T28" fmla="*/ 82 w 228"/>
              <a:gd name="T29" fmla="*/ 32 h 227"/>
              <a:gd name="T30" fmla="*/ 114 w 228"/>
              <a:gd name="T31" fmla="*/ 0 h 227"/>
              <a:gd name="T32" fmla="*/ 136 w 228"/>
              <a:gd name="T33" fmla="*/ 9 h 227"/>
              <a:gd name="T34" fmla="*/ 146 w 228"/>
              <a:gd name="T35" fmla="*/ 32 h 227"/>
              <a:gd name="T36" fmla="*/ 146 w 228"/>
              <a:gd name="T37" fmla="*/ 82 h 227"/>
              <a:gd name="T38" fmla="*/ 196 w 228"/>
              <a:gd name="T39" fmla="*/ 82 h 227"/>
              <a:gd name="T40" fmla="*/ 228 w 228"/>
              <a:gd name="T41" fmla="*/ 11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8" h="227">
                <a:moveTo>
                  <a:pt x="228" y="113"/>
                </a:moveTo>
                <a:cubicBezTo>
                  <a:pt x="228" y="122"/>
                  <a:pt x="224" y="130"/>
                  <a:pt x="218" y="136"/>
                </a:cubicBezTo>
                <a:cubicBezTo>
                  <a:pt x="212" y="142"/>
                  <a:pt x="204" y="145"/>
                  <a:pt x="196" y="145"/>
                </a:cubicBezTo>
                <a:cubicBezTo>
                  <a:pt x="146" y="145"/>
                  <a:pt x="146" y="145"/>
                  <a:pt x="146" y="145"/>
                </a:cubicBezTo>
                <a:cubicBezTo>
                  <a:pt x="146" y="195"/>
                  <a:pt x="146" y="195"/>
                  <a:pt x="146" y="195"/>
                </a:cubicBezTo>
                <a:cubicBezTo>
                  <a:pt x="146" y="213"/>
                  <a:pt x="131" y="227"/>
                  <a:pt x="114" y="227"/>
                </a:cubicBezTo>
                <a:cubicBezTo>
                  <a:pt x="105" y="227"/>
                  <a:pt x="97" y="224"/>
                  <a:pt x="91" y="218"/>
                </a:cubicBezTo>
                <a:cubicBezTo>
                  <a:pt x="86" y="212"/>
                  <a:pt x="82" y="204"/>
                  <a:pt x="82" y="195"/>
                </a:cubicBezTo>
                <a:cubicBezTo>
                  <a:pt x="82" y="145"/>
                  <a:pt x="82" y="145"/>
                  <a:pt x="82" y="145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14" y="145"/>
                  <a:pt x="0" y="131"/>
                  <a:pt x="0" y="113"/>
                </a:cubicBezTo>
                <a:cubicBezTo>
                  <a:pt x="0" y="105"/>
                  <a:pt x="4" y="97"/>
                  <a:pt x="9" y="91"/>
                </a:cubicBezTo>
                <a:cubicBezTo>
                  <a:pt x="15" y="85"/>
                  <a:pt x="23" y="82"/>
                  <a:pt x="32" y="82"/>
                </a:cubicBezTo>
                <a:cubicBezTo>
                  <a:pt x="82" y="82"/>
                  <a:pt x="82" y="82"/>
                  <a:pt x="82" y="8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14"/>
                  <a:pt x="96" y="0"/>
                  <a:pt x="114" y="0"/>
                </a:cubicBezTo>
                <a:cubicBezTo>
                  <a:pt x="123" y="0"/>
                  <a:pt x="131" y="3"/>
                  <a:pt x="136" y="9"/>
                </a:cubicBezTo>
                <a:cubicBezTo>
                  <a:pt x="142" y="15"/>
                  <a:pt x="146" y="23"/>
                  <a:pt x="146" y="32"/>
                </a:cubicBezTo>
                <a:cubicBezTo>
                  <a:pt x="146" y="82"/>
                  <a:pt x="146" y="82"/>
                  <a:pt x="146" y="82"/>
                </a:cubicBezTo>
                <a:cubicBezTo>
                  <a:pt x="196" y="82"/>
                  <a:pt x="196" y="82"/>
                  <a:pt x="196" y="82"/>
                </a:cubicBezTo>
                <a:cubicBezTo>
                  <a:pt x="213" y="82"/>
                  <a:pt x="228" y="96"/>
                  <a:pt x="228" y="113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304800" dist="38100" dir="10800000" algn="r" rotWithShape="0">
              <a:schemeClr val="accent4">
                <a:lumMod val="20000"/>
                <a:lumOff val="80000"/>
                <a:alpha val="89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93" name="Group 292">
            <a:extLst>
              <a:ext uri="{FF2B5EF4-FFF2-40B4-BE49-F238E27FC236}">
                <a16:creationId xmlns:a16="http://schemas.microsoft.com/office/drawing/2014/main" id="{E90C16BA-DC56-4CAD-AD59-937C10122922}"/>
              </a:ext>
            </a:extLst>
          </p:cNvPr>
          <p:cNvGrpSpPr/>
          <p:nvPr/>
        </p:nvGrpSpPr>
        <p:grpSpPr>
          <a:xfrm>
            <a:off x="7769289" y="2461887"/>
            <a:ext cx="3801781" cy="1173671"/>
            <a:chOff x="507538" y="2253978"/>
            <a:chExt cx="3801781" cy="1173671"/>
          </a:xfrm>
        </p:grpSpPr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093A75B5-AD7B-4468-9BB8-93EBD7C100D1}"/>
                </a:ext>
              </a:extLst>
            </p:cNvPr>
            <p:cNvSpPr txBox="1"/>
            <p:nvPr/>
          </p:nvSpPr>
          <p:spPr>
            <a:xfrm>
              <a:off x="515938" y="2253978"/>
              <a:ext cx="3793381" cy="88639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Спасибо за внимание!</a:t>
              </a:r>
              <a:endPara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92" name="Group 291">
              <a:extLst>
                <a:ext uri="{FF2B5EF4-FFF2-40B4-BE49-F238E27FC236}">
                  <a16:creationId xmlns:a16="http://schemas.microsoft.com/office/drawing/2014/main" id="{024AADD3-3E76-4079-8D8A-954CFB67BAE1}"/>
                </a:ext>
              </a:extLst>
            </p:cNvPr>
            <p:cNvGrpSpPr/>
            <p:nvPr/>
          </p:nvGrpSpPr>
          <p:grpSpPr>
            <a:xfrm>
              <a:off x="507538" y="3311281"/>
              <a:ext cx="815845" cy="116368"/>
              <a:chOff x="507538" y="3856956"/>
              <a:chExt cx="1171415" cy="154886"/>
            </a:xfrm>
          </p:grpSpPr>
          <p:sp>
            <p:nvSpPr>
              <p:cNvPr id="291" name="Rectangle: Rounded Corners 290">
                <a:extLst>
                  <a:ext uri="{FF2B5EF4-FFF2-40B4-BE49-F238E27FC236}">
                    <a16:creationId xmlns:a16="http://schemas.microsoft.com/office/drawing/2014/main" id="{B4FBE7C8-AAF4-4E3E-B736-A22F82496514}"/>
                  </a:ext>
                </a:extLst>
              </p:cNvPr>
              <p:cNvSpPr/>
              <p:nvPr/>
            </p:nvSpPr>
            <p:spPr>
              <a:xfrm>
                <a:off x="507538" y="3856956"/>
                <a:ext cx="809465" cy="154886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F5748A"/>
                  </a:gs>
                  <a:gs pos="100000">
                    <a:srgbClr val="531B96"/>
                  </a:gs>
                </a:gsLst>
                <a:lin ang="2700000" scaled="0"/>
              </a:gradFill>
              <a:ln>
                <a:noFill/>
              </a:ln>
              <a:effectLst>
                <a:outerShdw blurRad="177800" dist="38100" dir="5400000" algn="t" rotWithShape="0">
                  <a:schemeClr val="accent3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43" name="Rectangle: Rounded Corners 342">
                <a:extLst>
                  <a:ext uri="{FF2B5EF4-FFF2-40B4-BE49-F238E27FC236}">
                    <a16:creationId xmlns:a16="http://schemas.microsoft.com/office/drawing/2014/main" id="{5B55FDEC-5E5A-4A2B-874F-098FD30BE19A}"/>
                  </a:ext>
                </a:extLst>
              </p:cNvPr>
              <p:cNvSpPr/>
              <p:nvPr/>
            </p:nvSpPr>
            <p:spPr>
              <a:xfrm>
                <a:off x="869488" y="3856956"/>
                <a:ext cx="809465" cy="154886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0">
                    <a:srgbClr val="A9CDFF"/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2700000" scaled="0"/>
              </a:gradFill>
              <a:ln>
                <a:noFill/>
              </a:ln>
              <a:effectLst>
                <a:outerShdw blurRad="177800" dist="38100" dir="5400000" algn="t" rotWithShape="0">
                  <a:schemeClr val="accent3"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4" name="Google Shape;198;p27">
            <a:extLst>
              <a:ext uri="{FF2B5EF4-FFF2-40B4-BE49-F238E27FC236}">
                <a16:creationId xmlns:a16="http://schemas.microsoft.com/office/drawing/2014/main" id="{9E57C927-BDE7-4397-882D-925F63F03444}"/>
              </a:ext>
            </a:extLst>
          </p:cNvPr>
          <p:cNvSpPr txBox="1">
            <a:spLocks/>
          </p:cNvSpPr>
          <p:nvPr/>
        </p:nvSpPr>
        <p:spPr>
          <a:xfrm>
            <a:off x="7649455" y="3917838"/>
            <a:ext cx="4237746" cy="130000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25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чаковская Н.С., 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25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учитель русского языка</a:t>
            </a:r>
            <a:br>
              <a:rPr lang="ru-RU" sz="25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ru-RU" sz="25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и литературы</a:t>
            </a:r>
            <a:br>
              <a:rPr lang="ru-RU" sz="25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ru-RU" sz="25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МАОУ Гимназии № 4</a:t>
            </a:r>
            <a:br>
              <a:rPr lang="ru-RU" sz="2500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ru-RU" sz="25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г. Красноярска</a:t>
            </a:r>
          </a:p>
        </p:txBody>
      </p:sp>
    </p:spTree>
    <p:extLst>
      <p:ext uri="{BB962C8B-B14F-4D97-AF65-F5344CB8AC3E}">
        <p14:creationId xmlns:p14="http://schemas.microsoft.com/office/powerpoint/2010/main" val="26860483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8C65F9-9064-40D0-8147-1B957E7AC2C4}"/>
              </a:ext>
            </a:extLst>
          </p:cNvPr>
          <p:cNvSpPr/>
          <p:nvPr/>
        </p:nvSpPr>
        <p:spPr>
          <a:xfrm>
            <a:off x="0" y="0"/>
            <a:ext cx="12191996" cy="2943224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5" name="Graphic 2">
            <a:extLst>
              <a:ext uri="{FF2B5EF4-FFF2-40B4-BE49-F238E27FC236}">
                <a16:creationId xmlns:a16="http://schemas.microsoft.com/office/drawing/2014/main" id="{D8D77915-D895-4408-836D-BC5D45371753}"/>
              </a:ext>
            </a:extLst>
          </p:cNvPr>
          <p:cNvGrpSpPr/>
          <p:nvPr/>
        </p:nvGrpSpPr>
        <p:grpSpPr>
          <a:xfrm>
            <a:off x="0" y="-91644"/>
            <a:ext cx="12184441" cy="3584691"/>
            <a:chOff x="0" y="-91644"/>
            <a:chExt cx="12184441" cy="3584691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27AF5C6-5287-464C-A94F-BFF5E8D34F67}"/>
                </a:ext>
              </a:extLst>
            </p:cNvPr>
            <p:cNvSpPr/>
            <p:nvPr/>
          </p:nvSpPr>
          <p:spPr>
            <a:xfrm>
              <a:off x="8765561" y="1049728"/>
              <a:ext cx="3413760" cy="2243327"/>
            </a:xfrm>
            <a:custGeom>
              <a:avLst/>
              <a:gdLst>
                <a:gd name="connsiteX0" fmla="*/ 0 w 3413760"/>
                <a:gd name="connsiteY0" fmla="*/ 2258489 h 2243327"/>
                <a:gd name="connsiteX1" fmla="*/ 3426440 w 3413760"/>
                <a:gd name="connsiteY1" fmla="*/ 2258489 h 2243327"/>
                <a:gd name="connsiteX2" fmla="*/ 3426440 w 3413760"/>
                <a:gd name="connsiteY2" fmla="*/ 498208 h 2243327"/>
                <a:gd name="connsiteX3" fmla="*/ 2979724 w 3413760"/>
                <a:gd name="connsiteY3" fmla="*/ 788134 h 2243327"/>
                <a:gd name="connsiteX4" fmla="*/ 2471806 w 3413760"/>
                <a:gd name="connsiteY4" fmla="*/ 43 h 2243327"/>
                <a:gd name="connsiteX5" fmla="*/ 1867814 w 3413760"/>
                <a:gd name="connsiteY5" fmla="*/ 932243 h 2243327"/>
                <a:gd name="connsiteX6" fmla="*/ 1078016 w 3413760"/>
                <a:gd name="connsiteY6" fmla="*/ 932243 h 2243327"/>
                <a:gd name="connsiteX7" fmla="*/ 753465 w 3413760"/>
                <a:gd name="connsiteY7" fmla="*/ 1722528 h 2243327"/>
                <a:gd name="connsiteX8" fmla="*/ 0 w 3413760"/>
                <a:gd name="connsiteY8" fmla="*/ 2258489 h 22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13760" h="2243327">
                  <a:moveTo>
                    <a:pt x="0" y="2258489"/>
                  </a:moveTo>
                  <a:lnTo>
                    <a:pt x="3426440" y="2258489"/>
                  </a:lnTo>
                  <a:lnTo>
                    <a:pt x="3426440" y="498208"/>
                  </a:lnTo>
                  <a:cubicBezTo>
                    <a:pt x="3213080" y="466997"/>
                    <a:pt x="3150412" y="779843"/>
                    <a:pt x="2979724" y="788134"/>
                  </a:cubicBezTo>
                  <a:cubicBezTo>
                    <a:pt x="2774655" y="797887"/>
                    <a:pt x="2735397" y="-6784"/>
                    <a:pt x="2471806" y="43"/>
                  </a:cubicBezTo>
                  <a:cubicBezTo>
                    <a:pt x="2207971" y="6627"/>
                    <a:pt x="2143354" y="812274"/>
                    <a:pt x="1867814" y="932243"/>
                  </a:cubicBezTo>
                  <a:cubicBezTo>
                    <a:pt x="1592519" y="1051969"/>
                    <a:pt x="1247242" y="656216"/>
                    <a:pt x="1078016" y="932243"/>
                  </a:cubicBezTo>
                  <a:cubicBezTo>
                    <a:pt x="908547" y="1208270"/>
                    <a:pt x="1047781" y="1728624"/>
                    <a:pt x="753465" y="1722528"/>
                  </a:cubicBezTo>
                  <a:cubicBezTo>
                    <a:pt x="459150" y="1716189"/>
                    <a:pt x="19507" y="1608899"/>
                    <a:pt x="0" y="2258489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7D986F0-928E-4E29-A80C-AEE9EFDA257C}"/>
                </a:ext>
              </a:extLst>
            </p:cNvPr>
            <p:cNvSpPr/>
            <p:nvPr/>
          </p:nvSpPr>
          <p:spPr>
            <a:xfrm>
              <a:off x="11243706" y="1357009"/>
              <a:ext cx="48768" cy="1950719"/>
            </a:xfrm>
            <a:custGeom>
              <a:avLst/>
              <a:gdLst>
                <a:gd name="connsiteX0" fmla="*/ 0 w 48768"/>
                <a:gd name="connsiteY0" fmla="*/ 0 h 1950719"/>
                <a:gd name="connsiteX1" fmla="*/ 13168 w 48768"/>
                <a:gd name="connsiteY1" fmla="*/ 1952914 h 1950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950719">
                  <a:moveTo>
                    <a:pt x="0" y="0"/>
                  </a:moveTo>
                  <a:cubicBezTo>
                    <a:pt x="0" y="0"/>
                    <a:pt x="100950" y="1157508"/>
                    <a:pt x="13168" y="1952914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C785E83-F6A5-4C2D-95FA-712DF75BD973}"/>
                </a:ext>
              </a:extLst>
            </p:cNvPr>
            <p:cNvSpPr/>
            <p:nvPr/>
          </p:nvSpPr>
          <p:spPr>
            <a:xfrm>
              <a:off x="12126163" y="3071691"/>
              <a:ext cx="48768" cy="219456"/>
            </a:xfrm>
            <a:custGeom>
              <a:avLst/>
              <a:gdLst>
                <a:gd name="connsiteX0" fmla="*/ 65837 w 48768"/>
                <a:gd name="connsiteY0" fmla="*/ 0 h 219455"/>
                <a:gd name="connsiteX1" fmla="*/ 0 w 48768"/>
                <a:gd name="connsiteY1" fmla="*/ 231648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219455">
                  <a:moveTo>
                    <a:pt x="65837" y="0"/>
                  </a:moveTo>
                  <a:cubicBezTo>
                    <a:pt x="49012" y="86807"/>
                    <a:pt x="27554" y="165811"/>
                    <a:pt x="0" y="23164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929AC63-569D-4B72-9302-2C207AB18971}"/>
                </a:ext>
              </a:extLst>
            </p:cNvPr>
            <p:cNvSpPr/>
            <p:nvPr/>
          </p:nvSpPr>
          <p:spPr>
            <a:xfrm>
              <a:off x="12101779" y="1886629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90221 w 73152"/>
                <a:gd name="connsiteY1" fmla="*/ 87782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90221" y="877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ED061E2-DB6C-4619-8FF7-25D4C1E3577F}"/>
                </a:ext>
              </a:extLst>
            </p:cNvPr>
            <p:cNvSpPr/>
            <p:nvPr/>
          </p:nvSpPr>
          <p:spPr>
            <a:xfrm>
              <a:off x="12035942" y="2214594"/>
              <a:ext cx="146304" cy="97536"/>
            </a:xfrm>
            <a:custGeom>
              <a:avLst/>
              <a:gdLst>
                <a:gd name="connsiteX0" fmla="*/ 0 w 146304"/>
                <a:gd name="connsiteY0" fmla="*/ 0 h 97535"/>
                <a:gd name="connsiteX1" fmla="*/ 156058 w 146304"/>
                <a:gd name="connsiteY1" fmla="*/ 118262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97535">
                  <a:moveTo>
                    <a:pt x="0" y="0"/>
                  </a:moveTo>
                  <a:lnTo>
                    <a:pt x="156058" y="11826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1A7E89C-D70A-4B03-B62C-F000EE899C99}"/>
                </a:ext>
              </a:extLst>
            </p:cNvPr>
            <p:cNvSpPr/>
            <p:nvPr/>
          </p:nvSpPr>
          <p:spPr>
            <a:xfrm>
              <a:off x="11989369" y="2507934"/>
              <a:ext cx="195072" cy="146304"/>
            </a:xfrm>
            <a:custGeom>
              <a:avLst/>
              <a:gdLst>
                <a:gd name="connsiteX0" fmla="*/ 0 w 195072"/>
                <a:gd name="connsiteY0" fmla="*/ 0 h 146303"/>
                <a:gd name="connsiteX1" fmla="*/ 202631 w 195072"/>
                <a:gd name="connsiteY1" fmla="*/ 15947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46303">
                  <a:moveTo>
                    <a:pt x="0" y="0"/>
                  </a:moveTo>
                  <a:lnTo>
                    <a:pt x="202631" y="15947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AFF682B-0D2A-454C-A62A-1F1748367914}"/>
                </a:ext>
              </a:extLst>
            </p:cNvPr>
            <p:cNvSpPr/>
            <p:nvPr/>
          </p:nvSpPr>
          <p:spPr>
            <a:xfrm>
              <a:off x="11261019" y="1433819"/>
              <a:ext cx="97536" cy="146304"/>
            </a:xfrm>
            <a:custGeom>
              <a:avLst/>
              <a:gdLst>
                <a:gd name="connsiteX0" fmla="*/ 116068 w 97536"/>
                <a:gd name="connsiteY0" fmla="*/ 0 h 146303"/>
                <a:gd name="connsiteX1" fmla="*/ 0 w 97536"/>
                <a:gd name="connsiteY1" fmla="*/ 16312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16068" y="0"/>
                  </a:moveTo>
                  <a:lnTo>
                    <a:pt x="0" y="16312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6629E6-15BE-4150-A207-A9E00FC54C4B}"/>
                </a:ext>
              </a:extLst>
            </p:cNvPr>
            <p:cNvSpPr/>
            <p:nvPr/>
          </p:nvSpPr>
          <p:spPr>
            <a:xfrm>
              <a:off x="11038637" y="1534281"/>
              <a:ext cx="219456" cy="219456"/>
            </a:xfrm>
            <a:custGeom>
              <a:avLst/>
              <a:gdLst>
                <a:gd name="connsiteX0" fmla="*/ 0 w 219456"/>
                <a:gd name="connsiteY0" fmla="*/ 0 h 219455"/>
                <a:gd name="connsiteX1" fmla="*/ 231892 w 219456"/>
                <a:gd name="connsiteY1" fmla="*/ 223357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19455">
                  <a:moveTo>
                    <a:pt x="0" y="0"/>
                  </a:moveTo>
                  <a:lnTo>
                    <a:pt x="231892" y="2233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387AFEB-E764-4BDD-BD02-9F754F07238E}"/>
                </a:ext>
              </a:extLst>
            </p:cNvPr>
            <p:cNvSpPr/>
            <p:nvPr/>
          </p:nvSpPr>
          <p:spPr>
            <a:xfrm>
              <a:off x="11285403" y="1829815"/>
              <a:ext cx="243840" cy="268224"/>
            </a:xfrm>
            <a:custGeom>
              <a:avLst/>
              <a:gdLst>
                <a:gd name="connsiteX0" fmla="*/ 244815 w 243840"/>
                <a:gd name="connsiteY0" fmla="*/ 0 h 268223"/>
                <a:gd name="connsiteX1" fmla="*/ 0 w 243840"/>
                <a:gd name="connsiteY1" fmla="*/ 272857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68223">
                  <a:moveTo>
                    <a:pt x="244815" y="0"/>
                  </a:moveTo>
                  <a:lnTo>
                    <a:pt x="0" y="2728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33F58C6-1A25-40DF-AF74-FE9627A7E967}"/>
                </a:ext>
              </a:extLst>
            </p:cNvPr>
            <p:cNvSpPr/>
            <p:nvPr/>
          </p:nvSpPr>
          <p:spPr>
            <a:xfrm>
              <a:off x="10918180" y="1966121"/>
              <a:ext cx="365760" cy="365760"/>
            </a:xfrm>
            <a:custGeom>
              <a:avLst/>
              <a:gdLst>
                <a:gd name="connsiteX0" fmla="*/ 0 w 365760"/>
                <a:gd name="connsiteY0" fmla="*/ 0 h 365759"/>
                <a:gd name="connsiteX1" fmla="*/ 374538 w 365760"/>
                <a:gd name="connsiteY1" fmla="*/ 367223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760" h="365759">
                  <a:moveTo>
                    <a:pt x="0" y="0"/>
                  </a:moveTo>
                  <a:lnTo>
                    <a:pt x="374538" y="367223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05A9F5-E3FD-47DF-A624-5B1166595FB9}"/>
                </a:ext>
              </a:extLst>
            </p:cNvPr>
            <p:cNvSpPr/>
            <p:nvPr/>
          </p:nvSpPr>
          <p:spPr>
            <a:xfrm>
              <a:off x="11292474" y="2149733"/>
              <a:ext cx="438912" cy="414528"/>
            </a:xfrm>
            <a:custGeom>
              <a:avLst/>
              <a:gdLst>
                <a:gd name="connsiteX0" fmla="*/ 443057 w 438912"/>
                <a:gd name="connsiteY0" fmla="*/ 0 h 414527"/>
                <a:gd name="connsiteX1" fmla="*/ 0 w 438912"/>
                <a:gd name="connsiteY1" fmla="*/ 427451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8912" h="414527">
                  <a:moveTo>
                    <a:pt x="443057" y="0"/>
                  </a:moveTo>
                  <a:lnTo>
                    <a:pt x="0" y="4274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FA883DC-092C-4BA7-903B-CE206E5B5165}"/>
                </a:ext>
              </a:extLst>
            </p:cNvPr>
            <p:cNvSpPr/>
            <p:nvPr/>
          </p:nvSpPr>
          <p:spPr>
            <a:xfrm>
              <a:off x="10797479" y="2428686"/>
              <a:ext cx="487680" cy="438912"/>
            </a:xfrm>
            <a:custGeom>
              <a:avLst/>
              <a:gdLst>
                <a:gd name="connsiteX0" fmla="*/ 0 w 487680"/>
                <a:gd name="connsiteY0" fmla="*/ 0 h 438911"/>
                <a:gd name="connsiteX1" fmla="*/ 489143 w 487680"/>
                <a:gd name="connsiteY1" fmla="*/ 448422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0" h="438911">
                  <a:moveTo>
                    <a:pt x="0" y="0"/>
                  </a:moveTo>
                  <a:lnTo>
                    <a:pt x="489143" y="44842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20362A7-DEF4-4AF5-9222-C2CAEF4355C4}"/>
                </a:ext>
              </a:extLst>
            </p:cNvPr>
            <p:cNvSpPr/>
            <p:nvPr/>
          </p:nvSpPr>
          <p:spPr>
            <a:xfrm>
              <a:off x="11278819" y="2679109"/>
              <a:ext cx="512064" cy="341376"/>
            </a:xfrm>
            <a:custGeom>
              <a:avLst/>
              <a:gdLst>
                <a:gd name="connsiteX0" fmla="*/ 524987 w 512064"/>
                <a:gd name="connsiteY0" fmla="*/ 0 h 341375"/>
                <a:gd name="connsiteX1" fmla="*/ 0 w 512064"/>
                <a:gd name="connsiteY1" fmla="*/ 36454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2064" h="341375">
                  <a:moveTo>
                    <a:pt x="524987" y="0"/>
                  </a:moveTo>
                  <a:lnTo>
                    <a:pt x="0" y="3645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E96689F-A080-4032-AF87-666EE826E4F1}"/>
                </a:ext>
              </a:extLst>
            </p:cNvPr>
            <p:cNvSpPr/>
            <p:nvPr/>
          </p:nvSpPr>
          <p:spPr>
            <a:xfrm>
              <a:off x="10056206" y="2149733"/>
              <a:ext cx="195072" cy="1146048"/>
            </a:xfrm>
            <a:custGeom>
              <a:avLst/>
              <a:gdLst>
                <a:gd name="connsiteX0" fmla="*/ 0 w 195072"/>
                <a:gd name="connsiteY0" fmla="*/ 0 h 1146047"/>
                <a:gd name="connsiteX1" fmla="*/ 208483 w 195072"/>
                <a:gd name="connsiteY1" fmla="*/ 1159947 h 114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146047">
                  <a:moveTo>
                    <a:pt x="0" y="0"/>
                  </a:moveTo>
                  <a:cubicBezTo>
                    <a:pt x="0" y="0"/>
                    <a:pt x="192146" y="592531"/>
                    <a:pt x="208483" y="115994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52B809-45E2-4DEB-8D43-0746B47A7242}"/>
                </a:ext>
              </a:extLst>
            </p:cNvPr>
            <p:cNvSpPr/>
            <p:nvPr/>
          </p:nvSpPr>
          <p:spPr>
            <a:xfrm>
              <a:off x="10122774" y="2200208"/>
              <a:ext cx="48768" cy="170688"/>
            </a:xfrm>
            <a:custGeom>
              <a:avLst/>
              <a:gdLst>
                <a:gd name="connsiteX0" fmla="*/ 70226 w 48768"/>
                <a:gd name="connsiteY0" fmla="*/ 0 h 170687"/>
                <a:gd name="connsiteX1" fmla="*/ 0 w 48768"/>
                <a:gd name="connsiteY1" fmla="*/ 186294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70687">
                  <a:moveTo>
                    <a:pt x="70226" y="0"/>
                  </a:moveTo>
                  <a:lnTo>
                    <a:pt x="0" y="18629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4132E27-5C8B-4140-AF2C-0DA11251F028}"/>
                </a:ext>
              </a:extLst>
            </p:cNvPr>
            <p:cNvSpPr/>
            <p:nvPr/>
          </p:nvSpPr>
          <p:spPr>
            <a:xfrm>
              <a:off x="10202509" y="2294086"/>
              <a:ext cx="195072" cy="438912"/>
            </a:xfrm>
            <a:custGeom>
              <a:avLst/>
              <a:gdLst>
                <a:gd name="connsiteX0" fmla="*/ 218481 w 195072"/>
                <a:gd name="connsiteY0" fmla="*/ 0 h 438911"/>
                <a:gd name="connsiteX1" fmla="*/ 0 w 195072"/>
                <a:gd name="connsiteY1" fmla="*/ 457688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438911">
                  <a:moveTo>
                    <a:pt x="218481" y="0"/>
                  </a:moveTo>
                  <a:lnTo>
                    <a:pt x="0" y="45768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3510742-BEC5-4745-824F-1E8880BC88E6}"/>
                </a:ext>
              </a:extLst>
            </p:cNvPr>
            <p:cNvSpPr/>
            <p:nvPr/>
          </p:nvSpPr>
          <p:spPr>
            <a:xfrm>
              <a:off x="10249571" y="2698616"/>
              <a:ext cx="219456" cy="365760"/>
            </a:xfrm>
            <a:custGeom>
              <a:avLst/>
              <a:gdLst>
                <a:gd name="connsiteX0" fmla="*/ 233355 w 219456"/>
                <a:gd name="connsiteY0" fmla="*/ 0 h 365759"/>
                <a:gd name="connsiteX1" fmla="*/ 0 w 219456"/>
                <a:gd name="connsiteY1" fmla="*/ 384292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365759">
                  <a:moveTo>
                    <a:pt x="233355" y="0"/>
                  </a:moveTo>
                  <a:lnTo>
                    <a:pt x="0" y="38429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1277AEB-7279-47B5-A074-F309964A3D57}"/>
                </a:ext>
              </a:extLst>
            </p:cNvPr>
            <p:cNvSpPr/>
            <p:nvPr/>
          </p:nvSpPr>
          <p:spPr>
            <a:xfrm>
              <a:off x="9968423" y="2373822"/>
              <a:ext cx="170688" cy="73152"/>
            </a:xfrm>
            <a:custGeom>
              <a:avLst/>
              <a:gdLst>
                <a:gd name="connsiteX0" fmla="*/ 0 w 170688"/>
                <a:gd name="connsiteY0" fmla="*/ 0 h 73151"/>
                <a:gd name="connsiteX1" fmla="*/ 172882 w 170688"/>
                <a:gd name="connsiteY1" fmla="*/ 8705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73151">
                  <a:moveTo>
                    <a:pt x="0" y="0"/>
                  </a:moveTo>
                  <a:lnTo>
                    <a:pt x="172882" y="870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C664493-5E34-456F-A6DE-D0E8AE23B777}"/>
                </a:ext>
              </a:extLst>
            </p:cNvPr>
            <p:cNvSpPr/>
            <p:nvPr/>
          </p:nvSpPr>
          <p:spPr>
            <a:xfrm>
              <a:off x="9874057" y="2652774"/>
              <a:ext cx="316992" cy="146304"/>
            </a:xfrm>
            <a:custGeom>
              <a:avLst/>
              <a:gdLst>
                <a:gd name="connsiteX0" fmla="*/ 0 w 316992"/>
                <a:gd name="connsiteY0" fmla="*/ 0 h 146303"/>
                <a:gd name="connsiteX1" fmla="*/ 340889 w 316992"/>
                <a:gd name="connsiteY1" fmla="*/ 170200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146303">
                  <a:moveTo>
                    <a:pt x="0" y="0"/>
                  </a:moveTo>
                  <a:lnTo>
                    <a:pt x="340889" y="1702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6D0E4E7-13F0-4DB2-9F5B-06A6C8D0D914}"/>
                </a:ext>
              </a:extLst>
            </p:cNvPr>
            <p:cNvSpPr/>
            <p:nvPr/>
          </p:nvSpPr>
          <p:spPr>
            <a:xfrm>
              <a:off x="9947453" y="3009756"/>
              <a:ext cx="292608" cy="97536"/>
            </a:xfrm>
            <a:custGeom>
              <a:avLst/>
              <a:gdLst>
                <a:gd name="connsiteX0" fmla="*/ 0 w 292608"/>
                <a:gd name="connsiteY0" fmla="*/ 0 h 97535"/>
                <a:gd name="connsiteX1" fmla="*/ 306507 w 292608"/>
                <a:gd name="connsiteY1" fmla="*/ 118750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608" h="97535">
                  <a:moveTo>
                    <a:pt x="0" y="0"/>
                  </a:moveTo>
                  <a:lnTo>
                    <a:pt x="306507" y="11875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749D8B2-2519-4E11-BE5E-3F8BB8C102FB}"/>
                </a:ext>
              </a:extLst>
            </p:cNvPr>
            <p:cNvSpPr/>
            <p:nvPr/>
          </p:nvSpPr>
          <p:spPr>
            <a:xfrm>
              <a:off x="8722347" y="1691694"/>
              <a:ext cx="1560576" cy="1609344"/>
            </a:xfrm>
            <a:custGeom>
              <a:avLst/>
              <a:gdLst>
                <a:gd name="connsiteX0" fmla="*/ 1563068 w 1560576"/>
                <a:gd name="connsiteY0" fmla="*/ 1616522 h 1609343"/>
                <a:gd name="connsiteX1" fmla="*/ 1304597 w 1560576"/>
                <a:gd name="connsiteY1" fmla="*/ 917920 h 1609343"/>
                <a:gd name="connsiteX2" fmla="*/ 951760 w 1560576"/>
                <a:gd name="connsiteY2" fmla="*/ 537286 h 1609343"/>
                <a:gd name="connsiteX3" fmla="*/ 665493 w 1560576"/>
                <a:gd name="connsiteY3" fmla="*/ 3277 h 1609343"/>
                <a:gd name="connsiteX4" fmla="*/ 379225 w 1560576"/>
                <a:gd name="connsiteY4" fmla="*/ 584347 h 1609343"/>
                <a:gd name="connsiteX5" fmla="*/ 67840 w 1560576"/>
                <a:gd name="connsiteY5" fmla="*/ 955472 h 1609343"/>
                <a:gd name="connsiteX6" fmla="*/ 77838 w 1560576"/>
                <a:gd name="connsiteY6" fmla="*/ 1616278 h 1609343"/>
                <a:gd name="connsiteX7" fmla="*/ 1563068 w 1560576"/>
                <a:gd name="connsiteY7" fmla="*/ 1616278 h 160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0576" h="1609343">
                  <a:moveTo>
                    <a:pt x="1563068" y="1616522"/>
                  </a:moveTo>
                  <a:cubicBezTo>
                    <a:pt x="1624272" y="1197605"/>
                    <a:pt x="1478211" y="948888"/>
                    <a:pt x="1304597" y="917920"/>
                  </a:cubicBezTo>
                  <a:cubicBezTo>
                    <a:pt x="1126107" y="886221"/>
                    <a:pt x="1005650" y="820872"/>
                    <a:pt x="951760" y="537286"/>
                  </a:cubicBezTo>
                  <a:cubicBezTo>
                    <a:pt x="897872" y="253700"/>
                    <a:pt x="864710" y="-34031"/>
                    <a:pt x="665493" y="3277"/>
                  </a:cubicBezTo>
                  <a:cubicBezTo>
                    <a:pt x="466275" y="40584"/>
                    <a:pt x="395806" y="293690"/>
                    <a:pt x="379225" y="584347"/>
                  </a:cubicBezTo>
                  <a:cubicBezTo>
                    <a:pt x="362643" y="874761"/>
                    <a:pt x="238041" y="841599"/>
                    <a:pt x="67840" y="955472"/>
                  </a:cubicBezTo>
                  <a:cubicBezTo>
                    <a:pt x="-65052" y="1044473"/>
                    <a:pt x="30046" y="1445346"/>
                    <a:pt x="77838" y="1616278"/>
                  </a:cubicBezTo>
                  <a:lnTo>
                    <a:pt x="1563068" y="1616278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3247B0A-CDBA-414B-95FF-54A552364396}"/>
                </a:ext>
              </a:extLst>
            </p:cNvPr>
            <p:cNvSpPr/>
            <p:nvPr/>
          </p:nvSpPr>
          <p:spPr>
            <a:xfrm>
              <a:off x="8819326" y="2604982"/>
              <a:ext cx="1292352" cy="682752"/>
            </a:xfrm>
            <a:custGeom>
              <a:avLst/>
              <a:gdLst>
                <a:gd name="connsiteX0" fmla="*/ 1272724 w 1292352"/>
                <a:gd name="connsiteY0" fmla="*/ 379415 h 682751"/>
                <a:gd name="connsiteX1" fmla="*/ 897211 w 1292352"/>
                <a:gd name="connsiteY1" fmla="*/ 421356 h 682751"/>
                <a:gd name="connsiteX2" fmla="*/ 617038 w 1292352"/>
                <a:gd name="connsiteY2" fmla="*/ 0 h 682751"/>
                <a:gd name="connsiteX3" fmla="*/ 303704 w 1292352"/>
                <a:gd name="connsiteY3" fmla="*/ 466954 h 682751"/>
                <a:gd name="connsiteX4" fmla="*/ 52549 w 1292352"/>
                <a:gd name="connsiteY4" fmla="*/ 333573 h 682751"/>
                <a:gd name="connsiteX5" fmla="*/ 43527 w 1292352"/>
                <a:gd name="connsiteY5" fmla="*/ 703234 h 682751"/>
                <a:gd name="connsiteX6" fmla="*/ 1220055 w 1292352"/>
                <a:gd name="connsiteY6" fmla="*/ 703234 h 682751"/>
                <a:gd name="connsiteX7" fmla="*/ 1272724 w 1292352"/>
                <a:gd name="connsiteY7" fmla="*/ 379415 h 68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2352" h="682751">
                  <a:moveTo>
                    <a:pt x="1272724" y="379415"/>
                  </a:moveTo>
                  <a:cubicBezTo>
                    <a:pt x="1191769" y="322844"/>
                    <a:pt x="1027909" y="435986"/>
                    <a:pt x="897211" y="421356"/>
                  </a:cubicBezTo>
                  <a:cubicBezTo>
                    <a:pt x="766512" y="406725"/>
                    <a:pt x="799675" y="0"/>
                    <a:pt x="617038" y="0"/>
                  </a:cubicBezTo>
                  <a:cubicBezTo>
                    <a:pt x="434402" y="0"/>
                    <a:pt x="449033" y="464759"/>
                    <a:pt x="303704" y="466954"/>
                  </a:cubicBezTo>
                  <a:cubicBezTo>
                    <a:pt x="158375" y="468904"/>
                    <a:pt x="170811" y="265786"/>
                    <a:pt x="52549" y="333573"/>
                  </a:cubicBezTo>
                  <a:cubicBezTo>
                    <a:pt x="-44987" y="389412"/>
                    <a:pt x="18411" y="623011"/>
                    <a:pt x="43527" y="703234"/>
                  </a:cubicBezTo>
                  <a:lnTo>
                    <a:pt x="1220055" y="703234"/>
                  </a:lnTo>
                  <a:cubicBezTo>
                    <a:pt x="1264921" y="596676"/>
                    <a:pt x="1328564" y="418429"/>
                    <a:pt x="1272724" y="379415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F9F39C0-3E48-41B4-8969-4C09A54EE9C7}"/>
                </a:ext>
              </a:extLst>
            </p:cNvPr>
            <p:cNvSpPr/>
            <p:nvPr/>
          </p:nvSpPr>
          <p:spPr>
            <a:xfrm>
              <a:off x="9403202" y="1904917"/>
              <a:ext cx="24384" cy="1389888"/>
            </a:xfrm>
            <a:custGeom>
              <a:avLst/>
              <a:gdLst>
                <a:gd name="connsiteX0" fmla="*/ 0 w 24384"/>
                <a:gd name="connsiteY0" fmla="*/ 0 h 1389887"/>
                <a:gd name="connsiteX1" fmla="*/ 9266 w 24384"/>
                <a:gd name="connsiteY1" fmla="*/ 1403543 h 138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389887">
                  <a:moveTo>
                    <a:pt x="0" y="0"/>
                  </a:moveTo>
                  <a:cubicBezTo>
                    <a:pt x="0" y="0"/>
                    <a:pt x="72421" y="831738"/>
                    <a:pt x="9266" y="140354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70CF274-641A-4F42-8DF5-C5C25ED1D035}"/>
                </a:ext>
              </a:extLst>
            </p:cNvPr>
            <p:cNvSpPr/>
            <p:nvPr/>
          </p:nvSpPr>
          <p:spPr>
            <a:xfrm>
              <a:off x="9415638" y="1960025"/>
              <a:ext cx="73152" cy="97536"/>
            </a:xfrm>
            <a:custGeom>
              <a:avLst/>
              <a:gdLst>
                <a:gd name="connsiteX0" fmla="*/ 83393 w 73152"/>
                <a:gd name="connsiteY0" fmla="*/ 0 h 97535"/>
                <a:gd name="connsiteX1" fmla="*/ 0 w 73152"/>
                <a:gd name="connsiteY1" fmla="*/ 117287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97535">
                  <a:moveTo>
                    <a:pt x="83393" y="0"/>
                  </a:moveTo>
                  <a:lnTo>
                    <a:pt x="0" y="1172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6C95E72-EBA8-4693-82DE-A741C633D29D}"/>
                </a:ext>
              </a:extLst>
            </p:cNvPr>
            <p:cNvSpPr/>
            <p:nvPr/>
          </p:nvSpPr>
          <p:spPr>
            <a:xfrm>
              <a:off x="9255679" y="2032202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66787 w 146304"/>
                <a:gd name="connsiteY1" fmla="*/ 16069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66787" y="1606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5D88DC9-557C-4A0A-891D-77BF05E00DFB}"/>
                </a:ext>
              </a:extLst>
            </p:cNvPr>
            <p:cNvSpPr/>
            <p:nvPr/>
          </p:nvSpPr>
          <p:spPr>
            <a:xfrm>
              <a:off x="9433194" y="2244586"/>
              <a:ext cx="170688" cy="195072"/>
            </a:xfrm>
            <a:custGeom>
              <a:avLst/>
              <a:gdLst>
                <a:gd name="connsiteX0" fmla="*/ 175809 w 170688"/>
                <a:gd name="connsiteY0" fmla="*/ 0 h 195071"/>
                <a:gd name="connsiteX1" fmla="*/ 0 w 170688"/>
                <a:gd name="connsiteY1" fmla="*/ 19604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95071">
                  <a:moveTo>
                    <a:pt x="175809" y="0"/>
                  </a:moveTo>
                  <a:lnTo>
                    <a:pt x="0" y="19604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77138AE-FBDA-48C8-A631-CEA0D4AFD4F4}"/>
                </a:ext>
              </a:extLst>
            </p:cNvPr>
            <p:cNvSpPr/>
            <p:nvPr/>
          </p:nvSpPr>
          <p:spPr>
            <a:xfrm>
              <a:off x="9169116" y="2342610"/>
              <a:ext cx="268224" cy="243840"/>
            </a:xfrm>
            <a:custGeom>
              <a:avLst/>
              <a:gdLst>
                <a:gd name="connsiteX0" fmla="*/ 0 w 268224"/>
                <a:gd name="connsiteY0" fmla="*/ 0 h 243839"/>
                <a:gd name="connsiteX1" fmla="*/ 269200 w 268224"/>
                <a:gd name="connsiteY1" fmla="*/ 263835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43839">
                  <a:moveTo>
                    <a:pt x="0" y="0"/>
                  </a:moveTo>
                  <a:lnTo>
                    <a:pt x="269200" y="26383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3024CDF-1985-429D-9786-19754090781B}"/>
                </a:ext>
              </a:extLst>
            </p:cNvPr>
            <p:cNvSpPr/>
            <p:nvPr/>
          </p:nvSpPr>
          <p:spPr>
            <a:xfrm>
              <a:off x="9438071" y="2474527"/>
              <a:ext cx="316992" cy="292608"/>
            </a:xfrm>
            <a:custGeom>
              <a:avLst/>
              <a:gdLst>
                <a:gd name="connsiteX0" fmla="*/ 318455 w 316992"/>
                <a:gd name="connsiteY0" fmla="*/ 0 h 292607"/>
                <a:gd name="connsiteX1" fmla="*/ 0 w 316992"/>
                <a:gd name="connsiteY1" fmla="*/ 307238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292607">
                  <a:moveTo>
                    <a:pt x="318455" y="0"/>
                  </a:moveTo>
                  <a:lnTo>
                    <a:pt x="0" y="3072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70D8454-7703-4ADF-849A-3322284F0DDB}"/>
                </a:ext>
              </a:extLst>
            </p:cNvPr>
            <p:cNvSpPr/>
            <p:nvPr/>
          </p:nvSpPr>
          <p:spPr>
            <a:xfrm>
              <a:off x="9246413" y="2812733"/>
              <a:ext cx="170688" cy="170688"/>
            </a:xfrm>
            <a:custGeom>
              <a:avLst/>
              <a:gdLst>
                <a:gd name="connsiteX0" fmla="*/ 0 w 170688"/>
                <a:gd name="connsiteY0" fmla="*/ 0 h 170687"/>
                <a:gd name="connsiteX1" fmla="*/ 187513 w 170688"/>
                <a:gd name="connsiteY1" fmla="*/ 18458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70687">
                  <a:moveTo>
                    <a:pt x="0" y="0"/>
                  </a:moveTo>
                  <a:lnTo>
                    <a:pt x="187513" y="1845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630D5F5-671A-4B54-8639-1817C42EC345}"/>
                </a:ext>
              </a:extLst>
            </p:cNvPr>
            <p:cNvSpPr/>
            <p:nvPr/>
          </p:nvSpPr>
          <p:spPr>
            <a:xfrm>
              <a:off x="9428317" y="2861989"/>
              <a:ext cx="219456" cy="243840"/>
            </a:xfrm>
            <a:custGeom>
              <a:avLst/>
              <a:gdLst>
                <a:gd name="connsiteX0" fmla="*/ 241157 w 219456"/>
                <a:gd name="connsiteY0" fmla="*/ 0 h 243839"/>
                <a:gd name="connsiteX1" fmla="*/ 0 w 219456"/>
                <a:gd name="connsiteY1" fmla="*/ 255056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43839">
                  <a:moveTo>
                    <a:pt x="241157" y="0"/>
                  </a:moveTo>
                  <a:lnTo>
                    <a:pt x="0" y="25505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9D2BAD05-FE19-45AC-BDA9-748B15C039A5}"/>
                </a:ext>
              </a:extLst>
            </p:cNvPr>
            <p:cNvSpPr/>
            <p:nvPr/>
          </p:nvSpPr>
          <p:spPr>
            <a:xfrm>
              <a:off x="8950878" y="2781278"/>
              <a:ext cx="73152" cy="512064"/>
            </a:xfrm>
            <a:custGeom>
              <a:avLst/>
              <a:gdLst>
                <a:gd name="connsiteX0" fmla="*/ 0 w 73152"/>
                <a:gd name="connsiteY0" fmla="*/ 0 h 512063"/>
                <a:gd name="connsiteX1" fmla="*/ 84369 w 73152"/>
                <a:gd name="connsiteY1" fmla="*/ 527182 h 51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12063">
                  <a:moveTo>
                    <a:pt x="0" y="0"/>
                  </a:moveTo>
                  <a:cubicBezTo>
                    <a:pt x="0" y="0"/>
                    <a:pt x="72665" y="119238"/>
                    <a:pt x="84369" y="52718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94E8627-6C5A-4F01-A9DC-9F1B0D0568DA}"/>
                </a:ext>
              </a:extLst>
            </p:cNvPr>
            <p:cNvSpPr/>
            <p:nvPr/>
          </p:nvSpPr>
          <p:spPr>
            <a:xfrm>
              <a:off x="9024518" y="2976106"/>
              <a:ext cx="97536" cy="146304"/>
            </a:xfrm>
            <a:custGeom>
              <a:avLst/>
              <a:gdLst>
                <a:gd name="connsiteX0" fmla="*/ 102413 w 97536"/>
                <a:gd name="connsiteY0" fmla="*/ 0 h 146303"/>
                <a:gd name="connsiteX1" fmla="*/ 0 w 97536"/>
                <a:gd name="connsiteY1" fmla="*/ 16922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02413" y="0"/>
                  </a:moveTo>
                  <a:lnTo>
                    <a:pt x="0" y="16922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83B00FA-A029-440F-960F-654E67EA43BA}"/>
                </a:ext>
              </a:extLst>
            </p:cNvPr>
            <p:cNvSpPr/>
            <p:nvPr/>
          </p:nvSpPr>
          <p:spPr>
            <a:xfrm>
              <a:off x="8807257" y="3092662"/>
              <a:ext cx="219456" cy="73152"/>
            </a:xfrm>
            <a:custGeom>
              <a:avLst/>
              <a:gdLst>
                <a:gd name="connsiteX0" fmla="*/ 0 w 219456"/>
                <a:gd name="connsiteY0" fmla="*/ 0 h 73151"/>
                <a:gd name="connsiteX1" fmla="*/ 220188 w 219456"/>
                <a:gd name="connsiteY1" fmla="*/ 85344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0" y="0"/>
                  </a:moveTo>
                  <a:lnTo>
                    <a:pt x="220188" y="8534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7D1F5D6-1927-4BC3-8D78-DE512966E327}"/>
                </a:ext>
              </a:extLst>
            </p:cNvPr>
            <p:cNvSpPr/>
            <p:nvPr/>
          </p:nvSpPr>
          <p:spPr>
            <a:xfrm>
              <a:off x="9941357" y="2872962"/>
              <a:ext cx="48768" cy="414528"/>
            </a:xfrm>
            <a:custGeom>
              <a:avLst/>
              <a:gdLst>
                <a:gd name="connsiteX0" fmla="*/ 49011 w 48768"/>
                <a:gd name="connsiteY0" fmla="*/ 0 h 414527"/>
                <a:gd name="connsiteX1" fmla="*/ 0 w 48768"/>
                <a:gd name="connsiteY1" fmla="*/ 435498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49011" y="0"/>
                  </a:moveTo>
                  <a:cubicBezTo>
                    <a:pt x="49011" y="0"/>
                    <a:pt x="11704" y="27554"/>
                    <a:pt x="0" y="43549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0F07BD1-D852-4702-A0F2-FE23DFE653D5}"/>
                </a:ext>
              </a:extLst>
            </p:cNvPr>
            <p:cNvSpPr/>
            <p:nvPr/>
          </p:nvSpPr>
          <p:spPr>
            <a:xfrm>
              <a:off x="9849917" y="2976594"/>
              <a:ext cx="97536" cy="146304"/>
            </a:xfrm>
            <a:custGeom>
              <a:avLst/>
              <a:gdLst>
                <a:gd name="connsiteX0" fmla="*/ 0 w 97536"/>
                <a:gd name="connsiteY0" fmla="*/ 0 h 146303"/>
                <a:gd name="connsiteX1" fmla="*/ 102169 w 97536"/>
                <a:gd name="connsiteY1" fmla="*/ 168737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0" y="0"/>
                  </a:moveTo>
                  <a:lnTo>
                    <a:pt x="102169" y="16873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A7D0A88-7EF5-41F2-9BA6-AEB4EEFE415B}"/>
                </a:ext>
              </a:extLst>
            </p:cNvPr>
            <p:cNvSpPr/>
            <p:nvPr/>
          </p:nvSpPr>
          <p:spPr>
            <a:xfrm>
              <a:off x="9949160" y="3117777"/>
              <a:ext cx="146304" cy="48768"/>
            </a:xfrm>
            <a:custGeom>
              <a:avLst/>
              <a:gdLst>
                <a:gd name="connsiteX0" fmla="*/ 155082 w 146304"/>
                <a:gd name="connsiteY0" fmla="*/ 0 h 48767"/>
                <a:gd name="connsiteX1" fmla="*/ 0 w 146304"/>
                <a:gd name="connsiteY1" fmla="*/ 6022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48767">
                  <a:moveTo>
                    <a:pt x="155082" y="0"/>
                  </a:moveTo>
                  <a:lnTo>
                    <a:pt x="0" y="6022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60660E3-3D13-4E53-BED2-4D0B847F8DF7}"/>
                </a:ext>
              </a:extLst>
            </p:cNvPr>
            <p:cNvSpPr/>
            <p:nvPr/>
          </p:nvSpPr>
          <p:spPr>
            <a:xfrm>
              <a:off x="7475159" y="2195962"/>
              <a:ext cx="1463040" cy="1097280"/>
            </a:xfrm>
            <a:custGeom>
              <a:avLst/>
              <a:gdLst>
                <a:gd name="connsiteX0" fmla="*/ 1449385 w 1463040"/>
                <a:gd name="connsiteY0" fmla="*/ 1110791 h 1097279"/>
                <a:gd name="connsiteX1" fmla="*/ 1342827 w 1463040"/>
                <a:gd name="connsiteY1" fmla="*/ 832 h 1097279"/>
                <a:gd name="connsiteX2" fmla="*/ 998037 w 1463040"/>
                <a:gd name="connsiteY2" fmla="*/ 451692 h 1097279"/>
                <a:gd name="connsiteX3" fmla="*/ 637398 w 1463040"/>
                <a:gd name="connsiteY3" fmla="*/ 459495 h 1097279"/>
                <a:gd name="connsiteX4" fmla="*/ 403799 w 1463040"/>
                <a:gd name="connsiteY4" fmla="*/ 743325 h 1097279"/>
                <a:gd name="connsiteX5" fmla="*/ 0 w 1463040"/>
                <a:gd name="connsiteY5" fmla="*/ 1110548 h 1097279"/>
                <a:gd name="connsiteX6" fmla="*/ 1449385 w 1463040"/>
                <a:gd name="connsiteY6" fmla="*/ 1110548 h 109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3040" h="1097279">
                  <a:moveTo>
                    <a:pt x="1449385" y="1110791"/>
                  </a:moveTo>
                  <a:cubicBezTo>
                    <a:pt x="1449385" y="1110791"/>
                    <a:pt x="1532291" y="24241"/>
                    <a:pt x="1342827" y="832"/>
                  </a:cubicBezTo>
                  <a:cubicBezTo>
                    <a:pt x="1153120" y="-22577"/>
                    <a:pt x="1186770" y="455837"/>
                    <a:pt x="998037" y="451692"/>
                  </a:cubicBezTo>
                  <a:cubicBezTo>
                    <a:pt x="809549" y="447547"/>
                    <a:pt x="706405" y="289782"/>
                    <a:pt x="637398" y="459495"/>
                  </a:cubicBezTo>
                  <a:cubicBezTo>
                    <a:pt x="568391" y="629208"/>
                    <a:pt x="566684" y="794287"/>
                    <a:pt x="403799" y="743325"/>
                  </a:cubicBezTo>
                  <a:cubicBezTo>
                    <a:pt x="240670" y="692362"/>
                    <a:pt x="0" y="1110548"/>
                    <a:pt x="0" y="1110548"/>
                  </a:cubicBezTo>
                  <a:lnTo>
                    <a:pt x="1449385" y="1110548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5D14979D-D615-498E-8096-9A6471B1BF57}"/>
                </a:ext>
              </a:extLst>
            </p:cNvPr>
            <p:cNvSpPr/>
            <p:nvPr/>
          </p:nvSpPr>
          <p:spPr>
            <a:xfrm>
              <a:off x="7474672" y="2577151"/>
              <a:ext cx="902208" cy="707136"/>
            </a:xfrm>
            <a:custGeom>
              <a:avLst/>
              <a:gdLst>
                <a:gd name="connsiteX0" fmla="*/ 404042 w 902208"/>
                <a:gd name="connsiteY0" fmla="*/ 362379 h 707135"/>
                <a:gd name="connsiteX1" fmla="*/ 637641 w 902208"/>
                <a:gd name="connsiteY1" fmla="*/ 78549 h 707135"/>
                <a:gd name="connsiteX2" fmla="*/ 916839 w 902208"/>
                <a:gd name="connsiteY2" fmla="*/ 59530 h 707135"/>
                <a:gd name="connsiteX3" fmla="*/ 916839 w 902208"/>
                <a:gd name="connsiteY3" fmla="*/ 729602 h 707135"/>
                <a:gd name="connsiteX4" fmla="*/ 0 w 902208"/>
                <a:gd name="connsiteY4" fmla="*/ 729602 h 707135"/>
                <a:gd name="connsiteX5" fmla="*/ 404042 w 902208"/>
                <a:gd name="connsiteY5" fmla="*/ 362379 h 70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2208" h="707135">
                  <a:moveTo>
                    <a:pt x="404042" y="362379"/>
                  </a:moveTo>
                  <a:cubicBezTo>
                    <a:pt x="567171" y="413341"/>
                    <a:pt x="568878" y="248262"/>
                    <a:pt x="637641" y="78549"/>
                  </a:cubicBezTo>
                  <a:cubicBezTo>
                    <a:pt x="695919" y="-65073"/>
                    <a:pt x="778825" y="25636"/>
                    <a:pt x="916839" y="59530"/>
                  </a:cubicBezTo>
                  <a:lnTo>
                    <a:pt x="916839" y="729602"/>
                  </a:lnTo>
                  <a:lnTo>
                    <a:pt x="0" y="729602"/>
                  </a:lnTo>
                  <a:cubicBezTo>
                    <a:pt x="243" y="729602"/>
                    <a:pt x="240914" y="311416"/>
                    <a:pt x="404042" y="362379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9EFD81-A786-4276-A7F5-6F81A59C13A8}"/>
                </a:ext>
              </a:extLst>
            </p:cNvPr>
            <p:cNvSpPr/>
            <p:nvPr/>
          </p:nvSpPr>
          <p:spPr>
            <a:xfrm>
              <a:off x="0" y="1601012"/>
              <a:ext cx="2584704" cy="1706880"/>
            </a:xfrm>
            <a:custGeom>
              <a:avLst/>
              <a:gdLst>
                <a:gd name="connsiteX0" fmla="*/ 2605430 w 2584704"/>
                <a:gd name="connsiteY0" fmla="*/ 1707204 h 1706879"/>
                <a:gd name="connsiteX1" fmla="*/ 0 w 2584704"/>
                <a:gd name="connsiteY1" fmla="*/ 1707204 h 1706879"/>
                <a:gd name="connsiteX2" fmla="*/ 0 w 2584704"/>
                <a:gd name="connsiteY2" fmla="*/ 543844 h 1706879"/>
                <a:gd name="connsiteX3" fmla="*/ 283830 w 2584704"/>
                <a:gd name="connsiteY3" fmla="*/ 324 h 1706879"/>
                <a:gd name="connsiteX4" fmla="*/ 1247729 w 2584704"/>
                <a:gd name="connsiteY4" fmla="*/ 896680 h 1706879"/>
                <a:gd name="connsiteX5" fmla="*/ 2605430 w 2584704"/>
                <a:gd name="connsiteY5" fmla="*/ 1271706 h 1706879"/>
                <a:gd name="connsiteX6" fmla="*/ 2605430 w 2584704"/>
                <a:gd name="connsiteY6" fmla="*/ 1707204 h 1706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4704" h="1706879">
                  <a:moveTo>
                    <a:pt x="2605430" y="1707204"/>
                  </a:moveTo>
                  <a:lnTo>
                    <a:pt x="0" y="1707204"/>
                  </a:lnTo>
                  <a:lnTo>
                    <a:pt x="0" y="543844"/>
                  </a:lnTo>
                  <a:cubicBezTo>
                    <a:pt x="53889" y="247090"/>
                    <a:pt x="141427" y="8127"/>
                    <a:pt x="283830" y="324"/>
                  </a:cubicBezTo>
                  <a:cubicBezTo>
                    <a:pt x="665927" y="-20402"/>
                    <a:pt x="682996" y="959590"/>
                    <a:pt x="1247729" y="896680"/>
                  </a:cubicBezTo>
                  <a:cubicBezTo>
                    <a:pt x="1691030" y="847424"/>
                    <a:pt x="2274296" y="859860"/>
                    <a:pt x="2605430" y="1271706"/>
                  </a:cubicBezTo>
                  <a:lnTo>
                    <a:pt x="2605430" y="1707204"/>
                  </a:ln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2183445-C60C-4DF9-98DF-E5C889C915B2}"/>
                </a:ext>
              </a:extLst>
            </p:cNvPr>
            <p:cNvSpPr/>
            <p:nvPr/>
          </p:nvSpPr>
          <p:spPr>
            <a:xfrm>
              <a:off x="985995" y="1772592"/>
              <a:ext cx="2023872" cy="1511808"/>
            </a:xfrm>
            <a:custGeom>
              <a:avLst/>
              <a:gdLst>
                <a:gd name="connsiteX0" fmla="*/ 24965 w 2023872"/>
                <a:gd name="connsiteY0" fmla="*/ 1534161 h 1511807"/>
                <a:gd name="connsiteX1" fmla="*/ 172245 w 2023872"/>
                <a:gd name="connsiteY1" fmla="*/ 1139 h 1511807"/>
                <a:gd name="connsiteX2" fmla="*/ 648464 w 2023872"/>
                <a:gd name="connsiteY2" fmla="*/ 623907 h 1511807"/>
                <a:gd name="connsiteX3" fmla="*/ 1146630 w 2023872"/>
                <a:gd name="connsiteY3" fmla="*/ 634636 h 1511807"/>
                <a:gd name="connsiteX4" fmla="*/ 1469474 w 2023872"/>
                <a:gd name="connsiteY4" fmla="*/ 1026730 h 1511807"/>
                <a:gd name="connsiteX5" fmla="*/ 2027380 w 2023872"/>
                <a:gd name="connsiteY5" fmla="*/ 1534161 h 1511807"/>
                <a:gd name="connsiteX6" fmla="*/ 24965 w 2023872"/>
                <a:gd name="connsiteY6" fmla="*/ 1534161 h 151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23872" h="1511807">
                  <a:moveTo>
                    <a:pt x="24965" y="1534161"/>
                  </a:moveTo>
                  <a:cubicBezTo>
                    <a:pt x="24965" y="1534161"/>
                    <a:pt x="-89639" y="33326"/>
                    <a:pt x="172245" y="1139"/>
                  </a:cubicBezTo>
                  <a:cubicBezTo>
                    <a:pt x="434129" y="-31048"/>
                    <a:pt x="387799" y="629515"/>
                    <a:pt x="648464" y="623907"/>
                  </a:cubicBezTo>
                  <a:cubicBezTo>
                    <a:pt x="908885" y="618298"/>
                    <a:pt x="1051288" y="400305"/>
                    <a:pt x="1146630" y="634636"/>
                  </a:cubicBezTo>
                  <a:cubicBezTo>
                    <a:pt x="1241727" y="869209"/>
                    <a:pt x="1244166" y="1097200"/>
                    <a:pt x="1469474" y="1026730"/>
                  </a:cubicBezTo>
                  <a:cubicBezTo>
                    <a:pt x="1694782" y="956260"/>
                    <a:pt x="2027380" y="1534161"/>
                    <a:pt x="2027380" y="1534161"/>
                  </a:cubicBezTo>
                  <a:lnTo>
                    <a:pt x="24965" y="1534161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9D2F756-A6F0-4469-AA1E-B615D3811F82}"/>
                </a:ext>
              </a:extLst>
            </p:cNvPr>
            <p:cNvSpPr/>
            <p:nvPr/>
          </p:nvSpPr>
          <p:spPr>
            <a:xfrm>
              <a:off x="1746870" y="2298856"/>
              <a:ext cx="1243584" cy="999744"/>
            </a:xfrm>
            <a:custGeom>
              <a:avLst/>
              <a:gdLst>
                <a:gd name="connsiteX0" fmla="*/ 708599 w 1243584"/>
                <a:gd name="connsiteY0" fmla="*/ 500467 h 999743"/>
                <a:gd name="connsiteX1" fmla="*/ 385755 w 1243584"/>
                <a:gd name="connsiteY1" fmla="*/ 108372 h 999743"/>
                <a:gd name="connsiteX2" fmla="*/ 0 w 1243584"/>
                <a:gd name="connsiteY2" fmla="*/ 82281 h 999743"/>
                <a:gd name="connsiteX3" fmla="*/ 0 w 1243584"/>
                <a:gd name="connsiteY3" fmla="*/ 1007898 h 999743"/>
                <a:gd name="connsiteX4" fmla="*/ 1266505 w 1243584"/>
                <a:gd name="connsiteY4" fmla="*/ 1007898 h 999743"/>
                <a:gd name="connsiteX5" fmla="*/ 708599 w 1243584"/>
                <a:gd name="connsiteY5" fmla="*/ 500467 h 99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3584" h="999743">
                  <a:moveTo>
                    <a:pt x="708599" y="500467"/>
                  </a:moveTo>
                  <a:cubicBezTo>
                    <a:pt x="483291" y="570936"/>
                    <a:pt x="481096" y="342702"/>
                    <a:pt x="385755" y="108372"/>
                  </a:cubicBezTo>
                  <a:cubicBezTo>
                    <a:pt x="305288" y="-89870"/>
                    <a:pt x="190927" y="35464"/>
                    <a:pt x="0" y="82281"/>
                  </a:cubicBezTo>
                  <a:lnTo>
                    <a:pt x="0" y="1007898"/>
                  </a:lnTo>
                  <a:lnTo>
                    <a:pt x="1266505" y="1007898"/>
                  </a:lnTo>
                  <a:cubicBezTo>
                    <a:pt x="1266261" y="1007898"/>
                    <a:pt x="933663" y="430241"/>
                    <a:pt x="708599" y="500467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159037B5-8FF4-4BB9-8AAA-08294FAA437C}"/>
                </a:ext>
              </a:extLst>
            </p:cNvPr>
            <p:cNvSpPr/>
            <p:nvPr/>
          </p:nvSpPr>
          <p:spPr>
            <a:xfrm>
              <a:off x="1850746" y="2729298"/>
              <a:ext cx="73152" cy="560832"/>
            </a:xfrm>
            <a:custGeom>
              <a:avLst/>
              <a:gdLst>
                <a:gd name="connsiteX0" fmla="*/ 86075 w 73152"/>
                <a:gd name="connsiteY0" fmla="*/ 43 h 560831"/>
                <a:gd name="connsiteX1" fmla="*/ 0 w 73152"/>
                <a:gd name="connsiteY1" fmla="*/ 577212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60831">
                  <a:moveTo>
                    <a:pt x="86075" y="43"/>
                  </a:moveTo>
                  <a:cubicBezTo>
                    <a:pt x="86075" y="43"/>
                    <a:pt x="17069" y="-16051"/>
                    <a:pt x="0" y="57721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DC1FA1-A4C3-410F-904D-A85EFC561CC3}"/>
                </a:ext>
              </a:extLst>
            </p:cNvPr>
            <p:cNvSpPr/>
            <p:nvPr/>
          </p:nvSpPr>
          <p:spPr>
            <a:xfrm>
              <a:off x="1717609" y="2824438"/>
              <a:ext cx="146304" cy="243840"/>
            </a:xfrm>
            <a:custGeom>
              <a:avLst/>
              <a:gdLst>
                <a:gd name="connsiteX0" fmla="*/ 0 w 146304"/>
                <a:gd name="connsiteY0" fmla="*/ 0 h 243839"/>
                <a:gd name="connsiteX1" fmla="*/ 148742 w 146304"/>
                <a:gd name="connsiteY1" fmla="*/ 245059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243839">
                  <a:moveTo>
                    <a:pt x="0" y="0"/>
                  </a:moveTo>
                  <a:lnTo>
                    <a:pt x="148742" y="24505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772B733-680E-4C64-B107-39542445E726}"/>
                </a:ext>
              </a:extLst>
            </p:cNvPr>
            <p:cNvSpPr/>
            <p:nvPr/>
          </p:nvSpPr>
          <p:spPr>
            <a:xfrm>
              <a:off x="1861962" y="3023655"/>
              <a:ext cx="219456" cy="73152"/>
            </a:xfrm>
            <a:custGeom>
              <a:avLst/>
              <a:gdLst>
                <a:gd name="connsiteX0" fmla="*/ 241158 w 219456"/>
                <a:gd name="connsiteY0" fmla="*/ 0 h 73151"/>
                <a:gd name="connsiteX1" fmla="*/ 0 w 219456"/>
                <a:gd name="connsiteY1" fmla="*/ 9339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241158" y="0"/>
                  </a:moveTo>
                  <a:lnTo>
                    <a:pt x="0" y="933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CD27F59-AF26-4087-80D4-F89D1E1624CA}"/>
                </a:ext>
              </a:extLst>
            </p:cNvPr>
            <p:cNvSpPr/>
            <p:nvPr/>
          </p:nvSpPr>
          <p:spPr>
            <a:xfrm>
              <a:off x="1230793" y="2170459"/>
              <a:ext cx="24384" cy="1121664"/>
            </a:xfrm>
            <a:custGeom>
              <a:avLst/>
              <a:gdLst>
                <a:gd name="connsiteX0" fmla="*/ 22300 w 24384"/>
                <a:gd name="connsiteY0" fmla="*/ 0 h 1121663"/>
                <a:gd name="connsiteX1" fmla="*/ 38638 w 24384"/>
                <a:gd name="connsiteY1" fmla="*/ 1137757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22300" y="0"/>
                  </a:moveTo>
                  <a:cubicBezTo>
                    <a:pt x="22300" y="0"/>
                    <a:pt x="-37440" y="448909"/>
                    <a:pt x="38638" y="113775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2BE4FFE-481E-4738-8A10-A90AC16619CB}"/>
                </a:ext>
              </a:extLst>
            </p:cNvPr>
            <p:cNvSpPr/>
            <p:nvPr/>
          </p:nvSpPr>
          <p:spPr>
            <a:xfrm>
              <a:off x="1238463" y="2321640"/>
              <a:ext cx="121920" cy="121920"/>
            </a:xfrm>
            <a:custGeom>
              <a:avLst/>
              <a:gdLst>
                <a:gd name="connsiteX0" fmla="*/ 143622 w 121920"/>
                <a:gd name="connsiteY0" fmla="*/ 0 h 121919"/>
                <a:gd name="connsiteX1" fmla="*/ 0 w 121920"/>
                <a:gd name="connsiteY1" fmla="*/ 14093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143622" y="0"/>
                  </a:moveTo>
                  <a:lnTo>
                    <a:pt x="0" y="14093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80D90C2-9B41-4E4F-9D6D-F0062DACFFD5}"/>
                </a:ext>
              </a:extLst>
            </p:cNvPr>
            <p:cNvSpPr/>
            <p:nvPr/>
          </p:nvSpPr>
          <p:spPr>
            <a:xfrm>
              <a:off x="1150437" y="2588645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88026 w 73152"/>
                <a:gd name="connsiteY1" fmla="*/ 85100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88026" y="851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85227FB-28BE-4D36-897B-A92D9CE3FC58}"/>
                </a:ext>
              </a:extLst>
            </p:cNvPr>
            <p:cNvSpPr/>
            <p:nvPr/>
          </p:nvSpPr>
          <p:spPr>
            <a:xfrm>
              <a:off x="1243584" y="2641558"/>
              <a:ext cx="268224" cy="268224"/>
            </a:xfrm>
            <a:custGeom>
              <a:avLst/>
              <a:gdLst>
                <a:gd name="connsiteX0" fmla="*/ 271394 w 268224"/>
                <a:gd name="connsiteY0" fmla="*/ 0 h 268223"/>
                <a:gd name="connsiteX1" fmla="*/ 0 w 268224"/>
                <a:gd name="connsiteY1" fmla="*/ 29187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68223">
                  <a:moveTo>
                    <a:pt x="271394" y="0"/>
                  </a:moveTo>
                  <a:lnTo>
                    <a:pt x="0" y="29187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D47D3FF-CAE4-4384-8AE7-F152EA0FF4B5}"/>
                </a:ext>
              </a:extLst>
            </p:cNvPr>
            <p:cNvSpPr/>
            <p:nvPr/>
          </p:nvSpPr>
          <p:spPr>
            <a:xfrm>
              <a:off x="1067532" y="2950747"/>
              <a:ext cx="170688" cy="121920"/>
            </a:xfrm>
            <a:custGeom>
              <a:avLst/>
              <a:gdLst>
                <a:gd name="connsiteX0" fmla="*/ 0 w 170688"/>
                <a:gd name="connsiteY0" fmla="*/ 0 h 121919"/>
                <a:gd name="connsiteX1" fmla="*/ 182880 w 170688"/>
                <a:gd name="connsiteY1" fmla="*/ 127041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21919">
                  <a:moveTo>
                    <a:pt x="0" y="0"/>
                  </a:moveTo>
                  <a:lnTo>
                    <a:pt x="182880" y="1270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3C7B4F0-999B-4E3D-8866-84D1DC588E15}"/>
                </a:ext>
              </a:extLst>
            </p:cNvPr>
            <p:cNvSpPr/>
            <p:nvPr/>
          </p:nvSpPr>
          <p:spPr>
            <a:xfrm>
              <a:off x="10628584" y="296097"/>
              <a:ext cx="1194816" cy="2487167"/>
            </a:xfrm>
            <a:custGeom>
              <a:avLst/>
              <a:gdLst>
                <a:gd name="connsiteX0" fmla="*/ 887004 w 1194816"/>
                <a:gd name="connsiteY0" fmla="*/ 2431780 h 2487167"/>
                <a:gd name="connsiteX1" fmla="*/ 76723 w 1194816"/>
                <a:gd name="connsiteY1" fmla="*/ 2268408 h 2487167"/>
                <a:gd name="connsiteX2" fmla="*/ 4303 w 1194816"/>
                <a:gd name="connsiteY2" fmla="*/ 2149170 h 2487167"/>
                <a:gd name="connsiteX3" fmla="*/ 321782 w 1194816"/>
                <a:gd name="connsiteY3" fmla="*/ 1668805 h 2487167"/>
                <a:gd name="connsiteX4" fmla="*/ 211079 w 1194816"/>
                <a:gd name="connsiteY4" fmla="*/ 1434719 h 2487167"/>
                <a:gd name="connsiteX5" fmla="*/ 91598 w 1194816"/>
                <a:gd name="connsiteY5" fmla="*/ 856087 h 2487167"/>
                <a:gd name="connsiteX6" fmla="*/ 277160 w 1194816"/>
                <a:gd name="connsiteY6" fmla="*/ 285013 h 2487167"/>
                <a:gd name="connsiteX7" fmla="*/ 636336 w 1194816"/>
                <a:gd name="connsiteY7" fmla="*/ 4841 h 2487167"/>
                <a:gd name="connsiteX8" fmla="*/ 835797 w 1194816"/>
                <a:gd name="connsiteY8" fmla="*/ 231613 h 2487167"/>
                <a:gd name="connsiteX9" fmla="*/ 843356 w 1194816"/>
                <a:gd name="connsiteY9" fmla="*/ 663209 h 2487167"/>
                <a:gd name="connsiteX10" fmla="*/ 831652 w 1194816"/>
                <a:gd name="connsiteY10" fmla="*/ 854136 h 2487167"/>
                <a:gd name="connsiteX11" fmla="*/ 1178880 w 1194816"/>
                <a:gd name="connsiteY11" fmla="*/ 1192586 h 2487167"/>
                <a:gd name="connsiteX12" fmla="*/ 1072078 w 1194816"/>
                <a:gd name="connsiteY12" fmla="*/ 1657588 h 2487167"/>
                <a:gd name="connsiteX13" fmla="*/ 997463 w 1194816"/>
                <a:gd name="connsiteY13" fmla="*/ 1956049 h 2487167"/>
                <a:gd name="connsiteX14" fmla="*/ 1054034 w 1194816"/>
                <a:gd name="connsiteY14" fmla="*/ 2026762 h 2487167"/>
                <a:gd name="connsiteX15" fmla="*/ 887004 w 1194816"/>
                <a:gd name="connsiteY15" fmla="*/ 2431780 h 248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4816" h="2487167">
                  <a:moveTo>
                    <a:pt x="887004" y="2431780"/>
                  </a:moveTo>
                  <a:cubicBezTo>
                    <a:pt x="656575" y="2606614"/>
                    <a:pt x="283500" y="2447386"/>
                    <a:pt x="76723" y="2268408"/>
                  </a:cubicBezTo>
                  <a:cubicBezTo>
                    <a:pt x="40634" y="2237196"/>
                    <a:pt x="14056" y="2195987"/>
                    <a:pt x="4303" y="2149170"/>
                  </a:cubicBezTo>
                  <a:cubicBezTo>
                    <a:pt x="-42758" y="1924837"/>
                    <a:pt x="311541" y="1869729"/>
                    <a:pt x="321782" y="1668805"/>
                  </a:cubicBezTo>
                  <a:cubicBezTo>
                    <a:pt x="326415" y="1580779"/>
                    <a:pt x="260090" y="1507871"/>
                    <a:pt x="211079" y="1434719"/>
                  </a:cubicBezTo>
                  <a:cubicBezTo>
                    <a:pt x="99644" y="1267445"/>
                    <a:pt x="67945" y="1055792"/>
                    <a:pt x="91598" y="856087"/>
                  </a:cubicBezTo>
                  <a:cubicBezTo>
                    <a:pt x="115249" y="656382"/>
                    <a:pt x="190109" y="466187"/>
                    <a:pt x="277160" y="285013"/>
                  </a:cubicBezTo>
                  <a:cubicBezTo>
                    <a:pt x="348361" y="136759"/>
                    <a:pt x="475646" y="-30759"/>
                    <a:pt x="636336" y="4841"/>
                  </a:cubicBezTo>
                  <a:cubicBezTo>
                    <a:pt x="739480" y="27762"/>
                    <a:pt x="805561" y="130419"/>
                    <a:pt x="835797" y="231613"/>
                  </a:cubicBezTo>
                  <a:cubicBezTo>
                    <a:pt x="877006" y="370845"/>
                    <a:pt x="871153" y="520563"/>
                    <a:pt x="843356" y="663209"/>
                  </a:cubicBezTo>
                  <a:cubicBezTo>
                    <a:pt x="831164" y="726364"/>
                    <a:pt x="814583" y="791957"/>
                    <a:pt x="831652" y="854136"/>
                  </a:cubicBezTo>
                  <a:cubicBezTo>
                    <a:pt x="875299" y="1013120"/>
                    <a:pt x="1098169" y="1048964"/>
                    <a:pt x="1178880" y="1192586"/>
                  </a:cubicBezTo>
                  <a:cubicBezTo>
                    <a:pt x="1261298" y="1338646"/>
                    <a:pt x="1163030" y="1516649"/>
                    <a:pt x="1072078" y="1657588"/>
                  </a:cubicBezTo>
                  <a:cubicBezTo>
                    <a:pt x="994293" y="1778289"/>
                    <a:pt x="946501" y="1853148"/>
                    <a:pt x="997463" y="1956049"/>
                  </a:cubicBezTo>
                  <a:cubicBezTo>
                    <a:pt x="1010874" y="1983359"/>
                    <a:pt x="1030869" y="2006767"/>
                    <a:pt x="1054034" y="2026762"/>
                  </a:cubicBezTo>
                  <a:cubicBezTo>
                    <a:pt x="1103046" y="2069190"/>
                    <a:pt x="1194974" y="2198182"/>
                    <a:pt x="887004" y="2431780"/>
                  </a:cubicBezTo>
                  <a:close/>
                </a:path>
              </a:pathLst>
            </a:custGeom>
            <a:solidFill>
              <a:srgbClr val="EF855A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E28AF1A-1C50-4288-A033-6AB59AC2A39A}"/>
                </a:ext>
              </a:extLst>
            </p:cNvPr>
            <p:cNvSpPr/>
            <p:nvPr/>
          </p:nvSpPr>
          <p:spPr>
            <a:xfrm>
              <a:off x="11162020" y="713272"/>
              <a:ext cx="195072" cy="2779775"/>
            </a:xfrm>
            <a:custGeom>
              <a:avLst/>
              <a:gdLst>
                <a:gd name="connsiteX0" fmla="*/ 50718 w 195072"/>
                <a:gd name="connsiteY0" fmla="*/ 0 h 2779775"/>
                <a:gd name="connsiteX1" fmla="*/ 0 w 195072"/>
                <a:gd name="connsiteY1" fmla="*/ 2782702 h 2779775"/>
                <a:gd name="connsiteX2" fmla="*/ 197998 w 195072"/>
                <a:gd name="connsiteY2" fmla="*/ 2800014 h 2779775"/>
                <a:gd name="connsiteX3" fmla="*/ 50718 w 195072"/>
                <a:gd name="connsiteY3" fmla="*/ 0 h 277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072" h="2779775">
                  <a:moveTo>
                    <a:pt x="50718" y="0"/>
                  </a:moveTo>
                  <a:cubicBezTo>
                    <a:pt x="50474" y="49987"/>
                    <a:pt x="0" y="2782702"/>
                    <a:pt x="0" y="2782702"/>
                  </a:cubicBezTo>
                  <a:lnTo>
                    <a:pt x="197998" y="2800014"/>
                  </a:lnTo>
                  <a:lnTo>
                    <a:pt x="50718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1349FB6-A258-47BF-AFA0-EE46D3C2CA88}"/>
                </a:ext>
              </a:extLst>
            </p:cNvPr>
            <p:cNvSpPr/>
            <p:nvPr/>
          </p:nvSpPr>
          <p:spPr>
            <a:xfrm>
              <a:off x="10815767" y="2220446"/>
              <a:ext cx="438912" cy="414528"/>
            </a:xfrm>
            <a:custGeom>
              <a:avLst/>
              <a:gdLst>
                <a:gd name="connsiteX0" fmla="*/ 405506 w 438912"/>
                <a:gd name="connsiteY0" fmla="*/ 429890 h 414527"/>
                <a:gd name="connsiteX1" fmla="*/ 0 w 438912"/>
                <a:gd name="connsiteY1" fmla="*/ 0 h 414527"/>
                <a:gd name="connsiteX2" fmla="*/ 440619 w 438912"/>
                <a:gd name="connsiteY2" fmla="*/ 393802 h 414527"/>
                <a:gd name="connsiteX3" fmla="*/ 442569 w 438912"/>
                <a:gd name="connsiteY3" fmla="*/ 429402 h 414527"/>
                <a:gd name="connsiteX4" fmla="*/ 406969 w 438912"/>
                <a:gd name="connsiteY4" fmla="*/ 431353 h 414527"/>
                <a:gd name="connsiteX5" fmla="*/ 405506 w 438912"/>
                <a:gd name="connsiteY5" fmla="*/ 429890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912" h="414527">
                  <a:moveTo>
                    <a:pt x="405506" y="429890"/>
                  </a:moveTo>
                  <a:lnTo>
                    <a:pt x="0" y="0"/>
                  </a:lnTo>
                  <a:lnTo>
                    <a:pt x="440619" y="393802"/>
                  </a:lnTo>
                  <a:cubicBezTo>
                    <a:pt x="451104" y="403067"/>
                    <a:pt x="451836" y="419161"/>
                    <a:pt x="442569" y="429402"/>
                  </a:cubicBezTo>
                  <a:cubicBezTo>
                    <a:pt x="433303" y="439887"/>
                    <a:pt x="417211" y="440619"/>
                    <a:pt x="406969" y="431353"/>
                  </a:cubicBezTo>
                  <a:cubicBezTo>
                    <a:pt x="406482" y="430865"/>
                    <a:pt x="405993" y="430378"/>
                    <a:pt x="405506" y="429890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5348A22-B8EC-41B7-8F0E-07A985959318}"/>
                </a:ext>
              </a:extLst>
            </p:cNvPr>
            <p:cNvSpPr/>
            <p:nvPr/>
          </p:nvSpPr>
          <p:spPr>
            <a:xfrm>
              <a:off x="11018398" y="1089517"/>
              <a:ext cx="195072" cy="316992"/>
            </a:xfrm>
            <a:custGeom>
              <a:avLst/>
              <a:gdLst>
                <a:gd name="connsiteX0" fmla="*/ 164105 w 195072"/>
                <a:gd name="connsiteY0" fmla="*/ 321625 h 316991"/>
                <a:gd name="connsiteX1" fmla="*/ 0 w 195072"/>
                <a:gd name="connsiteY1" fmla="*/ 0 h 316991"/>
                <a:gd name="connsiteX2" fmla="*/ 196535 w 195072"/>
                <a:gd name="connsiteY2" fmla="*/ 303093 h 316991"/>
                <a:gd name="connsiteX3" fmla="*/ 190927 w 195072"/>
                <a:gd name="connsiteY3" fmla="*/ 328940 h 316991"/>
                <a:gd name="connsiteX4" fmla="*/ 165080 w 195072"/>
                <a:gd name="connsiteY4" fmla="*/ 323332 h 316991"/>
                <a:gd name="connsiteX5" fmla="*/ 164105 w 195072"/>
                <a:gd name="connsiteY5" fmla="*/ 321625 h 31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072" h="316991">
                  <a:moveTo>
                    <a:pt x="164105" y="321625"/>
                  </a:moveTo>
                  <a:lnTo>
                    <a:pt x="0" y="0"/>
                  </a:lnTo>
                  <a:lnTo>
                    <a:pt x="196535" y="303093"/>
                  </a:lnTo>
                  <a:cubicBezTo>
                    <a:pt x="202144" y="311871"/>
                    <a:pt x="199705" y="323332"/>
                    <a:pt x="190927" y="328940"/>
                  </a:cubicBezTo>
                  <a:cubicBezTo>
                    <a:pt x="182393" y="334548"/>
                    <a:pt x="170688" y="332110"/>
                    <a:pt x="165080" y="323332"/>
                  </a:cubicBezTo>
                  <a:cubicBezTo>
                    <a:pt x="164836" y="322844"/>
                    <a:pt x="164348" y="322356"/>
                    <a:pt x="164105" y="321625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7E41DF1-0235-457C-BB43-CC327DAE59DD}"/>
                </a:ext>
              </a:extLst>
            </p:cNvPr>
            <p:cNvSpPr/>
            <p:nvPr/>
          </p:nvSpPr>
          <p:spPr>
            <a:xfrm>
              <a:off x="11252485" y="1493803"/>
              <a:ext cx="390144" cy="585216"/>
            </a:xfrm>
            <a:custGeom>
              <a:avLst/>
              <a:gdLst>
                <a:gd name="connsiteX0" fmla="*/ 0 w 390144"/>
                <a:gd name="connsiteY0" fmla="*/ 591800 h 585215"/>
                <a:gd name="connsiteX1" fmla="*/ 392338 w 390144"/>
                <a:gd name="connsiteY1" fmla="*/ 0 h 585215"/>
                <a:gd name="connsiteX2" fmla="*/ 0 w 390144"/>
                <a:gd name="connsiteY2" fmla="*/ 591800 h 5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0144" h="585215">
                  <a:moveTo>
                    <a:pt x="0" y="591800"/>
                  </a:moveTo>
                  <a:lnTo>
                    <a:pt x="392338" y="0"/>
                  </a:lnTo>
                  <a:lnTo>
                    <a:pt x="0" y="59180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C85BA1A-AC36-4465-9B73-509A4B6CA4DB}"/>
                </a:ext>
              </a:extLst>
            </p:cNvPr>
            <p:cNvSpPr/>
            <p:nvPr/>
          </p:nvSpPr>
          <p:spPr>
            <a:xfrm>
              <a:off x="11227662" y="1493803"/>
              <a:ext cx="414528" cy="609600"/>
            </a:xfrm>
            <a:custGeom>
              <a:avLst/>
              <a:gdLst>
                <a:gd name="connsiteX0" fmla="*/ 4584 w 414528"/>
                <a:gd name="connsiteY0" fmla="*/ 578388 h 609599"/>
                <a:gd name="connsiteX1" fmla="*/ 417161 w 414528"/>
                <a:gd name="connsiteY1" fmla="*/ 0 h 609599"/>
                <a:gd name="connsiteX2" fmla="*/ 45061 w 414528"/>
                <a:gd name="connsiteY2" fmla="*/ 605211 h 609599"/>
                <a:gd name="connsiteX3" fmla="*/ 11655 w 414528"/>
                <a:gd name="connsiteY3" fmla="*/ 613257 h 609599"/>
                <a:gd name="connsiteX4" fmla="*/ 3608 w 414528"/>
                <a:gd name="connsiteY4" fmla="*/ 579852 h 609599"/>
                <a:gd name="connsiteX5" fmla="*/ 4584 w 414528"/>
                <a:gd name="connsiteY5" fmla="*/ 578388 h 60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4528" h="609599">
                  <a:moveTo>
                    <a:pt x="4584" y="578388"/>
                  </a:moveTo>
                  <a:lnTo>
                    <a:pt x="417161" y="0"/>
                  </a:lnTo>
                  <a:lnTo>
                    <a:pt x="45061" y="605211"/>
                  </a:lnTo>
                  <a:cubicBezTo>
                    <a:pt x="37990" y="616671"/>
                    <a:pt x="23115" y="620329"/>
                    <a:pt x="11655" y="613257"/>
                  </a:cubicBezTo>
                  <a:cubicBezTo>
                    <a:pt x="194" y="606186"/>
                    <a:pt x="-3463" y="591312"/>
                    <a:pt x="3608" y="579852"/>
                  </a:cubicBezTo>
                  <a:cubicBezTo>
                    <a:pt x="3852" y="579364"/>
                    <a:pt x="4340" y="578876"/>
                    <a:pt x="4584" y="578388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CE3BB0B-BC4B-469F-A024-9C6D0DAF7BCC}"/>
                </a:ext>
              </a:extLst>
            </p:cNvPr>
            <p:cNvSpPr/>
            <p:nvPr/>
          </p:nvSpPr>
          <p:spPr>
            <a:xfrm>
              <a:off x="10242123" y="998990"/>
              <a:ext cx="926592" cy="1901951"/>
            </a:xfrm>
            <a:custGeom>
              <a:avLst/>
              <a:gdLst>
                <a:gd name="connsiteX0" fmla="*/ 679715 w 926592"/>
                <a:gd name="connsiteY0" fmla="*/ 1863487 h 1901951"/>
                <a:gd name="connsiteX1" fmla="*/ 58898 w 926592"/>
                <a:gd name="connsiteY1" fmla="*/ 1738397 h 1901951"/>
                <a:gd name="connsiteX2" fmla="*/ 3303 w 926592"/>
                <a:gd name="connsiteY2" fmla="*/ 1646957 h 1901951"/>
                <a:gd name="connsiteX3" fmla="*/ 246655 w 926592"/>
                <a:gd name="connsiteY3" fmla="*/ 1278759 h 1901951"/>
                <a:gd name="connsiteX4" fmla="*/ 162042 w 926592"/>
                <a:gd name="connsiteY4" fmla="*/ 1099293 h 1901951"/>
                <a:gd name="connsiteX5" fmla="*/ 70359 w 926592"/>
                <a:gd name="connsiteY5" fmla="*/ 655992 h 1901951"/>
                <a:gd name="connsiteX6" fmla="*/ 212517 w 926592"/>
                <a:gd name="connsiteY6" fmla="*/ 218299 h 1901951"/>
                <a:gd name="connsiteX7" fmla="*/ 487813 w 926592"/>
                <a:gd name="connsiteY7" fmla="*/ 3720 h 1901951"/>
                <a:gd name="connsiteX8" fmla="*/ 640700 w 926592"/>
                <a:gd name="connsiteY8" fmla="*/ 177578 h 1901951"/>
                <a:gd name="connsiteX9" fmla="*/ 646552 w 926592"/>
                <a:gd name="connsiteY9" fmla="*/ 508225 h 1901951"/>
                <a:gd name="connsiteX10" fmla="*/ 637530 w 926592"/>
                <a:gd name="connsiteY10" fmla="*/ 654529 h 1901951"/>
                <a:gd name="connsiteX11" fmla="*/ 903804 w 926592"/>
                <a:gd name="connsiteY11" fmla="*/ 913974 h 1901951"/>
                <a:gd name="connsiteX12" fmla="*/ 821873 w 926592"/>
                <a:gd name="connsiteY12" fmla="*/ 1270469 h 1901951"/>
                <a:gd name="connsiteX13" fmla="*/ 764815 w 926592"/>
                <a:gd name="connsiteY13" fmla="*/ 1499190 h 1901951"/>
                <a:gd name="connsiteX14" fmla="*/ 807975 w 926592"/>
                <a:gd name="connsiteY14" fmla="*/ 1553323 h 1901951"/>
                <a:gd name="connsiteX15" fmla="*/ 679715 w 926592"/>
                <a:gd name="connsiteY15" fmla="*/ 1863487 h 190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26592" h="1901951">
                  <a:moveTo>
                    <a:pt x="679715" y="1863487"/>
                  </a:moveTo>
                  <a:cubicBezTo>
                    <a:pt x="503175" y="1997355"/>
                    <a:pt x="217150" y="1875435"/>
                    <a:pt x="58898" y="1738397"/>
                  </a:cubicBezTo>
                  <a:cubicBezTo>
                    <a:pt x="31344" y="1714501"/>
                    <a:pt x="10862" y="1682802"/>
                    <a:pt x="3303" y="1646957"/>
                  </a:cubicBezTo>
                  <a:cubicBezTo>
                    <a:pt x="-32786" y="1475050"/>
                    <a:pt x="238608" y="1432866"/>
                    <a:pt x="246655" y="1278759"/>
                  </a:cubicBezTo>
                  <a:cubicBezTo>
                    <a:pt x="250069" y="1211459"/>
                    <a:pt x="199350" y="1155376"/>
                    <a:pt x="162042" y="1099293"/>
                  </a:cubicBezTo>
                  <a:cubicBezTo>
                    <a:pt x="76698" y="971033"/>
                    <a:pt x="52314" y="808879"/>
                    <a:pt x="70359" y="655992"/>
                  </a:cubicBezTo>
                  <a:cubicBezTo>
                    <a:pt x="88403" y="502860"/>
                    <a:pt x="145705" y="357288"/>
                    <a:pt x="212517" y="218299"/>
                  </a:cubicBezTo>
                  <a:cubicBezTo>
                    <a:pt x="267137" y="104670"/>
                    <a:pt x="364673" y="-23590"/>
                    <a:pt x="487813" y="3720"/>
                  </a:cubicBezTo>
                  <a:cubicBezTo>
                    <a:pt x="566817" y="21276"/>
                    <a:pt x="617535" y="99793"/>
                    <a:pt x="640700" y="177578"/>
                  </a:cubicBezTo>
                  <a:cubicBezTo>
                    <a:pt x="672399" y="284380"/>
                    <a:pt x="667767" y="398985"/>
                    <a:pt x="646552" y="508225"/>
                  </a:cubicBezTo>
                  <a:cubicBezTo>
                    <a:pt x="637043" y="556505"/>
                    <a:pt x="624607" y="606980"/>
                    <a:pt x="637530" y="654529"/>
                  </a:cubicBezTo>
                  <a:cubicBezTo>
                    <a:pt x="670936" y="776205"/>
                    <a:pt x="841868" y="803759"/>
                    <a:pt x="903804" y="913974"/>
                  </a:cubicBezTo>
                  <a:cubicBezTo>
                    <a:pt x="966958" y="1025897"/>
                    <a:pt x="891612" y="1162204"/>
                    <a:pt x="821873" y="1270469"/>
                  </a:cubicBezTo>
                  <a:cubicBezTo>
                    <a:pt x="762133" y="1362884"/>
                    <a:pt x="725557" y="1420186"/>
                    <a:pt x="764815" y="1499190"/>
                  </a:cubicBezTo>
                  <a:cubicBezTo>
                    <a:pt x="775056" y="1520161"/>
                    <a:pt x="790418" y="1537961"/>
                    <a:pt x="807975" y="1553323"/>
                  </a:cubicBezTo>
                  <a:cubicBezTo>
                    <a:pt x="845526" y="1585510"/>
                    <a:pt x="915752" y="1684265"/>
                    <a:pt x="679715" y="186348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E1C8F0D-A063-47B6-892F-66B05134E56E}"/>
                </a:ext>
              </a:extLst>
            </p:cNvPr>
            <p:cNvSpPr/>
            <p:nvPr/>
          </p:nvSpPr>
          <p:spPr>
            <a:xfrm>
              <a:off x="10613136" y="1279712"/>
              <a:ext cx="146304" cy="1999487"/>
            </a:xfrm>
            <a:custGeom>
              <a:avLst/>
              <a:gdLst>
                <a:gd name="connsiteX0" fmla="*/ 56814 w 146304"/>
                <a:gd name="connsiteY0" fmla="*/ 0 h 1999487"/>
                <a:gd name="connsiteX1" fmla="*/ 0 w 146304"/>
                <a:gd name="connsiteY1" fmla="*/ 1999000 h 1999487"/>
                <a:gd name="connsiteX2" fmla="*/ 162885 w 146304"/>
                <a:gd name="connsiteY2" fmla="*/ 2013386 h 1999487"/>
                <a:gd name="connsiteX3" fmla="*/ 56814 w 146304"/>
                <a:gd name="connsiteY3" fmla="*/ 0 h 199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1999487">
                  <a:moveTo>
                    <a:pt x="56814" y="0"/>
                  </a:moveTo>
                  <a:cubicBezTo>
                    <a:pt x="56571" y="40965"/>
                    <a:pt x="0" y="1999000"/>
                    <a:pt x="0" y="1999000"/>
                  </a:cubicBezTo>
                  <a:lnTo>
                    <a:pt x="162885" y="2013386"/>
                  </a:lnTo>
                  <a:lnTo>
                    <a:pt x="56814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FEE0942-ED9A-4A38-B68F-4C4464C6F9E2}"/>
                </a:ext>
              </a:extLst>
            </p:cNvPr>
            <p:cNvSpPr/>
            <p:nvPr/>
          </p:nvSpPr>
          <p:spPr>
            <a:xfrm>
              <a:off x="10678877" y="2107548"/>
              <a:ext cx="365760" cy="341376"/>
            </a:xfrm>
            <a:custGeom>
              <a:avLst/>
              <a:gdLst>
                <a:gd name="connsiteX0" fmla="*/ 35940 w 365760"/>
                <a:gd name="connsiteY0" fmla="*/ 353812 h 341375"/>
                <a:gd name="connsiteX1" fmla="*/ 369513 w 365760"/>
                <a:gd name="connsiteY1" fmla="*/ 0 h 341375"/>
                <a:gd name="connsiteX2" fmla="*/ 6923 w 365760"/>
                <a:gd name="connsiteY2" fmla="*/ 324063 h 341375"/>
                <a:gd name="connsiteX3" fmla="*/ 5216 w 365760"/>
                <a:gd name="connsiteY3" fmla="*/ 353324 h 341375"/>
                <a:gd name="connsiteX4" fmla="*/ 34477 w 365760"/>
                <a:gd name="connsiteY4" fmla="*/ 355031 h 341375"/>
                <a:gd name="connsiteX5" fmla="*/ 35940 w 365760"/>
                <a:gd name="connsiteY5" fmla="*/ 353812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760" h="341375">
                  <a:moveTo>
                    <a:pt x="35940" y="353812"/>
                  </a:moveTo>
                  <a:lnTo>
                    <a:pt x="369513" y="0"/>
                  </a:lnTo>
                  <a:lnTo>
                    <a:pt x="6923" y="324063"/>
                  </a:lnTo>
                  <a:cubicBezTo>
                    <a:pt x="-1611" y="331622"/>
                    <a:pt x="-2343" y="344790"/>
                    <a:pt x="5216" y="353324"/>
                  </a:cubicBezTo>
                  <a:cubicBezTo>
                    <a:pt x="12775" y="361858"/>
                    <a:pt x="25943" y="362590"/>
                    <a:pt x="34477" y="355031"/>
                  </a:cubicBezTo>
                  <a:cubicBezTo>
                    <a:pt x="34965" y="354787"/>
                    <a:pt x="35452" y="354299"/>
                    <a:pt x="35940" y="353812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B0E740D-B463-4A25-B405-6A85B863E0EA}"/>
                </a:ext>
              </a:extLst>
            </p:cNvPr>
            <p:cNvSpPr/>
            <p:nvPr/>
          </p:nvSpPr>
          <p:spPr>
            <a:xfrm>
              <a:off x="10509991" y="1589389"/>
              <a:ext cx="146304" cy="268224"/>
            </a:xfrm>
            <a:custGeom>
              <a:avLst/>
              <a:gdLst>
                <a:gd name="connsiteX0" fmla="*/ 135088 w 146304"/>
                <a:gd name="connsiteY0" fmla="*/ 264566 h 268223"/>
                <a:gd name="connsiteX1" fmla="*/ 0 w 146304"/>
                <a:gd name="connsiteY1" fmla="*/ 0 h 268223"/>
                <a:gd name="connsiteX2" fmla="*/ 161666 w 146304"/>
                <a:gd name="connsiteY2" fmla="*/ 249204 h 268223"/>
                <a:gd name="connsiteX3" fmla="*/ 157033 w 146304"/>
                <a:gd name="connsiteY3" fmla="*/ 270418 h 268223"/>
                <a:gd name="connsiteX4" fmla="*/ 135819 w 146304"/>
                <a:gd name="connsiteY4" fmla="*/ 265785 h 268223"/>
                <a:gd name="connsiteX5" fmla="*/ 135088 w 146304"/>
                <a:gd name="connsiteY5" fmla="*/ 26456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304" h="268223">
                  <a:moveTo>
                    <a:pt x="135088" y="264566"/>
                  </a:moveTo>
                  <a:lnTo>
                    <a:pt x="0" y="0"/>
                  </a:lnTo>
                  <a:lnTo>
                    <a:pt x="161666" y="249204"/>
                  </a:lnTo>
                  <a:cubicBezTo>
                    <a:pt x="166299" y="256276"/>
                    <a:pt x="164349" y="265785"/>
                    <a:pt x="157033" y="270418"/>
                  </a:cubicBezTo>
                  <a:cubicBezTo>
                    <a:pt x="149962" y="275051"/>
                    <a:pt x="140452" y="273101"/>
                    <a:pt x="135819" y="265785"/>
                  </a:cubicBezTo>
                  <a:cubicBezTo>
                    <a:pt x="135575" y="265542"/>
                    <a:pt x="135332" y="265054"/>
                    <a:pt x="135088" y="264566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5D11EBE-9C74-421D-93F4-436FC96A4DA1}"/>
                </a:ext>
              </a:extLst>
            </p:cNvPr>
            <p:cNvSpPr/>
            <p:nvPr/>
          </p:nvSpPr>
          <p:spPr>
            <a:xfrm>
              <a:off x="10702869" y="1921742"/>
              <a:ext cx="316992" cy="463296"/>
            </a:xfrm>
            <a:custGeom>
              <a:avLst/>
              <a:gdLst>
                <a:gd name="connsiteX0" fmla="*/ 0 w 316992"/>
                <a:gd name="connsiteY0" fmla="*/ 486948 h 463295"/>
                <a:gd name="connsiteX1" fmla="*/ 322601 w 316992"/>
                <a:gd name="connsiteY1" fmla="*/ 0 h 463295"/>
                <a:gd name="connsiteX2" fmla="*/ 0 w 316992"/>
                <a:gd name="connsiteY2" fmla="*/ 486948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63295">
                  <a:moveTo>
                    <a:pt x="0" y="486948"/>
                  </a:moveTo>
                  <a:lnTo>
                    <a:pt x="322601" y="0"/>
                  </a:lnTo>
                  <a:lnTo>
                    <a:pt x="0" y="486948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C6FB0D0-F1D2-4E44-9CE4-D9B2E834751F}"/>
                </a:ext>
              </a:extLst>
            </p:cNvPr>
            <p:cNvSpPr/>
            <p:nvPr/>
          </p:nvSpPr>
          <p:spPr>
            <a:xfrm>
              <a:off x="4779796" y="1990749"/>
              <a:ext cx="1267968" cy="1316736"/>
            </a:xfrm>
            <a:custGeom>
              <a:avLst/>
              <a:gdLst>
                <a:gd name="connsiteX0" fmla="*/ 1273776 w 1267968"/>
                <a:gd name="connsiteY0" fmla="*/ 1317467 h 1316735"/>
                <a:gd name="connsiteX1" fmla="*/ 1063098 w 1267968"/>
                <a:gd name="connsiteY1" fmla="*/ 748101 h 1316735"/>
                <a:gd name="connsiteX2" fmla="*/ 775611 w 1267968"/>
                <a:gd name="connsiteY2" fmla="*/ 437936 h 1316735"/>
                <a:gd name="connsiteX3" fmla="*/ 542256 w 1267968"/>
                <a:gd name="connsiteY3" fmla="*/ 2682 h 1316735"/>
                <a:gd name="connsiteX4" fmla="*/ 308901 w 1267968"/>
                <a:gd name="connsiteY4" fmla="*/ 476219 h 1316735"/>
                <a:gd name="connsiteX5" fmla="*/ 55307 w 1267968"/>
                <a:gd name="connsiteY5" fmla="*/ 778825 h 1316735"/>
                <a:gd name="connsiteX6" fmla="*/ 63598 w 1267968"/>
                <a:gd name="connsiteY6" fmla="*/ 1317467 h 1316735"/>
                <a:gd name="connsiteX7" fmla="*/ 1273776 w 1267968"/>
                <a:gd name="connsiteY7" fmla="*/ 1317467 h 131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7968" h="1316735">
                  <a:moveTo>
                    <a:pt x="1273776" y="1317467"/>
                  </a:moveTo>
                  <a:cubicBezTo>
                    <a:pt x="1323763" y="975847"/>
                    <a:pt x="1204525" y="773216"/>
                    <a:pt x="1063098" y="748101"/>
                  </a:cubicBezTo>
                  <a:cubicBezTo>
                    <a:pt x="917526" y="722254"/>
                    <a:pt x="819502" y="669097"/>
                    <a:pt x="775611" y="437936"/>
                  </a:cubicBezTo>
                  <a:cubicBezTo>
                    <a:pt x="731720" y="206776"/>
                    <a:pt x="704653" y="-27798"/>
                    <a:pt x="542256" y="2682"/>
                  </a:cubicBezTo>
                  <a:cubicBezTo>
                    <a:pt x="379859" y="33162"/>
                    <a:pt x="322313" y="239451"/>
                    <a:pt x="308901" y="476219"/>
                  </a:cubicBezTo>
                  <a:cubicBezTo>
                    <a:pt x="295490" y="712988"/>
                    <a:pt x="193809" y="685922"/>
                    <a:pt x="55307" y="778825"/>
                  </a:cubicBezTo>
                  <a:cubicBezTo>
                    <a:pt x="-52957" y="851489"/>
                    <a:pt x="24340" y="1178235"/>
                    <a:pt x="63598" y="1317467"/>
                  </a:cubicBezTo>
                  <a:lnTo>
                    <a:pt x="1273776" y="1317467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33D0622-8C59-4EAA-9B42-E15CA9247C75}"/>
                </a:ext>
              </a:extLst>
            </p:cNvPr>
            <p:cNvSpPr/>
            <p:nvPr/>
          </p:nvSpPr>
          <p:spPr>
            <a:xfrm>
              <a:off x="4859098" y="2734948"/>
              <a:ext cx="1048512" cy="560832"/>
            </a:xfrm>
            <a:custGeom>
              <a:avLst/>
              <a:gdLst>
                <a:gd name="connsiteX0" fmla="*/ 1036953 w 1048512"/>
                <a:gd name="connsiteY0" fmla="*/ 309189 h 560831"/>
                <a:gd name="connsiteX1" fmla="*/ 730934 w 1048512"/>
                <a:gd name="connsiteY1" fmla="*/ 343327 h 560831"/>
                <a:gd name="connsiteX2" fmla="*/ 502700 w 1048512"/>
                <a:gd name="connsiteY2" fmla="*/ 0 h 560831"/>
                <a:gd name="connsiteX3" fmla="*/ 247399 w 1048512"/>
                <a:gd name="connsiteY3" fmla="*/ 380634 h 560831"/>
                <a:gd name="connsiteX4" fmla="*/ 42817 w 1048512"/>
                <a:gd name="connsiteY4" fmla="*/ 271882 h 560831"/>
                <a:gd name="connsiteX5" fmla="*/ 35502 w 1048512"/>
                <a:gd name="connsiteY5" fmla="*/ 573268 h 560831"/>
                <a:gd name="connsiteX6" fmla="*/ 994281 w 1048512"/>
                <a:gd name="connsiteY6" fmla="*/ 573268 h 560831"/>
                <a:gd name="connsiteX7" fmla="*/ 1036953 w 1048512"/>
                <a:gd name="connsiteY7" fmla="*/ 309189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8512" h="560831">
                  <a:moveTo>
                    <a:pt x="1036953" y="309189"/>
                  </a:moveTo>
                  <a:cubicBezTo>
                    <a:pt x="970873" y="263103"/>
                    <a:pt x="837492" y="355275"/>
                    <a:pt x="730934" y="343327"/>
                  </a:cubicBezTo>
                  <a:cubicBezTo>
                    <a:pt x="624376" y="331378"/>
                    <a:pt x="651442" y="0"/>
                    <a:pt x="502700" y="0"/>
                  </a:cubicBezTo>
                  <a:cubicBezTo>
                    <a:pt x="353957" y="0"/>
                    <a:pt x="365662" y="378927"/>
                    <a:pt x="247399" y="380634"/>
                  </a:cubicBezTo>
                  <a:cubicBezTo>
                    <a:pt x="128893" y="382341"/>
                    <a:pt x="139134" y="216530"/>
                    <a:pt x="42817" y="271882"/>
                  </a:cubicBezTo>
                  <a:cubicBezTo>
                    <a:pt x="-36674" y="317480"/>
                    <a:pt x="15020" y="507919"/>
                    <a:pt x="35502" y="573268"/>
                  </a:cubicBezTo>
                  <a:lnTo>
                    <a:pt x="994281" y="573268"/>
                  </a:lnTo>
                  <a:cubicBezTo>
                    <a:pt x="1030370" y="486461"/>
                    <a:pt x="1082308" y="341132"/>
                    <a:pt x="1036953" y="309189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2369F28-2489-4346-973C-A5F1BCE3C21A}"/>
                </a:ext>
              </a:extLst>
            </p:cNvPr>
            <p:cNvSpPr/>
            <p:nvPr/>
          </p:nvSpPr>
          <p:spPr>
            <a:xfrm>
              <a:off x="5334244" y="2164363"/>
              <a:ext cx="24384" cy="1121664"/>
            </a:xfrm>
            <a:custGeom>
              <a:avLst/>
              <a:gdLst>
                <a:gd name="connsiteX0" fmla="*/ 0 w 24384"/>
                <a:gd name="connsiteY0" fmla="*/ 0 h 1121663"/>
                <a:gd name="connsiteX1" fmla="*/ 7559 w 24384"/>
                <a:gd name="connsiteY1" fmla="*/ 1143853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0" y="0"/>
                  </a:moveTo>
                  <a:cubicBezTo>
                    <a:pt x="0" y="0"/>
                    <a:pt x="59009" y="677875"/>
                    <a:pt x="7559" y="114385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7744662-21B8-46B9-B4E6-518E324BAA69}"/>
                </a:ext>
              </a:extLst>
            </p:cNvPr>
            <p:cNvSpPr/>
            <p:nvPr/>
          </p:nvSpPr>
          <p:spPr>
            <a:xfrm>
              <a:off x="5344485" y="2209473"/>
              <a:ext cx="48768" cy="73152"/>
            </a:xfrm>
            <a:custGeom>
              <a:avLst/>
              <a:gdLst>
                <a:gd name="connsiteX0" fmla="*/ 68031 w 48768"/>
                <a:gd name="connsiteY0" fmla="*/ 0 h 73151"/>
                <a:gd name="connsiteX1" fmla="*/ 0 w 48768"/>
                <a:gd name="connsiteY1" fmla="*/ 95585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73151">
                  <a:moveTo>
                    <a:pt x="68031" y="0"/>
                  </a:moveTo>
                  <a:lnTo>
                    <a:pt x="0" y="9558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C3046117-8AD1-486C-A30D-28BA8A8BCFEB}"/>
                </a:ext>
              </a:extLst>
            </p:cNvPr>
            <p:cNvSpPr/>
            <p:nvPr/>
          </p:nvSpPr>
          <p:spPr>
            <a:xfrm>
              <a:off x="5214275" y="2268239"/>
              <a:ext cx="121920" cy="121920"/>
            </a:xfrm>
            <a:custGeom>
              <a:avLst/>
              <a:gdLst>
                <a:gd name="connsiteX0" fmla="*/ 0 w 121920"/>
                <a:gd name="connsiteY0" fmla="*/ 0 h 121919"/>
                <a:gd name="connsiteX1" fmla="*/ 135819 w 121920"/>
                <a:gd name="connsiteY1" fmla="*/ 130698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0" y="0"/>
                  </a:moveTo>
                  <a:lnTo>
                    <a:pt x="135819" y="13069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D3AC6B2-B7D4-4E91-92CB-C4FA6CAFEC99}"/>
                </a:ext>
              </a:extLst>
            </p:cNvPr>
            <p:cNvSpPr/>
            <p:nvPr/>
          </p:nvSpPr>
          <p:spPr>
            <a:xfrm>
              <a:off x="5358872" y="2441365"/>
              <a:ext cx="121920" cy="146304"/>
            </a:xfrm>
            <a:custGeom>
              <a:avLst/>
              <a:gdLst>
                <a:gd name="connsiteX0" fmla="*/ 143378 w 121920"/>
                <a:gd name="connsiteY0" fmla="*/ 0 h 146303"/>
                <a:gd name="connsiteX1" fmla="*/ 0 w 121920"/>
                <a:gd name="connsiteY1" fmla="*/ 15971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46303">
                  <a:moveTo>
                    <a:pt x="143378" y="0"/>
                  </a:moveTo>
                  <a:lnTo>
                    <a:pt x="0" y="15971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EAF0C85C-4F8F-4ED4-BF05-AA3A6D3B8A3D}"/>
                </a:ext>
              </a:extLst>
            </p:cNvPr>
            <p:cNvSpPr/>
            <p:nvPr/>
          </p:nvSpPr>
          <p:spPr>
            <a:xfrm>
              <a:off x="5143561" y="2521345"/>
              <a:ext cx="219456" cy="195072"/>
            </a:xfrm>
            <a:custGeom>
              <a:avLst/>
              <a:gdLst>
                <a:gd name="connsiteX0" fmla="*/ 0 w 219456"/>
                <a:gd name="connsiteY0" fmla="*/ 0 h 195071"/>
                <a:gd name="connsiteX1" fmla="*/ 219456 w 219456"/>
                <a:gd name="connsiteY1" fmla="*/ 21506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195071">
                  <a:moveTo>
                    <a:pt x="0" y="0"/>
                  </a:moveTo>
                  <a:lnTo>
                    <a:pt x="219456" y="21506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5A2A1A54-FD91-4D2E-A63A-CE16FC5C3B4C}"/>
                </a:ext>
              </a:extLst>
            </p:cNvPr>
            <p:cNvSpPr/>
            <p:nvPr/>
          </p:nvSpPr>
          <p:spPr>
            <a:xfrm>
              <a:off x="5363017" y="2628878"/>
              <a:ext cx="243840" cy="243840"/>
            </a:xfrm>
            <a:custGeom>
              <a:avLst/>
              <a:gdLst>
                <a:gd name="connsiteX0" fmla="*/ 259202 w 243840"/>
                <a:gd name="connsiteY0" fmla="*/ 0 h 243839"/>
                <a:gd name="connsiteX1" fmla="*/ 0 w 243840"/>
                <a:gd name="connsiteY1" fmla="*/ 250180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43839">
                  <a:moveTo>
                    <a:pt x="259202" y="0"/>
                  </a:moveTo>
                  <a:lnTo>
                    <a:pt x="0" y="25018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9067224-F95C-40F5-B055-EE400F9FB4CA}"/>
                </a:ext>
              </a:extLst>
            </p:cNvPr>
            <p:cNvSpPr/>
            <p:nvPr/>
          </p:nvSpPr>
          <p:spPr>
            <a:xfrm>
              <a:off x="5206716" y="2904417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52888 w 146304"/>
                <a:gd name="connsiteY1" fmla="*/ 15044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52888" y="15044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EC8E2B8-56BE-4D02-9676-FCA4851E9C1E}"/>
                </a:ext>
              </a:extLst>
            </p:cNvPr>
            <p:cNvSpPr/>
            <p:nvPr/>
          </p:nvSpPr>
          <p:spPr>
            <a:xfrm>
              <a:off x="5354970" y="2944407"/>
              <a:ext cx="195072" cy="195072"/>
            </a:xfrm>
            <a:custGeom>
              <a:avLst/>
              <a:gdLst>
                <a:gd name="connsiteX0" fmla="*/ 196535 w 195072"/>
                <a:gd name="connsiteY0" fmla="*/ 0 h 195071"/>
                <a:gd name="connsiteX1" fmla="*/ 0 w 195072"/>
                <a:gd name="connsiteY1" fmla="*/ 207995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95071">
                  <a:moveTo>
                    <a:pt x="196535" y="0"/>
                  </a:moveTo>
                  <a:lnTo>
                    <a:pt x="0" y="20799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61A13B3A-DBEB-41D4-BE4A-CA78BE76FF4E}"/>
                </a:ext>
              </a:extLst>
            </p:cNvPr>
            <p:cNvSpPr/>
            <p:nvPr/>
          </p:nvSpPr>
          <p:spPr>
            <a:xfrm>
              <a:off x="4965801" y="2878570"/>
              <a:ext cx="48768" cy="414528"/>
            </a:xfrm>
            <a:custGeom>
              <a:avLst/>
              <a:gdLst>
                <a:gd name="connsiteX0" fmla="*/ 0 w 48768"/>
                <a:gd name="connsiteY0" fmla="*/ 0 h 414527"/>
                <a:gd name="connsiteX1" fmla="*/ 68763 w 48768"/>
                <a:gd name="connsiteY1" fmla="*/ 429646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0" y="0"/>
                  </a:moveTo>
                  <a:cubicBezTo>
                    <a:pt x="0" y="0"/>
                    <a:pt x="59253" y="97292"/>
                    <a:pt x="68763" y="429646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7C4DF080-A1E1-41F2-B8D1-1C75028B6AFF}"/>
                </a:ext>
              </a:extLst>
            </p:cNvPr>
            <p:cNvSpPr/>
            <p:nvPr/>
          </p:nvSpPr>
          <p:spPr>
            <a:xfrm>
              <a:off x="5025786" y="3037554"/>
              <a:ext cx="73152" cy="121920"/>
            </a:xfrm>
            <a:custGeom>
              <a:avLst/>
              <a:gdLst>
                <a:gd name="connsiteX0" fmla="*/ 83637 w 73152"/>
                <a:gd name="connsiteY0" fmla="*/ 0 h 121919"/>
                <a:gd name="connsiteX1" fmla="*/ 0 w 73152"/>
                <a:gd name="connsiteY1" fmla="*/ 13776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83637" y="0"/>
                  </a:moveTo>
                  <a:lnTo>
                    <a:pt x="0" y="13776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005551B-923B-4B5E-AD19-CD11FE4D5475}"/>
                </a:ext>
              </a:extLst>
            </p:cNvPr>
            <p:cNvSpPr/>
            <p:nvPr/>
          </p:nvSpPr>
          <p:spPr>
            <a:xfrm>
              <a:off x="4848758" y="3132408"/>
              <a:ext cx="170688" cy="48768"/>
            </a:xfrm>
            <a:custGeom>
              <a:avLst/>
              <a:gdLst>
                <a:gd name="connsiteX0" fmla="*/ 0 w 170688"/>
                <a:gd name="connsiteY0" fmla="*/ 0 h 48767"/>
                <a:gd name="connsiteX1" fmla="*/ 179466 w 170688"/>
                <a:gd name="connsiteY1" fmla="*/ 6973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48767">
                  <a:moveTo>
                    <a:pt x="0" y="0"/>
                  </a:moveTo>
                  <a:lnTo>
                    <a:pt x="179466" y="697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4443C0B-E7CA-42E6-A5D5-094E6EC37ACD}"/>
                </a:ext>
              </a:extLst>
            </p:cNvPr>
            <p:cNvSpPr/>
            <p:nvPr/>
          </p:nvSpPr>
          <p:spPr>
            <a:xfrm>
              <a:off x="5773156" y="2953429"/>
              <a:ext cx="24384" cy="341376"/>
            </a:xfrm>
            <a:custGeom>
              <a:avLst/>
              <a:gdLst>
                <a:gd name="connsiteX0" fmla="*/ 39990 w 24384"/>
                <a:gd name="connsiteY0" fmla="*/ 0 h 341375"/>
                <a:gd name="connsiteX1" fmla="*/ 0 w 24384"/>
                <a:gd name="connsiteY1" fmla="*/ 35503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341375">
                  <a:moveTo>
                    <a:pt x="39990" y="0"/>
                  </a:moveTo>
                  <a:cubicBezTo>
                    <a:pt x="39990" y="0"/>
                    <a:pt x="9510" y="22433"/>
                    <a:pt x="0" y="355031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14A0746-2E42-434B-AEAB-C009BFABE55F}"/>
                </a:ext>
              </a:extLst>
            </p:cNvPr>
            <p:cNvSpPr/>
            <p:nvPr/>
          </p:nvSpPr>
          <p:spPr>
            <a:xfrm>
              <a:off x="5698541" y="3038042"/>
              <a:ext cx="73152" cy="121920"/>
            </a:xfrm>
            <a:custGeom>
              <a:avLst/>
              <a:gdLst>
                <a:gd name="connsiteX0" fmla="*/ 0 w 73152"/>
                <a:gd name="connsiteY0" fmla="*/ 0 h 121919"/>
                <a:gd name="connsiteX1" fmla="*/ 83393 w 73152"/>
                <a:gd name="connsiteY1" fmla="*/ 137282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0" y="0"/>
                  </a:moveTo>
                  <a:lnTo>
                    <a:pt x="83393" y="1372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0FFE069-3A26-43FF-9F0E-A02776B56884}"/>
                </a:ext>
              </a:extLst>
            </p:cNvPr>
            <p:cNvSpPr/>
            <p:nvPr/>
          </p:nvSpPr>
          <p:spPr>
            <a:xfrm>
              <a:off x="5779496" y="3153134"/>
              <a:ext cx="121920" cy="48768"/>
            </a:xfrm>
            <a:custGeom>
              <a:avLst/>
              <a:gdLst>
                <a:gd name="connsiteX0" fmla="*/ 126309 w 121920"/>
                <a:gd name="connsiteY0" fmla="*/ 0 h 48767"/>
                <a:gd name="connsiteX1" fmla="*/ 0 w 121920"/>
                <a:gd name="connsiteY1" fmla="*/ 49012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48767">
                  <a:moveTo>
                    <a:pt x="126309" y="0"/>
                  </a:moveTo>
                  <a:lnTo>
                    <a:pt x="0" y="4901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B45E805-F6F5-4BFE-82C6-7EE6B9534D32}"/>
                </a:ext>
              </a:extLst>
            </p:cNvPr>
            <p:cNvSpPr/>
            <p:nvPr/>
          </p:nvSpPr>
          <p:spPr>
            <a:xfrm>
              <a:off x="4211276" y="2396371"/>
              <a:ext cx="877824" cy="902208"/>
            </a:xfrm>
            <a:custGeom>
              <a:avLst/>
              <a:gdLst>
                <a:gd name="connsiteX0" fmla="*/ 882054 w 877824"/>
                <a:gd name="connsiteY0" fmla="*/ 911845 h 902207"/>
                <a:gd name="connsiteX1" fmla="*/ 736238 w 877824"/>
                <a:gd name="connsiteY1" fmla="*/ 517800 h 902207"/>
                <a:gd name="connsiteX2" fmla="*/ 537265 w 877824"/>
                <a:gd name="connsiteY2" fmla="*/ 303221 h 902207"/>
                <a:gd name="connsiteX3" fmla="*/ 375599 w 877824"/>
                <a:gd name="connsiteY3" fmla="*/ 1835 h 902207"/>
                <a:gd name="connsiteX4" fmla="*/ 213933 w 877824"/>
                <a:gd name="connsiteY4" fmla="*/ 329556 h 902207"/>
                <a:gd name="connsiteX5" fmla="*/ 38368 w 877824"/>
                <a:gd name="connsiteY5" fmla="*/ 539014 h 902207"/>
                <a:gd name="connsiteX6" fmla="*/ 43976 w 877824"/>
                <a:gd name="connsiteY6" fmla="*/ 911845 h 902207"/>
                <a:gd name="connsiteX7" fmla="*/ 882054 w 877824"/>
                <a:gd name="connsiteY7" fmla="*/ 911845 h 90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7824" h="902207">
                  <a:moveTo>
                    <a:pt x="882054" y="911845"/>
                  </a:moveTo>
                  <a:cubicBezTo>
                    <a:pt x="916680" y="675565"/>
                    <a:pt x="834262" y="535113"/>
                    <a:pt x="736238" y="517800"/>
                  </a:cubicBezTo>
                  <a:cubicBezTo>
                    <a:pt x="635532" y="500000"/>
                    <a:pt x="567745" y="462936"/>
                    <a:pt x="537265" y="303221"/>
                  </a:cubicBezTo>
                  <a:cubicBezTo>
                    <a:pt x="506785" y="143262"/>
                    <a:pt x="488009" y="-19135"/>
                    <a:pt x="375599" y="1835"/>
                  </a:cubicBezTo>
                  <a:cubicBezTo>
                    <a:pt x="263188" y="22805"/>
                    <a:pt x="223442" y="165695"/>
                    <a:pt x="213933" y="329556"/>
                  </a:cubicBezTo>
                  <a:cubicBezTo>
                    <a:pt x="204667" y="493416"/>
                    <a:pt x="134441" y="474641"/>
                    <a:pt x="38368" y="539014"/>
                  </a:cubicBezTo>
                  <a:cubicBezTo>
                    <a:pt x="-36735" y="589245"/>
                    <a:pt x="16910" y="815285"/>
                    <a:pt x="43976" y="911845"/>
                  </a:cubicBezTo>
                  <a:lnTo>
                    <a:pt x="882054" y="911845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073676D9-EF3C-4248-BE61-8F641AA494D3}"/>
                </a:ext>
              </a:extLst>
            </p:cNvPr>
            <p:cNvSpPr/>
            <p:nvPr/>
          </p:nvSpPr>
          <p:spPr>
            <a:xfrm>
              <a:off x="4272385" y="2911489"/>
              <a:ext cx="707136" cy="390144"/>
            </a:xfrm>
            <a:custGeom>
              <a:avLst/>
              <a:gdLst>
                <a:gd name="connsiteX0" fmla="*/ 718045 w 707136"/>
                <a:gd name="connsiteY0" fmla="*/ 214091 h 390143"/>
                <a:gd name="connsiteX1" fmla="*/ 506148 w 707136"/>
                <a:gd name="connsiteY1" fmla="*/ 237744 h 390143"/>
                <a:gd name="connsiteX2" fmla="*/ 348140 w 707136"/>
                <a:gd name="connsiteY2" fmla="*/ 0 h 390143"/>
                <a:gd name="connsiteX3" fmla="*/ 171356 w 707136"/>
                <a:gd name="connsiteY3" fmla="*/ 263347 h 390143"/>
                <a:gd name="connsiteX4" fmla="*/ 29684 w 707136"/>
                <a:gd name="connsiteY4" fmla="*/ 188000 h 390143"/>
                <a:gd name="connsiteX5" fmla="*/ 24564 w 707136"/>
                <a:gd name="connsiteY5" fmla="*/ 396484 h 390143"/>
                <a:gd name="connsiteX6" fmla="*/ 688052 w 707136"/>
                <a:gd name="connsiteY6" fmla="*/ 396484 h 390143"/>
                <a:gd name="connsiteX7" fmla="*/ 718045 w 707136"/>
                <a:gd name="connsiteY7" fmla="*/ 214091 h 390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136" h="390143">
                  <a:moveTo>
                    <a:pt x="718045" y="214091"/>
                  </a:moveTo>
                  <a:cubicBezTo>
                    <a:pt x="672447" y="182148"/>
                    <a:pt x="579788" y="246034"/>
                    <a:pt x="506148" y="237744"/>
                  </a:cubicBezTo>
                  <a:cubicBezTo>
                    <a:pt x="432508" y="229453"/>
                    <a:pt x="451040" y="0"/>
                    <a:pt x="348140" y="0"/>
                  </a:cubicBezTo>
                  <a:cubicBezTo>
                    <a:pt x="245239" y="0"/>
                    <a:pt x="253286" y="262128"/>
                    <a:pt x="171356" y="263347"/>
                  </a:cubicBezTo>
                  <a:cubicBezTo>
                    <a:pt x="89425" y="264566"/>
                    <a:pt x="96497" y="149718"/>
                    <a:pt x="29684" y="188000"/>
                  </a:cubicBezTo>
                  <a:cubicBezTo>
                    <a:pt x="-25423" y="219456"/>
                    <a:pt x="10421" y="351373"/>
                    <a:pt x="24564" y="396484"/>
                  </a:cubicBezTo>
                  <a:lnTo>
                    <a:pt x="688052" y="396484"/>
                  </a:lnTo>
                  <a:cubicBezTo>
                    <a:pt x="713656" y="336743"/>
                    <a:pt x="749500" y="236037"/>
                    <a:pt x="718045" y="214091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FA37BC60-4A42-4DD5-A8C8-87F15A52C4FD}"/>
                </a:ext>
              </a:extLst>
            </p:cNvPr>
            <p:cNvSpPr/>
            <p:nvPr/>
          </p:nvSpPr>
          <p:spPr>
            <a:xfrm>
              <a:off x="5664847" y="2225031"/>
              <a:ext cx="560832" cy="1170432"/>
            </a:xfrm>
            <a:custGeom>
              <a:avLst/>
              <a:gdLst>
                <a:gd name="connsiteX0" fmla="*/ 416766 w 560832"/>
                <a:gd name="connsiteY0" fmla="*/ 1142195 h 1170431"/>
                <a:gd name="connsiteX1" fmla="*/ 36132 w 560832"/>
                <a:gd name="connsiteY1" fmla="*/ 1065385 h 1170431"/>
                <a:gd name="connsiteX2" fmla="*/ 1994 w 560832"/>
                <a:gd name="connsiteY2" fmla="*/ 1009301 h 1170431"/>
                <a:gd name="connsiteX3" fmla="*/ 151225 w 560832"/>
                <a:gd name="connsiteY3" fmla="*/ 783750 h 1170431"/>
                <a:gd name="connsiteX4" fmla="*/ 99287 w 560832"/>
                <a:gd name="connsiteY4" fmla="*/ 673778 h 1170431"/>
                <a:gd name="connsiteX5" fmla="*/ 43203 w 560832"/>
                <a:gd name="connsiteY5" fmla="*/ 402140 h 1170431"/>
                <a:gd name="connsiteX6" fmla="*/ 130254 w 560832"/>
                <a:gd name="connsiteY6" fmla="*/ 133916 h 1170431"/>
                <a:gd name="connsiteX7" fmla="*/ 298992 w 560832"/>
                <a:gd name="connsiteY7" fmla="*/ 2243 h 1170431"/>
                <a:gd name="connsiteX8" fmla="*/ 392626 w 560832"/>
                <a:gd name="connsiteY8" fmla="*/ 108801 h 1170431"/>
                <a:gd name="connsiteX9" fmla="*/ 396284 w 560832"/>
                <a:gd name="connsiteY9" fmla="*/ 311432 h 1170431"/>
                <a:gd name="connsiteX10" fmla="*/ 390675 w 560832"/>
                <a:gd name="connsiteY10" fmla="*/ 401165 h 1170431"/>
                <a:gd name="connsiteX11" fmla="*/ 553804 w 560832"/>
                <a:gd name="connsiteY11" fmla="*/ 560148 h 1170431"/>
                <a:gd name="connsiteX12" fmla="*/ 503573 w 560832"/>
                <a:gd name="connsiteY12" fmla="*/ 778629 h 1170431"/>
                <a:gd name="connsiteX13" fmla="*/ 468460 w 560832"/>
                <a:gd name="connsiteY13" fmla="*/ 918837 h 1170431"/>
                <a:gd name="connsiteX14" fmla="*/ 495039 w 560832"/>
                <a:gd name="connsiteY14" fmla="*/ 951999 h 1170431"/>
                <a:gd name="connsiteX15" fmla="*/ 416766 w 560832"/>
                <a:gd name="connsiteY15" fmla="*/ 1142195 h 117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0832" h="1170431">
                  <a:moveTo>
                    <a:pt x="416766" y="1142195"/>
                  </a:moveTo>
                  <a:cubicBezTo>
                    <a:pt x="308501" y="1224368"/>
                    <a:pt x="133180" y="1149509"/>
                    <a:pt x="36132" y="1065385"/>
                  </a:cubicBezTo>
                  <a:cubicBezTo>
                    <a:pt x="19063" y="1050755"/>
                    <a:pt x="6627" y="1031247"/>
                    <a:pt x="1994" y="1009301"/>
                  </a:cubicBezTo>
                  <a:cubicBezTo>
                    <a:pt x="-19951" y="903963"/>
                    <a:pt x="146348" y="878116"/>
                    <a:pt x="151225" y="783750"/>
                  </a:cubicBezTo>
                  <a:cubicBezTo>
                    <a:pt x="153419" y="742541"/>
                    <a:pt x="122208" y="708159"/>
                    <a:pt x="99287" y="673778"/>
                  </a:cubicBezTo>
                  <a:cubicBezTo>
                    <a:pt x="46861" y="595261"/>
                    <a:pt x="31987" y="495775"/>
                    <a:pt x="43203" y="402140"/>
                  </a:cubicBezTo>
                  <a:cubicBezTo>
                    <a:pt x="54176" y="308262"/>
                    <a:pt x="89289" y="219016"/>
                    <a:pt x="130254" y="133916"/>
                  </a:cubicBezTo>
                  <a:cubicBezTo>
                    <a:pt x="163660" y="64178"/>
                    <a:pt x="223401" y="-14339"/>
                    <a:pt x="298992" y="2243"/>
                  </a:cubicBezTo>
                  <a:cubicBezTo>
                    <a:pt x="347516" y="12972"/>
                    <a:pt x="378483" y="61252"/>
                    <a:pt x="392626" y="108801"/>
                  </a:cubicBezTo>
                  <a:cubicBezTo>
                    <a:pt x="412133" y="174150"/>
                    <a:pt x="409207" y="244620"/>
                    <a:pt x="396284" y="311432"/>
                  </a:cubicBezTo>
                  <a:cubicBezTo>
                    <a:pt x="390432" y="341180"/>
                    <a:pt x="382873" y="371904"/>
                    <a:pt x="390675" y="401165"/>
                  </a:cubicBezTo>
                  <a:cubicBezTo>
                    <a:pt x="411158" y="475780"/>
                    <a:pt x="515765" y="492605"/>
                    <a:pt x="553804" y="560148"/>
                  </a:cubicBezTo>
                  <a:cubicBezTo>
                    <a:pt x="592575" y="628667"/>
                    <a:pt x="546245" y="712305"/>
                    <a:pt x="503573" y="778629"/>
                  </a:cubicBezTo>
                  <a:cubicBezTo>
                    <a:pt x="466997" y="835200"/>
                    <a:pt x="444564" y="870313"/>
                    <a:pt x="468460" y="918837"/>
                  </a:cubicBezTo>
                  <a:cubicBezTo>
                    <a:pt x="474800" y="931760"/>
                    <a:pt x="484066" y="942733"/>
                    <a:pt x="495039" y="951999"/>
                  </a:cubicBezTo>
                  <a:cubicBezTo>
                    <a:pt x="518448" y="971994"/>
                    <a:pt x="561363" y="1032467"/>
                    <a:pt x="416766" y="1142195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0D7743B7-0B89-449F-AB8A-6FE3EF370C4B}"/>
                </a:ext>
              </a:extLst>
            </p:cNvPr>
            <p:cNvSpPr/>
            <p:nvPr/>
          </p:nvSpPr>
          <p:spPr>
            <a:xfrm>
              <a:off x="5965381" y="2598302"/>
              <a:ext cx="365760" cy="780288"/>
            </a:xfrm>
            <a:custGeom>
              <a:avLst/>
              <a:gdLst>
                <a:gd name="connsiteX0" fmla="*/ 284727 w 365760"/>
                <a:gd name="connsiteY0" fmla="*/ 780140 h 780287"/>
                <a:gd name="connsiteX1" fmla="*/ 24793 w 365760"/>
                <a:gd name="connsiteY1" fmla="*/ 727715 h 780287"/>
                <a:gd name="connsiteX2" fmla="*/ 1384 w 365760"/>
                <a:gd name="connsiteY2" fmla="*/ 689432 h 780287"/>
                <a:gd name="connsiteX3" fmla="*/ 103310 w 365760"/>
                <a:gd name="connsiteY3" fmla="*/ 535325 h 780287"/>
                <a:gd name="connsiteX4" fmla="*/ 67709 w 365760"/>
                <a:gd name="connsiteY4" fmla="*/ 460223 h 780287"/>
                <a:gd name="connsiteX5" fmla="*/ 29426 w 365760"/>
                <a:gd name="connsiteY5" fmla="*/ 274660 h 780287"/>
                <a:gd name="connsiteX6" fmla="*/ 88923 w 365760"/>
                <a:gd name="connsiteY6" fmla="*/ 91537 h 780287"/>
                <a:gd name="connsiteX7" fmla="*/ 204015 w 365760"/>
                <a:gd name="connsiteY7" fmla="*/ 1560 h 780287"/>
                <a:gd name="connsiteX8" fmla="*/ 268145 w 365760"/>
                <a:gd name="connsiteY8" fmla="*/ 74224 h 780287"/>
                <a:gd name="connsiteX9" fmla="*/ 270584 w 365760"/>
                <a:gd name="connsiteY9" fmla="*/ 212725 h 780287"/>
                <a:gd name="connsiteX10" fmla="*/ 266926 w 365760"/>
                <a:gd name="connsiteY10" fmla="*/ 273929 h 780287"/>
                <a:gd name="connsiteX11" fmla="*/ 378361 w 365760"/>
                <a:gd name="connsiteY11" fmla="*/ 382438 h 780287"/>
                <a:gd name="connsiteX12" fmla="*/ 344224 w 365760"/>
                <a:gd name="connsiteY12" fmla="*/ 531668 h 780287"/>
                <a:gd name="connsiteX13" fmla="*/ 320327 w 365760"/>
                <a:gd name="connsiteY13" fmla="*/ 627497 h 780287"/>
                <a:gd name="connsiteX14" fmla="*/ 338371 w 365760"/>
                <a:gd name="connsiteY14" fmla="*/ 650174 h 780287"/>
                <a:gd name="connsiteX15" fmla="*/ 284727 w 365760"/>
                <a:gd name="connsiteY15" fmla="*/ 780140 h 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5760" h="780287">
                  <a:moveTo>
                    <a:pt x="284727" y="780140"/>
                  </a:moveTo>
                  <a:cubicBezTo>
                    <a:pt x="210843" y="836224"/>
                    <a:pt x="91118" y="785017"/>
                    <a:pt x="24793" y="727715"/>
                  </a:cubicBezTo>
                  <a:cubicBezTo>
                    <a:pt x="13088" y="717718"/>
                    <a:pt x="4554" y="704550"/>
                    <a:pt x="1384" y="689432"/>
                  </a:cubicBezTo>
                  <a:cubicBezTo>
                    <a:pt x="-13734" y="617499"/>
                    <a:pt x="99896" y="599699"/>
                    <a:pt x="103310" y="535325"/>
                  </a:cubicBezTo>
                  <a:cubicBezTo>
                    <a:pt x="104773" y="507040"/>
                    <a:pt x="83559" y="483631"/>
                    <a:pt x="67709" y="460223"/>
                  </a:cubicBezTo>
                  <a:cubicBezTo>
                    <a:pt x="31864" y="406578"/>
                    <a:pt x="21867" y="338546"/>
                    <a:pt x="29426" y="274660"/>
                  </a:cubicBezTo>
                  <a:cubicBezTo>
                    <a:pt x="36985" y="210530"/>
                    <a:pt x="60881" y="149570"/>
                    <a:pt x="88923" y="91537"/>
                  </a:cubicBezTo>
                  <a:cubicBezTo>
                    <a:pt x="111844" y="43988"/>
                    <a:pt x="152565" y="-9901"/>
                    <a:pt x="204015" y="1560"/>
                  </a:cubicBezTo>
                  <a:cubicBezTo>
                    <a:pt x="237177" y="8875"/>
                    <a:pt x="258392" y="41793"/>
                    <a:pt x="268145" y="74224"/>
                  </a:cubicBezTo>
                  <a:cubicBezTo>
                    <a:pt x="281312" y="118847"/>
                    <a:pt x="279362" y="166883"/>
                    <a:pt x="270584" y="212725"/>
                  </a:cubicBezTo>
                  <a:cubicBezTo>
                    <a:pt x="266682" y="232964"/>
                    <a:pt x="261318" y="253934"/>
                    <a:pt x="266926" y="273929"/>
                  </a:cubicBezTo>
                  <a:cubicBezTo>
                    <a:pt x="280825" y="324891"/>
                    <a:pt x="352514" y="336352"/>
                    <a:pt x="378361" y="382438"/>
                  </a:cubicBezTo>
                  <a:cubicBezTo>
                    <a:pt x="404695" y="429255"/>
                    <a:pt x="373241" y="486313"/>
                    <a:pt x="344224" y="531668"/>
                  </a:cubicBezTo>
                  <a:cubicBezTo>
                    <a:pt x="319351" y="570438"/>
                    <a:pt x="303989" y="594335"/>
                    <a:pt x="320327" y="627497"/>
                  </a:cubicBezTo>
                  <a:cubicBezTo>
                    <a:pt x="324716" y="636275"/>
                    <a:pt x="331056" y="643834"/>
                    <a:pt x="338371" y="650174"/>
                  </a:cubicBezTo>
                  <a:cubicBezTo>
                    <a:pt x="354221" y="663829"/>
                    <a:pt x="383726" y="705282"/>
                    <a:pt x="284727" y="780140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A796208-A4FD-4A10-A031-DB2F990278B3}"/>
                </a:ext>
              </a:extLst>
            </p:cNvPr>
            <p:cNvSpPr/>
            <p:nvPr/>
          </p:nvSpPr>
          <p:spPr>
            <a:xfrm>
              <a:off x="191414" y="2824823"/>
              <a:ext cx="609600" cy="195072"/>
            </a:xfrm>
            <a:custGeom>
              <a:avLst/>
              <a:gdLst>
                <a:gd name="connsiteX0" fmla="*/ 0 w 609600"/>
                <a:gd name="connsiteY0" fmla="*/ 205172 h 195071"/>
                <a:gd name="connsiteX1" fmla="*/ 618622 w 609600"/>
                <a:gd name="connsiteY1" fmla="*/ 52528 h 195071"/>
                <a:gd name="connsiteX2" fmla="*/ 0 w 609600"/>
                <a:gd name="connsiteY2" fmla="*/ 205172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95071">
                  <a:moveTo>
                    <a:pt x="0" y="205172"/>
                  </a:moveTo>
                  <a:cubicBezTo>
                    <a:pt x="0" y="205172"/>
                    <a:pt x="563514" y="-125231"/>
                    <a:pt x="618622" y="52528"/>
                  </a:cubicBezTo>
                  <a:cubicBezTo>
                    <a:pt x="681777" y="256135"/>
                    <a:pt x="0" y="205172"/>
                    <a:pt x="0" y="20517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27FBC5B-7A8C-490C-8395-03639401E643}"/>
                </a:ext>
              </a:extLst>
            </p:cNvPr>
            <p:cNvSpPr/>
            <p:nvPr/>
          </p:nvSpPr>
          <p:spPr>
            <a:xfrm>
              <a:off x="0" y="2546216"/>
              <a:ext cx="146304" cy="463296"/>
            </a:xfrm>
            <a:custGeom>
              <a:avLst/>
              <a:gdLst>
                <a:gd name="connsiteX0" fmla="*/ 147036 w 146304"/>
                <a:gd name="connsiteY0" fmla="*/ 472562 h 463295"/>
                <a:gd name="connsiteX1" fmla="*/ 0 w 146304"/>
                <a:gd name="connsiteY1" fmla="*/ 0 h 463295"/>
                <a:gd name="connsiteX2" fmla="*/ 0 w 146304"/>
                <a:gd name="connsiteY2" fmla="*/ 334305 h 463295"/>
                <a:gd name="connsiteX3" fmla="*/ 147036 w 146304"/>
                <a:gd name="connsiteY3" fmla="*/ 472562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463295">
                  <a:moveTo>
                    <a:pt x="147036" y="472562"/>
                  </a:moveTo>
                  <a:cubicBezTo>
                    <a:pt x="138501" y="368198"/>
                    <a:pt x="82418" y="135087"/>
                    <a:pt x="0" y="0"/>
                  </a:cubicBezTo>
                  <a:lnTo>
                    <a:pt x="0" y="334305"/>
                  </a:lnTo>
                  <a:cubicBezTo>
                    <a:pt x="78029" y="414284"/>
                    <a:pt x="147036" y="472562"/>
                    <a:pt x="147036" y="47256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C393DB7F-9E1E-4254-8726-CE53449BFCFC}"/>
                </a:ext>
              </a:extLst>
            </p:cNvPr>
            <p:cNvSpPr/>
            <p:nvPr/>
          </p:nvSpPr>
          <p:spPr>
            <a:xfrm>
              <a:off x="407944" y="2478785"/>
              <a:ext cx="609600" cy="146304"/>
            </a:xfrm>
            <a:custGeom>
              <a:avLst/>
              <a:gdLst>
                <a:gd name="connsiteX0" fmla="*/ 0 w 609600"/>
                <a:gd name="connsiteY0" fmla="*/ 132293 h 146303"/>
                <a:gd name="connsiteX1" fmla="*/ 611063 w 609600"/>
                <a:gd name="connsiteY1" fmla="*/ 61823 h 146303"/>
                <a:gd name="connsiteX2" fmla="*/ 0 w 609600"/>
                <a:gd name="connsiteY2" fmla="*/ 132293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46303">
                  <a:moveTo>
                    <a:pt x="0" y="132293"/>
                  </a:moveTo>
                  <a:cubicBezTo>
                    <a:pt x="0" y="132293"/>
                    <a:pt x="575462" y="-110572"/>
                    <a:pt x="611063" y="61823"/>
                  </a:cubicBezTo>
                  <a:cubicBezTo>
                    <a:pt x="649590" y="249580"/>
                    <a:pt x="0" y="132293"/>
                    <a:pt x="0" y="13229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A13CFDCF-1EEE-4326-887A-1524655799D2}"/>
                </a:ext>
              </a:extLst>
            </p:cNvPr>
            <p:cNvSpPr/>
            <p:nvPr/>
          </p:nvSpPr>
          <p:spPr>
            <a:xfrm>
              <a:off x="244" y="2097015"/>
              <a:ext cx="365760" cy="487680"/>
            </a:xfrm>
            <a:custGeom>
              <a:avLst/>
              <a:gdLst>
                <a:gd name="connsiteX0" fmla="*/ 372344 w 365760"/>
                <a:gd name="connsiteY0" fmla="*/ 510649 h 487679"/>
                <a:gd name="connsiteX1" fmla="*/ 26579 w 365760"/>
                <a:gd name="connsiteY1" fmla="*/ 12240 h 487679"/>
                <a:gd name="connsiteX2" fmla="*/ 0 w 365760"/>
                <a:gd name="connsiteY2" fmla="*/ 29796 h 487679"/>
                <a:gd name="connsiteX3" fmla="*/ 0 w 365760"/>
                <a:gd name="connsiteY3" fmla="*/ 157081 h 487679"/>
                <a:gd name="connsiteX4" fmla="*/ 372344 w 365760"/>
                <a:gd name="connsiteY4" fmla="*/ 510649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0" h="487679">
                  <a:moveTo>
                    <a:pt x="372344" y="510649"/>
                  </a:moveTo>
                  <a:cubicBezTo>
                    <a:pt x="372344" y="510649"/>
                    <a:pt x="244815" y="-92611"/>
                    <a:pt x="26579" y="12240"/>
                  </a:cubicBezTo>
                  <a:cubicBezTo>
                    <a:pt x="15850" y="17361"/>
                    <a:pt x="7071" y="23213"/>
                    <a:pt x="0" y="29796"/>
                  </a:cubicBezTo>
                  <a:lnTo>
                    <a:pt x="0" y="157081"/>
                  </a:lnTo>
                  <a:cubicBezTo>
                    <a:pt x="84856" y="310212"/>
                    <a:pt x="372344" y="510649"/>
                    <a:pt x="372344" y="510649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A8A49B75-BBFE-49D4-BB4A-235CDB7EAADB}"/>
                </a:ext>
              </a:extLst>
            </p:cNvPr>
            <p:cNvSpPr/>
            <p:nvPr/>
          </p:nvSpPr>
          <p:spPr>
            <a:xfrm>
              <a:off x="596920" y="2084476"/>
              <a:ext cx="585216" cy="170688"/>
            </a:xfrm>
            <a:custGeom>
              <a:avLst/>
              <a:gdLst>
                <a:gd name="connsiteX0" fmla="*/ 0 w 585216"/>
                <a:gd name="connsiteY0" fmla="*/ 171327 h 170687"/>
                <a:gd name="connsiteX1" fmla="*/ 591068 w 585216"/>
                <a:gd name="connsiteY1" fmla="*/ 45993 h 170687"/>
                <a:gd name="connsiteX2" fmla="*/ 0 w 585216"/>
                <a:gd name="connsiteY2" fmla="*/ 17132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5216" h="170687">
                  <a:moveTo>
                    <a:pt x="0" y="171327"/>
                  </a:moveTo>
                  <a:cubicBezTo>
                    <a:pt x="99243" y="92079"/>
                    <a:pt x="573999" y="-82998"/>
                    <a:pt x="591068" y="45993"/>
                  </a:cubicBezTo>
                  <a:cubicBezTo>
                    <a:pt x="620817" y="270326"/>
                    <a:pt x="0" y="171327"/>
                    <a:pt x="0" y="17132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48FDE24C-E24A-489C-9754-4552040B29DC}"/>
                </a:ext>
              </a:extLst>
            </p:cNvPr>
            <p:cNvSpPr/>
            <p:nvPr/>
          </p:nvSpPr>
          <p:spPr>
            <a:xfrm>
              <a:off x="167209" y="1738921"/>
              <a:ext cx="365760" cy="487680"/>
            </a:xfrm>
            <a:custGeom>
              <a:avLst/>
              <a:gdLst>
                <a:gd name="connsiteX0" fmla="*/ 376798 w 365760"/>
                <a:gd name="connsiteY0" fmla="*/ 504446 h 487679"/>
                <a:gd name="connsiteX1" fmla="*/ 40543 w 365760"/>
                <a:gd name="connsiteY1" fmla="*/ 7988 h 487679"/>
                <a:gd name="connsiteX2" fmla="*/ 376798 w 365760"/>
                <a:gd name="connsiteY2" fmla="*/ 504446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760" h="487679">
                  <a:moveTo>
                    <a:pt x="376798" y="504446"/>
                  </a:moveTo>
                  <a:cubicBezTo>
                    <a:pt x="316326" y="293524"/>
                    <a:pt x="154904" y="-57361"/>
                    <a:pt x="40543" y="7988"/>
                  </a:cubicBezTo>
                  <a:cubicBezTo>
                    <a:pt x="-146970" y="115521"/>
                    <a:pt x="376798" y="504446"/>
                    <a:pt x="376798" y="504446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B898F5EF-97B6-4904-B33F-5B209395F35A}"/>
                </a:ext>
              </a:extLst>
            </p:cNvPr>
            <p:cNvSpPr/>
            <p:nvPr/>
          </p:nvSpPr>
          <p:spPr>
            <a:xfrm>
              <a:off x="353830" y="1431609"/>
              <a:ext cx="316992" cy="438912"/>
            </a:xfrm>
            <a:custGeom>
              <a:avLst/>
              <a:gdLst>
                <a:gd name="connsiteX0" fmla="*/ 333799 w 316992"/>
                <a:gd name="connsiteY0" fmla="*/ 455020 h 438911"/>
                <a:gd name="connsiteX1" fmla="*/ 26073 w 316992"/>
                <a:gd name="connsiteY1" fmla="*/ 6354 h 438911"/>
                <a:gd name="connsiteX2" fmla="*/ 333799 w 316992"/>
                <a:gd name="connsiteY2" fmla="*/ 455020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38911">
                  <a:moveTo>
                    <a:pt x="333799" y="455020"/>
                  </a:moveTo>
                  <a:cubicBezTo>
                    <a:pt x="321119" y="267507"/>
                    <a:pt x="162623" y="-48753"/>
                    <a:pt x="26073" y="6354"/>
                  </a:cubicBezTo>
                  <a:cubicBezTo>
                    <a:pt x="-110478" y="61706"/>
                    <a:pt x="333799" y="455020"/>
                    <a:pt x="333799" y="455020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61599FB-0944-4664-8E21-034AE1B8DFC6}"/>
                </a:ext>
              </a:extLst>
            </p:cNvPr>
            <p:cNvSpPr/>
            <p:nvPr/>
          </p:nvSpPr>
          <p:spPr>
            <a:xfrm>
              <a:off x="742493" y="1294120"/>
              <a:ext cx="243840" cy="536448"/>
            </a:xfrm>
            <a:custGeom>
              <a:avLst/>
              <a:gdLst>
                <a:gd name="connsiteX0" fmla="*/ 0 w 243840"/>
                <a:gd name="connsiteY0" fmla="*/ 548618 h 536447"/>
                <a:gd name="connsiteX1" fmla="*/ 203363 w 243840"/>
                <a:gd name="connsiteY1" fmla="*/ 6075 h 536447"/>
                <a:gd name="connsiteX2" fmla="*/ 0 w 243840"/>
                <a:gd name="connsiteY2" fmla="*/ 548618 h 536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840" h="536447">
                  <a:moveTo>
                    <a:pt x="0" y="548618"/>
                  </a:moveTo>
                  <a:cubicBezTo>
                    <a:pt x="0" y="548618"/>
                    <a:pt x="385267" y="79470"/>
                    <a:pt x="203363" y="6075"/>
                  </a:cubicBezTo>
                  <a:cubicBezTo>
                    <a:pt x="21702" y="-67321"/>
                    <a:pt x="0" y="548618"/>
                    <a:pt x="0" y="548618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31FCE595-85F5-475D-9A64-3E2D664ECA6D}"/>
                </a:ext>
              </a:extLst>
            </p:cNvPr>
            <p:cNvSpPr/>
            <p:nvPr/>
          </p:nvSpPr>
          <p:spPr>
            <a:xfrm>
              <a:off x="10973" y="1484781"/>
              <a:ext cx="853440" cy="1804416"/>
            </a:xfrm>
            <a:custGeom>
              <a:avLst/>
              <a:gdLst>
                <a:gd name="connsiteX0" fmla="*/ 868314 w 853440"/>
                <a:gd name="connsiteY0" fmla="*/ 0 h 1804415"/>
                <a:gd name="connsiteX1" fmla="*/ 0 w 853440"/>
                <a:gd name="connsiteY1" fmla="*/ 1818558 h 180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3440" h="1804415">
                  <a:moveTo>
                    <a:pt x="868314" y="0"/>
                  </a:moveTo>
                  <a:cubicBezTo>
                    <a:pt x="868314" y="0"/>
                    <a:pt x="618866" y="787603"/>
                    <a:pt x="0" y="1818558"/>
                  </a:cubicBez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C69363A-7713-46FC-A840-2D83D4CCDB18}"/>
                </a:ext>
              </a:extLst>
            </p:cNvPr>
            <p:cNvSpPr/>
            <p:nvPr/>
          </p:nvSpPr>
          <p:spPr>
            <a:xfrm>
              <a:off x="710062" y="1760934"/>
              <a:ext cx="536448" cy="170688"/>
            </a:xfrm>
            <a:custGeom>
              <a:avLst/>
              <a:gdLst>
                <a:gd name="connsiteX0" fmla="*/ 0 w 536448"/>
                <a:gd name="connsiteY0" fmla="*/ 159833 h 170687"/>
                <a:gd name="connsiteX1" fmla="*/ 554004 w 536448"/>
                <a:gd name="connsiteY1" fmla="*/ 44009 h 170687"/>
                <a:gd name="connsiteX2" fmla="*/ 0 w 536448"/>
                <a:gd name="connsiteY2" fmla="*/ 159833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6448" h="170687">
                  <a:moveTo>
                    <a:pt x="0" y="159833"/>
                  </a:moveTo>
                  <a:cubicBezTo>
                    <a:pt x="0" y="159833"/>
                    <a:pt x="504505" y="-101320"/>
                    <a:pt x="554004" y="44009"/>
                  </a:cubicBezTo>
                  <a:cubicBezTo>
                    <a:pt x="614721" y="223475"/>
                    <a:pt x="0" y="159833"/>
                    <a:pt x="0" y="15983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802BFF8-E76C-446A-ABCA-EF2F1FA6564D}"/>
                </a:ext>
              </a:extLst>
            </p:cNvPr>
            <p:cNvSpPr/>
            <p:nvPr/>
          </p:nvSpPr>
          <p:spPr>
            <a:xfrm>
              <a:off x="485973" y="1573051"/>
              <a:ext cx="609600" cy="341376"/>
            </a:xfrm>
            <a:custGeom>
              <a:avLst/>
              <a:gdLst>
                <a:gd name="connsiteX0" fmla="*/ 624962 w 609600"/>
                <a:gd name="connsiteY0" fmla="*/ 265542 h 341375"/>
                <a:gd name="connsiteX1" fmla="*/ 224089 w 609600"/>
                <a:gd name="connsiteY1" fmla="*/ 347716 h 341375"/>
                <a:gd name="connsiteX2" fmla="*/ 0 w 609600"/>
                <a:gd name="connsiteY2" fmla="*/ 0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341375">
                  <a:moveTo>
                    <a:pt x="624962" y="265542"/>
                  </a:moveTo>
                  <a:lnTo>
                    <a:pt x="224089" y="347716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C0F2BE2-A079-4D86-8847-21325865BC4E}"/>
                </a:ext>
              </a:extLst>
            </p:cNvPr>
            <p:cNvSpPr/>
            <p:nvPr/>
          </p:nvSpPr>
          <p:spPr>
            <a:xfrm>
              <a:off x="295290" y="1881021"/>
              <a:ext cx="707136" cy="365760"/>
            </a:xfrm>
            <a:custGeom>
              <a:avLst/>
              <a:gdLst>
                <a:gd name="connsiteX0" fmla="*/ 728838 w 707136"/>
                <a:gd name="connsiteY0" fmla="*/ 297241 h 365759"/>
                <a:gd name="connsiteX1" fmla="*/ 262128 w 707136"/>
                <a:gd name="connsiteY1" fmla="*/ 381853 h 365759"/>
                <a:gd name="connsiteX2" fmla="*/ 0 w 707136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7136" h="365759">
                  <a:moveTo>
                    <a:pt x="728838" y="297241"/>
                  </a:moveTo>
                  <a:lnTo>
                    <a:pt x="262128" y="381853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1234FE09-4B52-4D2A-B491-9360C32B6BDC}"/>
                </a:ext>
              </a:extLst>
            </p:cNvPr>
            <p:cNvSpPr/>
            <p:nvPr/>
          </p:nvSpPr>
          <p:spPr>
            <a:xfrm>
              <a:off x="125578" y="2238003"/>
              <a:ext cx="682752" cy="365760"/>
            </a:xfrm>
            <a:custGeom>
              <a:avLst/>
              <a:gdLst>
                <a:gd name="connsiteX0" fmla="*/ 698602 w 682752"/>
                <a:gd name="connsiteY0" fmla="*/ 328209 h 365759"/>
                <a:gd name="connsiteX1" fmla="*/ 260177 w 682752"/>
                <a:gd name="connsiteY1" fmla="*/ 375514 h 365759"/>
                <a:gd name="connsiteX2" fmla="*/ 0 w 682752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365759">
                  <a:moveTo>
                    <a:pt x="698602" y="328209"/>
                  </a:moveTo>
                  <a:lnTo>
                    <a:pt x="260177" y="375514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D0BCA38-7759-4F7E-97FC-F2938E8291C7}"/>
                </a:ext>
              </a:extLst>
            </p:cNvPr>
            <p:cNvSpPr/>
            <p:nvPr/>
          </p:nvSpPr>
          <p:spPr>
            <a:xfrm>
              <a:off x="16093" y="2777620"/>
              <a:ext cx="682752" cy="268224"/>
            </a:xfrm>
            <a:custGeom>
              <a:avLst/>
              <a:gdLst>
                <a:gd name="connsiteX0" fmla="*/ 691043 w 682752"/>
                <a:gd name="connsiteY0" fmla="*/ 131674 h 268223"/>
                <a:gd name="connsiteX1" fmla="*/ 157521 w 682752"/>
                <a:gd name="connsiteY1" fmla="*/ 286268 h 268223"/>
                <a:gd name="connsiteX2" fmla="*/ 0 w 682752"/>
                <a:gd name="connsiteY2" fmla="*/ 0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268223">
                  <a:moveTo>
                    <a:pt x="691043" y="131674"/>
                  </a:moveTo>
                  <a:lnTo>
                    <a:pt x="157521" y="286268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C3B1C37-22D9-4A34-BBB9-1B6003D209BC}"/>
                </a:ext>
              </a:extLst>
            </p:cNvPr>
            <p:cNvSpPr/>
            <p:nvPr/>
          </p:nvSpPr>
          <p:spPr>
            <a:xfrm>
              <a:off x="2573243" y="781059"/>
              <a:ext cx="3438144" cy="1463040"/>
            </a:xfrm>
            <a:custGeom>
              <a:avLst/>
              <a:gdLst>
                <a:gd name="connsiteX0" fmla="*/ 0 w 3438144"/>
                <a:gd name="connsiteY0" fmla="*/ 1480352 h 1463039"/>
                <a:gd name="connsiteX1" fmla="*/ 3443265 w 3438144"/>
                <a:gd name="connsiteY1" fmla="*/ 0 h 1463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8144" h="1463039">
                  <a:moveTo>
                    <a:pt x="0" y="1480352"/>
                  </a:moveTo>
                  <a:cubicBezTo>
                    <a:pt x="925861" y="611063"/>
                    <a:pt x="3397179" y="596189"/>
                    <a:pt x="3443265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A20314E8-2C41-4E96-B569-F28204586BD5}"/>
                </a:ext>
              </a:extLst>
            </p:cNvPr>
            <p:cNvSpPr/>
            <p:nvPr/>
          </p:nvSpPr>
          <p:spPr>
            <a:xfrm>
              <a:off x="4338889" y="814953"/>
              <a:ext cx="2365248" cy="1024128"/>
            </a:xfrm>
            <a:custGeom>
              <a:avLst/>
              <a:gdLst>
                <a:gd name="connsiteX0" fmla="*/ 0 w 2365248"/>
                <a:gd name="connsiteY0" fmla="*/ 1030224 h 1024127"/>
                <a:gd name="connsiteX1" fmla="*/ 2375246 w 2365248"/>
                <a:gd name="connsiteY1" fmla="*/ 0 h 102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65248" h="1024127">
                  <a:moveTo>
                    <a:pt x="0" y="1030224"/>
                  </a:moveTo>
                  <a:cubicBezTo>
                    <a:pt x="1150681" y="1014374"/>
                    <a:pt x="1727850" y="813206"/>
                    <a:pt x="2375246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59D1BFEC-B02C-422D-9117-3B35D766CFE2}"/>
                </a:ext>
              </a:extLst>
            </p:cNvPr>
            <p:cNvSpPr/>
            <p:nvPr/>
          </p:nvSpPr>
          <p:spPr>
            <a:xfrm>
              <a:off x="8535131" y="360923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3886 h 195071"/>
                <a:gd name="connsiteX2" fmla="*/ 198242 w 195072"/>
                <a:gd name="connsiteY2" fmla="*/ 98999 h 195071"/>
                <a:gd name="connsiteX3" fmla="*/ 134112 w 195072"/>
                <a:gd name="connsiteY3" fmla="*/ 134112 h 195071"/>
                <a:gd name="connsiteX4" fmla="*/ 98999 w 195072"/>
                <a:gd name="connsiteY4" fmla="*/ 198242 h 195071"/>
                <a:gd name="connsiteX5" fmla="*/ 64130 w 195072"/>
                <a:gd name="connsiteY5" fmla="*/ 134112 h 195071"/>
                <a:gd name="connsiteX6" fmla="*/ 0 w 195072"/>
                <a:gd name="connsiteY6" fmla="*/ 98999 h 195071"/>
                <a:gd name="connsiteX7" fmla="*/ 64130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3886"/>
                  </a:lnTo>
                  <a:lnTo>
                    <a:pt x="198242" y="98999"/>
                  </a:lnTo>
                  <a:lnTo>
                    <a:pt x="134112" y="134112"/>
                  </a:lnTo>
                  <a:lnTo>
                    <a:pt x="98999" y="198242"/>
                  </a:lnTo>
                  <a:lnTo>
                    <a:pt x="64130" y="134112"/>
                  </a:lnTo>
                  <a:lnTo>
                    <a:pt x="0" y="98999"/>
                  </a:lnTo>
                  <a:lnTo>
                    <a:pt x="64130" y="63886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59755722-B20C-4910-AD39-077AEA29EC00}"/>
                </a:ext>
              </a:extLst>
            </p:cNvPr>
            <p:cNvSpPr/>
            <p:nvPr/>
          </p:nvSpPr>
          <p:spPr>
            <a:xfrm>
              <a:off x="956097" y="9306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4130 h 195071"/>
                <a:gd name="connsiteX2" fmla="*/ 198242 w 195072"/>
                <a:gd name="connsiteY2" fmla="*/ 99243 h 195071"/>
                <a:gd name="connsiteX3" fmla="*/ 134112 w 195072"/>
                <a:gd name="connsiteY3" fmla="*/ 134356 h 195071"/>
                <a:gd name="connsiteX4" fmla="*/ 98999 w 195072"/>
                <a:gd name="connsiteY4" fmla="*/ 198242 h 195071"/>
                <a:gd name="connsiteX5" fmla="*/ 64130 w 195072"/>
                <a:gd name="connsiteY5" fmla="*/ 134356 h 195071"/>
                <a:gd name="connsiteX6" fmla="*/ 0 w 195072"/>
                <a:gd name="connsiteY6" fmla="*/ 99243 h 195071"/>
                <a:gd name="connsiteX7" fmla="*/ 64130 w 195072"/>
                <a:gd name="connsiteY7" fmla="*/ 64130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4130"/>
                  </a:lnTo>
                  <a:lnTo>
                    <a:pt x="198242" y="99243"/>
                  </a:lnTo>
                  <a:lnTo>
                    <a:pt x="134112" y="134356"/>
                  </a:lnTo>
                  <a:lnTo>
                    <a:pt x="98999" y="198242"/>
                  </a:lnTo>
                  <a:lnTo>
                    <a:pt x="64130" y="134356"/>
                  </a:lnTo>
                  <a:lnTo>
                    <a:pt x="0" y="99243"/>
                  </a:lnTo>
                  <a:lnTo>
                    <a:pt x="64130" y="64130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81D18C9-ECA0-4A34-B35D-BCEAA01DFDA7}"/>
                </a:ext>
              </a:extLst>
            </p:cNvPr>
            <p:cNvSpPr/>
            <p:nvPr/>
          </p:nvSpPr>
          <p:spPr>
            <a:xfrm>
              <a:off x="2900477" y="1127312"/>
              <a:ext cx="292608" cy="292608"/>
            </a:xfrm>
            <a:custGeom>
              <a:avLst/>
              <a:gdLst>
                <a:gd name="connsiteX0" fmla="*/ 150937 w 292608"/>
                <a:gd name="connsiteY0" fmla="*/ 0 h 292607"/>
                <a:gd name="connsiteX1" fmla="*/ 204338 w 292608"/>
                <a:gd name="connsiteY1" fmla="*/ 97780 h 292607"/>
                <a:gd name="connsiteX2" fmla="*/ 301874 w 292608"/>
                <a:gd name="connsiteY2" fmla="*/ 150937 h 292607"/>
                <a:gd name="connsiteX3" fmla="*/ 204338 w 292608"/>
                <a:gd name="connsiteY3" fmla="*/ 204338 h 292607"/>
                <a:gd name="connsiteX4" fmla="*/ 150937 w 292608"/>
                <a:gd name="connsiteY4" fmla="*/ 301874 h 292607"/>
                <a:gd name="connsiteX5" fmla="*/ 97536 w 292608"/>
                <a:gd name="connsiteY5" fmla="*/ 204338 h 292607"/>
                <a:gd name="connsiteX6" fmla="*/ 0 w 292608"/>
                <a:gd name="connsiteY6" fmla="*/ 150937 h 292607"/>
                <a:gd name="connsiteX7" fmla="*/ 97536 w 292608"/>
                <a:gd name="connsiteY7" fmla="*/ 97780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608" h="292607">
                  <a:moveTo>
                    <a:pt x="150937" y="0"/>
                  </a:moveTo>
                  <a:lnTo>
                    <a:pt x="204338" y="97780"/>
                  </a:lnTo>
                  <a:lnTo>
                    <a:pt x="301874" y="150937"/>
                  </a:lnTo>
                  <a:lnTo>
                    <a:pt x="204338" y="204338"/>
                  </a:lnTo>
                  <a:lnTo>
                    <a:pt x="150937" y="301874"/>
                  </a:lnTo>
                  <a:lnTo>
                    <a:pt x="97536" y="204338"/>
                  </a:lnTo>
                  <a:lnTo>
                    <a:pt x="0" y="150937"/>
                  </a:lnTo>
                  <a:lnTo>
                    <a:pt x="97536" y="97780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ABCB4FD1-9965-46F9-8916-6E8532F6B3C1}"/>
                </a:ext>
              </a:extLst>
            </p:cNvPr>
            <p:cNvSpPr/>
            <p:nvPr/>
          </p:nvSpPr>
          <p:spPr>
            <a:xfrm>
              <a:off x="6842882" y="1924425"/>
              <a:ext cx="195072" cy="195072"/>
            </a:xfrm>
            <a:custGeom>
              <a:avLst/>
              <a:gdLst>
                <a:gd name="connsiteX0" fmla="*/ 102169 w 195072"/>
                <a:gd name="connsiteY0" fmla="*/ 0 h 195071"/>
                <a:gd name="connsiteX1" fmla="*/ 138257 w 195072"/>
                <a:gd name="connsiteY1" fmla="*/ 66081 h 195071"/>
                <a:gd name="connsiteX2" fmla="*/ 204338 w 195072"/>
                <a:gd name="connsiteY2" fmla="*/ 102169 h 195071"/>
                <a:gd name="connsiteX3" fmla="*/ 138257 w 195072"/>
                <a:gd name="connsiteY3" fmla="*/ 138257 h 195071"/>
                <a:gd name="connsiteX4" fmla="*/ 102169 w 195072"/>
                <a:gd name="connsiteY4" fmla="*/ 204338 h 195071"/>
                <a:gd name="connsiteX5" fmla="*/ 66080 w 195072"/>
                <a:gd name="connsiteY5" fmla="*/ 138257 h 195071"/>
                <a:gd name="connsiteX6" fmla="*/ 0 w 195072"/>
                <a:gd name="connsiteY6" fmla="*/ 102169 h 195071"/>
                <a:gd name="connsiteX7" fmla="*/ 66080 w 195072"/>
                <a:gd name="connsiteY7" fmla="*/ 66081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102169" y="0"/>
                  </a:moveTo>
                  <a:lnTo>
                    <a:pt x="138257" y="66081"/>
                  </a:lnTo>
                  <a:lnTo>
                    <a:pt x="204338" y="102169"/>
                  </a:lnTo>
                  <a:lnTo>
                    <a:pt x="138257" y="138257"/>
                  </a:lnTo>
                  <a:lnTo>
                    <a:pt x="102169" y="204338"/>
                  </a:lnTo>
                  <a:lnTo>
                    <a:pt x="66080" y="138257"/>
                  </a:lnTo>
                  <a:lnTo>
                    <a:pt x="0" y="102169"/>
                  </a:lnTo>
                  <a:lnTo>
                    <a:pt x="66080" y="66081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94F8D03D-7B12-433F-9497-B6E4EA7E34CD}"/>
                </a:ext>
              </a:extLst>
            </p:cNvPr>
            <p:cNvSpPr/>
            <p:nvPr/>
          </p:nvSpPr>
          <p:spPr>
            <a:xfrm>
              <a:off x="4904354" y="207999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7 w 97536"/>
                <a:gd name="connsiteY1" fmla="*/ 31699 h 97535"/>
                <a:gd name="connsiteX2" fmla="*/ 97536 w 97536"/>
                <a:gd name="connsiteY2" fmla="*/ 48768 h 97535"/>
                <a:gd name="connsiteX3" fmla="*/ 65837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699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7" y="31699"/>
                  </a:lnTo>
                  <a:lnTo>
                    <a:pt x="97536" y="48768"/>
                  </a:lnTo>
                  <a:lnTo>
                    <a:pt x="65837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699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F28B539-DBDC-4BD5-89AF-27CA0D0C36AD}"/>
                </a:ext>
              </a:extLst>
            </p:cNvPr>
            <p:cNvSpPr/>
            <p:nvPr/>
          </p:nvSpPr>
          <p:spPr>
            <a:xfrm>
              <a:off x="8252765" y="-9164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6 w 97536"/>
                <a:gd name="connsiteY1" fmla="*/ 31455 h 97535"/>
                <a:gd name="connsiteX2" fmla="*/ 97536 w 97536"/>
                <a:gd name="connsiteY2" fmla="*/ 48768 h 97535"/>
                <a:gd name="connsiteX3" fmla="*/ 65836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6" y="31455"/>
                  </a:lnTo>
                  <a:lnTo>
                    <a:pt x="97536" y="48768"/>
                  </a:lnTo>
                  <a:lnTo>
                    <a:pt x="65836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455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90E6826-7FF2-42F0-B938-D9F0FE3F8F63}"/>
                </a:ext>
              </a:extLst>
            </p:cNvPr>
            <p:cNvSpPr/>
            <p:nvPr/>
          </p:nvSpPr>
          <p:spPr>
            <a:xfrm>
              <a:off x="4430817" y="559165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6080 w 97536"/>
                <a:gd name="connsiteY1" fmla="*/ 31455 h 97535"/>
                <a:gd name="connsiteX2" fmla="*/ 97536 w 97536"/>
                <a:gd name="connsiteY2" fmla="*/ 48768 h 97535"/>
                <a:gd name="connsiteX3" fmla="*/ 66080 w 97536"/>
                <a:gd name="connsiteY3" fmla="*/ 65837 h 97535"/>
                <a:gd name="connsiteX4" fmla="*/ 48768 w 97536"/>
                <a:gd name="connsiteY4" fmla="*/ 97536 h 97535"/>
                <a:gd name="connsiteX5" fmla="*/ 31699 w 97536"/>
                <a:gd name="connsiteY5" fmla="*/ 65837 h 97535"/>
                <a:gd name="connsiteX6" fmla="*/ 0 w 97536"/>
                <a:gd name="connsiteY6" fmla="*/ 48768 h 97535"/>
                <a:gd name="connsiteX7" fmla="*/ 31699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6080" y="31455"/>
                  </a:lnTo>
                  <a:lnTo>
                    <a:pt x="97536" y="48768"/>
                  </a:lnTo>
                  <a:lnTo>
                    <a:pt x="66080" y="65837"/>
                  </a:lnTo>
                  <a:lnTo>
                    <a:pt x="48768" y="97536"/>
                  </a:lnTo>
                  <a:lnTo>
                    <a:pt x="31699" y="65837"/>
                  </a:lnTo>
                  <a:lnTo>
                    <a:pt x="0" y="48768"/>
                  </a:lnTo>
                  <a:lnTo>
                    <a:pt x="31699" y="31455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74F0CF91-E4DF-49E9-9C4C-A886D7B959EA}"/>
                </a:ext>
              </a:extLst>
            </p:cNvPr>
            <p:cNvSpPr/>
            <p:nvPr/>
          </p:nvSpPr>
          <p:spPr>
            <a:xfrm>
              <a:off x="10607771" y="402132"/>
              <a:ext cx="195072" cy="195072"/>
            </a:xfrm>
            <a:custGeom>
              <a:avLst/>
              <a:gdLst>
                <a:gd name="connsiteX0" fmla="*/ 98755 w 195072"/>
                <a:gd name="connsiteY0" fmla="*/ 0 h 195071"/>
                <a:gd name="connsiteX1" fmla="*/ 133625 w 195072"/>
                <a:gd name="connsiteY1" fmla="*/ 63886 h 195071"/>
                <a:gd name="connsiteX2" fmla="*/ 197511 w 195072"/>
                <a:gd name="connsiteY2" fmla="*/ 98755 h 195071"/>
                <a:gd name="connsiteX3" fmla="*/ 133625 w 195072"/>
                <a:gd name="connsiteY3" fmla="*/ 133868 h 195071"/>
                <a:gd name="connsiteX4" fmla="*/ 98755 w 195072"/>
                <a:gd name="connsiteY4" fmla="*/ 197754 h 195071"/>
                <a:gd name="connsiteX5" fmla="*/ 63886 w 195072"/>
                <a:gd name="connsiteY5" fmla="*/ 133868 h 195071"/>
                <a:gd name="connsiteX6" fmla="*/ 0 w 195072"/>
                <a:gd name="connsiteY6" fmla="*/ 98755 h 195071"/>
                <a:gd name="connsiteX7" fmla="*/ 63886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755" y="0"/>
                  </a:moveTo>
                  <a:lnTo>
                    <a:pt x="133625" y="63886"/>
                  </a:lnTo>
                  <a:lnTo>
                    <a:pt x="197511" y="98755"/>
                  </a:lnTo>
                  <a:lnTo>
                    <a:pt x="133625" y="133868"/>
                  </a:lnTo>
                  <a:lnTo>
                    <a:pt x="98755" y="197754"/>
                  </a:lnTo>
                  <a:lnTo>
                    <a:pt x="63886" y="133868"/>
                  </a:lnTo>
                  <a:lnTo>
                    <a:pt x="0" y="98755"/>
                  </a:lnTo>
                  <a:lnTo>
                    <a:pt x="63886" y="63886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83F48F-DFCB-4F62-817C-DC39CB442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762" y="6453188"/>
            <a:ext cx="2743200" cy="268287"/>
          </a:xfrm>
        </p:spPr>
        <p:txBody>
          <a:bodyPr/>
          <a:lstStyle/>
          <a:p>
            <a:fld id="{E0BDCBD0-93B5-4B61-86F8-939F02C82BA8}" type="slidenum">
              <a:rPr lang="en-US" b="0" smtClean="0"/>
              <a:pPr/>
              <a:t>3</a:t>
            </a:fld>
            <a:endParaRPr lang="en-US" b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6DDCA62-0250-4BBC-9642-364177A6B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1148"/>
            <a:ext cx="12192000" cy="1768851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Цифровая образовательная среда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E49967D6-5ACE-425B-802E-9CB2DDD8C28D}"/>
              </a:ext>
            </a:extLst>
          </p:cNvPr>
          <p:cNvGrpSpPr/>
          <p:nvPr/>
        </p:nvGrpSpPr>
        <p:grpSpPr>
          <a:xfrm rot="1328355">
            <a:off x="7542189" y="457667"/>
            <a:ext cx="227287" cy="227287"/>
            <a:chOff x="13389778" y="2334193"/>
            <a:chExt cx="351340" cy="351340"/>
          </a:xfrm>
        </p:grpSpPr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3F3D4A40-7EE3-4F55-8403-DE56E6D414B4}"/>
                </a:ext>
              </a:extLst>
            </p:cNvPr>
            <p:cNvSpPr/>
            <p:nvPr/>
          </p:nvSpPr>
          <p:spPr>
            <a:xfrm>
              <a:off x="13389778" y="2334193"/>
              <a:ext cx="351340" cy="351340"/>
            </a:xfrm>
            <a:custGeom>
              <a:avLst/>
              <a:gdLst>
                <a:gd name="connsiteX0" fmla="*/ 353529 w 351339"/>
                <a:gd name="connsiteY0" fmla="*/ 141219 h 351339"/>
                <a:gd name="connsiteX1" fmla="*/ 216339 w 351339"/>
                <a:gd name="connsiteY1" fmla="*/ 353529 h 351339"/>
                <a:gd name="connsiteX2" fmla="*/ 4030 w 351339"/>
                <a:gd name="connsiteY2" fmla="*/ 216339 h 351339"/>
                <a:gd name="connsiteX3" fmla="*/ 141219 w 351339"/>
                <a:gd name="connsiteY3" fmla="*/ 4030 h 351339"/>
                <a:gd name="connsiteX4" fmla="*/ 353529 w 351339"/>
                <a:gd name="connsiteY4" fmla="*/ 141219 h 351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339" h="351339">
                  <a:moveTo>
                    <a:pt x="353529" y="141219"/>
                  </a:moveTo>
                  <a:cubicBezTo>
                    <a:pt x="374275" y="237754"/>
                    <a:pt x="312874" y="332783"/>
                    <a:pt x="216339" y="353529"/>
                  </a:cubicBezTo>
                  <a:cubicBezTo>
                    <a:pt x="119804" y="374275"/>
                    <a:pt x="24775" y="312874"/>
                    <a:pt x="4030" y="216339"/>
                  </a:cubicBezTo>
                  <a:cubicBezTo>
                    <a:pt x="-16716" y="119804"/>
                    <a:pt x="44685" y="24775"/>
                    <a:pt x="141219" y="4030"/>
                  </a:cubicBezTo>
                  <a:cubicBezTo>
                    <a:pt x="237754" y="-16716"/>
                    <a:pt x="332783" y="44685"/>
                    <a:pt x="353529" y="141219"/>
                  </a:cubicBezTo>
                  <a:close/>
                </a:path>
              </a:pathLst>
            </a:custGeom>
            <a:solidFill>
              <a:srgbClr val="DB2828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F88D5018-2CD4-4C89-9DE0-421776886AC3}"/>
                </a:ext>
              </a:extLst>
            </p:cNvPr>
            <p:cNvSpPr/>
            <p:nvPr/>
          </p:nvSpPr>
          <p:spPr>
            <a:xfrm>
              <a:off x="13463556" y="2429170"/>
              <a:ext cx="200765" cy="184035"/>
            </a:xfrm>
            <a:custGeom>
              <a:avLst/>
              <a:gdLst>
                <a:gd name="connsiteX0" fmla="*/ 127002 w 200765"/>
                <a:gd name="connsiteY0" fmla="*/ 185607 h 184035"/>
                <a:gd name="connsiteX1" fmla="*/ 11896 w 200765"/>
                <a:gd name="connsiteY1" fmla="*/ 38379 h 184035"/>
                <a:gd name="connsiteX2" fmla="*/ 100233 w 200765"/>
                <a:gd name="connsiteY2" fmla="*/ 61132 h 184035"/>
                <a:gd name="connsiteX3" fmla="*/ 171505 w 200765"/>
                <a:gd name="connsiteY3" fmla="*/ 4081 h 184035"/>
                <a:gd name="connsiteX4" fmla="*/ 127002 w 200765"/>
                <a:gd name="connsiteY4" fmla="*/ 185607 h 18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65" h="184035">
                  <a:moveTo>
                    <a:pt x="127002" y="185607"/>
                  </a:moveTo>
                  <a:cubicBezTo>
                    <a:pt x="13569" y="162686"/>
                    <a:pt x="-21063" y="71840"/>
                    <a:pt x="11896" y="38379"/>
                  </a:cubicBezTo>
                  <a:cubicBezTo>
                    <a:pt x="56232" y="-6459"/>
                    <a:pt x="100233" y="61132"/>
                    <a:pt x="100233" y="61132"/>
                  </a:cubicBezTo>
                  <a:cubicBezTo>
                    <a:pt x="100233" y="61132"/>
                    <a:pt x="112613" y="-18672"/>
                    <a:pt x="171505" y="4081"/>
                  </a:cubicBezTo>
                  <a:cubicBezTo>
                    <a:pt x="215171" y="21146"/>
                    <a:pt x="221027" y="118016"/>
                    <a:pt x="127002" y="185607"/>
                  </a:cubicBezTo>
                  <a:close/>
                </a:path>
              </a:pathLst>
            </a:custGeom>
            <a:solidFill>
              <a:srgbClr val="FFFFFF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0EAD0BE-DE30-4654-972D-B80247A3FB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108" y="1534281"/>
            <a:ext cx="11776869" cy="5114043"/>
          </a:xfrm>
          <a:prstGeom prst="rect">
            <a:avLst/>
          </a:prstGeom>
          <a:ln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21597183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936DE0-D9BC-4D64-9E8A-7DD198BD4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762" y="6453188"/>
            <a:ext cx="2743200" cy="268287"/>
          </a:xfrm>
        </p:spPr>
        <p:txBody>
          <a:bodyPr/>
          <a:lstStyle/>
          <a:p>
            <a:fld id="{E0BDCBD0-93B5-4B61-86F8-939F02C82BA8}" type="slidenum">
              <a:rPr lang="en-US" b="0" smtClean="0"/>
              <a:pPr/>
              <a:t>4</a:t>
            </a:fld>
            <a:endParaRPr lang="en-US" b="0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B4A4E23-5908-4974-9705-713A444E90AD}"/>
              </a:ext>
            </a:extLst>
          </p:cNvPr>
          <p:cNvSpPr/>
          <p:nvPr/>
        </p:nvSpPr>
        <p:spPr>
          <a:xfrm>
            <a:off x="4152901" y="1780746"/>
            <a:ext cx="1793632" cy="1793629"/>
          </a:xfrm>
          <a:prstGeom prst="roundRect">
            <a:avLst>
              <a:gd name="adj" fmla="val 9136"/>
            </a:avLst>
          </a:prstGeom>
          <a:solidFill>
            <a:srgbClr val="2948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ln w="12700">
                <a:noFill/>
              </a:ln>
              <a:solidFill>
                <a:schemeClr val="bg1"/>
              </a:solidFill>
              <a:latin typeface="Franklin Gothic Demi" panose="020B070302010202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DCBE58F-591E-4490-88CD-49758D9E99FD}"/>
              </a:ext>
            </a:extLst>
          </p:cNvPr>
          <p:cNvSpPr/>
          <p:nvPr/>
        </p:nvSpPr>
        <p:spPr>
          <a:xfrm>
            <a:off x="6245469" y="1780746"/>
            <a:ext cx="1793632" cy="1793629"/>
          </a:xfrm>
          <a:prstGeom prst="roundRect">
            <a:avLst>
              <a:gd name="adj" fmla="val 9136"/>
            </a:avLst>
          </a:prstGeom>
          <a:solidFill>
            <a:srgbClr val="2948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ln w="12700">
                <a:noFill/>
              </a:ln>
              <a:solidFill>
                <a:schemeClr val="bg1"/>
              </a:solidFill>
              <a:latin typeface="Franklin Gothic Demi" panose="020B0703020102020204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CD1F24C-D403-4D7B-A7A8-BC96022FE47D}"/>
              </a:ext>
            </a:extLst>
          </p:cNvPr>
          <p:cNvSpPr/>
          <p:nvPr/>
        </p:nvSpPr>
        <p:spPr>
          <a:xfrm>
            <a:off x="4152901" y="3852774"/>
            <a:ext cx="1793632" cy="1793629"/>
          </a:xfrm>
          <a:prstGeom prst="roundRect">
            <a:avLst>
              <a:gd name="adj" fmla="val 9136"/>
            </a:avLst>
          </a:prstGeom>
          <a:solidFill>
            <a:srgbClr val="2948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ln w="12700">
                <a:noFill/>
              </a:ln>
              <a:solidFill>
                <a:schemeClr val="bg1"/>
              </a:solidFill>
              <a:latin typeface="Franklin Gothic Demi" panose="020B070302010202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D6FB664-9AC7-47FC-ABD8-FD1E321B2D93}"/>
              </a:ext>
            </a:extLst>
          </p:cNvPr>
          <p:cNvSpPr/>
          <p:nvPr/>
        </p:nvSpPr>
        <p:spPr>
          <a:xfrm>
            <a:off x="6245469" y="3852774"/>
            <a:ext cx="1793632" cy="1793629"/>
          </a:xfrm>
          <a:prstGeom prst="roundRect">
            <a:avLst>
              <a:gd name="adj" fmla="val 9136"/>
            </a:avLst>
          </a:prstGeom>
          <a:solidFill>
            <a:srgbClr val="2948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ln w="12700">
                <a:noFill/>
              </a:ln>
              <a:solidFill>
                <a:schemeClr val="bg1"/>
              </a:solidFill>
              <a:latin typeface="Franklin Gothic Demi" panose="020B07030201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B4F4A72-A923-46B0-9E74-3DFEEA54CFC5}"/>
              </a:ext>
            </a:extLst>
          </p:cNvPr>
          <p:cNvSpPr txBox="1"/>
          <p:nvPr/>
        </p:nvSpPr>
        <p:spPr>
          <a:xfrm>
            <a:off x="309567" y="1550930"/>
            <a:ext cx="2484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29487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ogle </a:t>
            </a:r>
            <a:r>
              <a:rPr lang="ru-RU" b="1" dirty="0">
                <a:solidFill>
                  <a:srgbClr val="29487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аблицы</a:t>
            </a:r>
            <a:endParaRPr lang="en-US" b="1" dirty="0">
              <a:solidFill>
                <a:srgbClr val="29487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7880B44-338F-4EA7-A72D-4FEA76A1223B}"/>
              </a:ext>
            </a:extLst>
          </p:cNvPr>
          <p:cNvSpPr txBox="1"/>
          <p:nvPr/>
        </p:nvSpPr>
        <p:spPr>
          <a:xfrm>
            <a:off x="290517" y="2297499"/>
            <a:ext cx="36242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Мониторинг посещаемости уроков и здоровья детей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BD34E52-ADFA-4761-AAAE-8971FF66D538}"/>
              </a:ext>
            </a:extLst>
          </p:cNvPr>
          <p:cNvSpPr txBox="1"/>
          <p:nvPr/>
        </p:nvSpPr>
        <p:spPr>
          <a:xfrm>
            <a:off x="309567" y="3950214"/>
            <a:ext cx="2484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9487D"/>
                </a:solidFill>
                <a:latin typeface="Franklin Gothic Demi" panose="020B0703020102020204" pitchFamily="34" charset="0"/>
              </a:rPr>
              <a:t>Google </a:t>
            </a:r>
            <a:r>
              <a:rPr lang="ru-RU" dirty="0">
                <a:solidFill>
                  <a:srgbClr val="29487D"/>
                </a:solidFill>
                <a:latin typeface="Franklin Gothic Demi" panose="020B0703020102020204" pitchFamily="34" charset="0"/>
              </a:rPr>
              <a:t>Формы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738DEA7-5EE4-4723-9148-E40C382074F7}"/>
              </a:ext>
            </a:extLst>
          </p:cNvPr>
          <p:cNvSpPr txBox="1"/>
          <p:nvPr/>
        </p:nvSpPr>
        <p:spPr>
          <a:xfrm>
            <a:off x="276425" y="4525140"/>
            <a:ext cx="36242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Для проведения анкетирования, опросов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3E604EB-F39C-401B-AC35-3B198C4B1291}"/>
              </a:ext>
            </a:extLst>
          </p:cNvPr>
          <p:cNvSpPr txBox="1"/>
          <p:nvPr/>
        </p:nvSpPr>
        <p:spPr>
          <a:xfrm>
            <a:off x="9417077" y="1550930"/>
            <a:ext cx="2484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rgbClr val="29487D"/>
                </a:solidFill>
                <a:latin typeface="Franklin Gothic Demi" panose="020B0703020102020204" pitchFamily="34" charset="0"/>
              </a:rPr>
              <a:t>Google</a:t>
            </a:r>
            <a:r>
              <a:rPr lang="ru-RU" dirty="0">
                <a:solidFill>
                  <a:srgbClr val="29487D"/>
                </a:solidFill>
                <a:latin typeface="Franklin Gothic Demi" panose="020B0703020102020204" pitchFamily="34" charset="0"/>
              </a:rPr>
              <a:t> Диск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E0E6769-FDAA-4F1F-AFDB-AC1D9190A681}"/>
              </a:ext>
            </a:extLst>
          </p:cNvPr>
          <p:cNvSpPr txBox="1"/>
          <p:nvPr/>
        </p:nvSpPr>
        <p:spPr>
          <a:xfrm>
            <a:off x="8267701" y="2334355"/>
            <a:ext cx="36242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Облачное хранилище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484EA08-2F4D-4C91-9B4A-D8095CDBF326}"/>
              </a:ext>
            </a:extLst>
          </p:cNvPr>
          <p:cNvSpPr txBox="1"/>
          <p:nvPr/>
        </p:nvSpPr>
        <p:spPr>
          <a:xfrm>
            <a:off x="9417077" y="3950214"/>
            <a:ext cx="2484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rgbClr val="29487D"/>
                </a:solidFill>
                <a:latin typeface="Franklin Gothic Demi" panose="020B0703020102020204" pitchFamily="34" charset="0"/>
              </a:rPr>
              <a:t>Google </a:t>
            </a:r>
            <a:r>
              <a:rPr lang="ru-RU" dirty="0">
                <a:solidFill>
                  <a:srgbClr val="29487D"/>
                </a:solidFill>
                <a:latin typeface="Franklin Gothic Demi" panose="020B0703020102020204" pitchFamily="34" charset="0"/>
              </a:rPr>
              <a:t>Диск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B64C2AA-1B96-43D3-924E-81DE8DCE3DE0}"/>
              </a:ext>
            </a:extLst>
          </p:cNvPr>
          <p:cNvSpPr txBox="1"/>
          <p:nvPr/>
        </p:nvSpPr>
        <p:spPr>
          <a:xfrm>
            <a:off x="8277224" y="4648251"/>
            <a:ext cx="36242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Рабочее пространство для учеников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FEA4D4F-F50E-4FBA-A404-36E5DBC2CEF5}"/>
              </a:ext>
            </a:extLst>
          </p:cNvPr>
          <p:cNvCxnSpPr/>
          <p:nvPr/>
        </p:nvCxnSpPr>
        <p:spPr>
          <a:xfrm>
            <a:off x="417513" y="3627736"/>
            <a:ext cx="31924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3C29109-C8E9-4985-BC2D-F4272F7929B7}"/>
              </a:ext>
            </a:extLst>
          </p:cNvPr>
          <p:cNvCxnSpPr/>
          <p:nvPr/>
        </p:nvCxnSpPr>
        <p:spPr>
          <a:xfrm>
            <a:off x="8542338" y="3627736"/>
            <a:ext cx="319246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1">
            <a:extLst>
              <a:ext uri="{FF2B5EF4-FFF2-40B4-BE49-F238E27FC236}">
                <a16:creationId xmlns:a16="http://schemas.microsoft.com/office/drawing/2014/main" id="{D6C8F95D-216C-443A-9E10-B06C176FB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63" y="347617"/>
            <a:ext cx="11582299" cy="678656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>
                <a:latin typeface="Segoe UI" panose="020B0502040204020203" pitchFamily="34" charset="0"/>
                <a:cs typeface="Segoe UI" panose="020B0502040204020203" pitchFamily="34" charset="0"/>
              </a:rPr>
              <a:t>Среда </a:t>
            </a:r>
            <a:r>
              <a:rPr lang="en-US" sz="3600" b="1" dirty="0">
                <a:latin typeface="Segoe UI" panose="020B0502040204020203" pitchFamily="34" charset="0"/>
                <a:cs typeface="Segoe UI" panose="020B0502040204020203" pitchFamily="34" charset="0"/>
              </a:rPr>
              <a:t>Google</a:t>
            </a: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F62CBB5A-7461-40FD-A9EC-ABFB77B56A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917" y="1987109"/>
            <a:ext cx="1371600" cy="1371600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EE8941B7-E28B-4D01-A45B-A26BA435C6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917" y="4063788"/>
            <a:ext cx="1371600" cy="1371600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EEC39071-7BD6-47E0-9260-97E4C358D7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485" y="2003058"/>
            <a:ext cx="1371600" cy="1371600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22FDCDBD-51F0-4277-AE81-9B3719E83A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007" y="4063788"/>
            <a:ext cx="13716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0657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8C65F9-9064-40D0-8147-1B957E7AC2C4}"/>
              </a:ext>
            </a:extLst>
          </p:cNvPr>
          <p:cNvSpPr/>
          <p:nvPr/>
        </p:nvSpPr>
        <p:spPr>
          <a:xfrm>
            <a:off x="0" y="0"/>
            <a:ext cx="12191996" cy="2943224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5" name="Graphic 2">
            <a:extLst>
              <a:ext uri="{FF2B5EF4-FFF2-40B4-BE49-F238E27FC236}">
                <a16:creationId xmlns:a16="http://schemas.microsoft.com/office/drawing/2014/main" id="{D8D77915-D895-4408-836D-BC5D45371753}"/>
              </a:ext>
            </a:extLst>
          </p:cNvPr>
          <p:cNvGrpSpPr/>
          <p:nvPr/>
        </p:nvGrpSpPr>
        <p:grpSpPr>
          <a:xfrm>
            <a:off x="0" y="-91644"/>
            <a:ext cx="12184441" cy="3584691"/>
            <a:chOff x="0" y="-91644"/>
            <a:chExt cx="12184441" cy="3584691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27AF5C6-5287-464C-A94F-BFF5E8D34F67}"/>
                </a:ext>
              </a:extLst>
            </p:cNvPr>
            <p:cNvSpPr/>
            <p:nvPr/>
          </p:nvSpPr>
          <p:spPr>
            <a:xfrm>
              <a:off x="8765561" y="1049728"/>
              <a:ext cx="3413760" cy="2243327"/>
            </a:xfrm>
            <a:custGeom>
              <a:avLst/>
              <a:gdLst>
                <a:gd name="connsiteX0" fmla="*/ 0 w 3413760"/>
                <a:gd name="connsiteY0" fmla="*/ 2258489 h 2243327"/>
                <a:gd name="connsiteX1" fmla="*/ 3426440 w 3413760"/>
                <a:gd name="connsiteY1" fmla="*/ 2258489 h 2243327"/>
                <a:gd name="connsiteX2" fmla="*/ 3426440 w 3413760"/>
                <a:gd name="connsiteY2" fmla="*/ 498208 h 2243327"/>
                <a:gd name="connsiteX3" fmla="*/ 2979724 w 3413760"/>
                <a:gd name="connsiteY3" fmla="*/ 788134 h 2243327"/>
                <a:gd name="connsiteX4" fmla="*/ 2471806 w 3413760"/>
                <a:gd name="connsiteY4" fmla="*/ 43 h 2243327"/>
                <a:gd name="connsiteX5" fmla="*/ 1867814 w 3413760"/>
                <a:gd name="connsiteY5" fmla="*/ 932243 h 2243327"/>
                <a:gd name="connsiteX6" fmla="*/ 1078016 w 3413760"/>
                <a:gd name="connsiteY6" fmla="*/ 932243 h 2243327"/>
                <a:gd name="connsiteX7" fmla="*/ 753465 w 3413760"/>
                <a:gd name="connsiteY7" fmla="*/ 1722528 h 2243327"/>
                <a:gd name="connsiteX8" fmla="*/ 0 w 3413760"/>
                <a:gd name="connsiteY8" fmla="*/ 2258489 h 22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13760" h="2243327">
                  <a:moveTo>
                    <a:pt x="0" y="2258489"/>
                  </a:moveTo>
                  <a:lnTo>
                    <a:pt x="3426440" y="2258489"/>
                  </a:lnTo>
                  <a:lnTo>
                    <a:pt x="3426440" y="498208"/>
                  </a:lnTo>
                  <a:cubicBezTo>
                    <a:pt x="3213080" y="466997"/>
                    <a:pt x="3150412" y="779843"/>
                    <a:pt x="2979724" y="788134"/>
                  </a:cubicBezTo>
                  <a:cubicBezTo>
                    <a:pt x="2774655" y="797887"/>
                    <a:pt x="2735397" y="-6784"/>
                    <a:pt x="2471806" y="43"/>
                  </a:cubicBezTo>
                  <a:cubicBezTo>
                    <a:pt x="2207971" y="6627"/>
                    <a:pt x="2143354" y="812274"/>
                    <a:pt x="1867814" y="932243"/>
                  </a:cubicBezTo>
                  <a:cubicBezTo>
                    <a:pt x="1592519" y="1051969"/>
                    <a:pt x="1247242" y="656216"/>
                    <a:pt x="1078016" y="932243"/>
                  </a:cubicBezTo>
                  <a:cubicBezTo>
                    <a:pt x="908547" y="1208270"/>
                    <a:pt x="1047781" y="1728624"/>
                    <a:pt x="753465" y="1722528"/>
                  </a:cubicBezTo>
                  <a:cubicBezTo>
                    <a:pt x="459150" y="1716189"/>
                    <a:pt x="19507" y="1608899"/>
                    <a:pt x="0" y="2258489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B7D986F0-928E-4E29-A80C-AEE9EFDA257C}"/>
                </a:ext>
              </a:extLst>
            </p:cNvPr>
            <p:cNvSpPr/>
            <p:nvPr/>
          </p:nvSpPr>
          <p:spPr>
            <a:xfrm>
              <a:off x="11243706" y="1357009"/>
              <a:ext cx="48768" cy="1950719"/>
            </a:xfrm>
            <a:custGeom>
              <a:avLst/>
              <a:gdLst>
                <a:gd name="connsiteX0" fmla="*/ 0 w 48768"/>
                <a:gd name="connsiteY0" fmla="*/ 0 h 1950719"/>
                <a:gd name="connsiteX1" fmla="*/ 13168 w 48768"/>
                <a:gd name="connsiteY1" fmla="*/ 1952914 h 1950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950719">
                  <a:moveTo>
                    <a:pt x="0" y="0"/>
                  </a:moveTo>
                  <a:cubicBezTo>
                    <a:pt x="0" y="0"/>
                    <a:pt x="100950" y="1157508"/>
                    <a:pt x="13168" y="1952914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C785E83-F6A5-4C2D-95FA-712DF75BD973}"/>
                </a:ext>
              </a:extLst>
            </p:cNvPr>
            <p:cNvSpPr/>
            <p:nvPr/>
          </p:nvSpPr>
          <p:spPr>
            <a:xfrm>
              <a:off x="12126163" y="3071691"/>
              <a:ext cx="48768" cy="219456"/>
            </a:xfrm>
            <a:custGeom>
              <a:avLst/>
              <a:gdLst>
                <a:gd name="connsiteX0" fmla="*/ 65837 w 48768"/>
                <a:gd name="connsiteY0" fmla="*/ 0 h 219455"/>
                <a:gd name="connsiteX1" fmla="*/ 0 w 48768"/>
                <a:gd name="connsiteY1" fmla="*/ 231648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219455">
                  <a:moveTo>
                    <a:pt x="65837" y="0"/>
                  </a:moveTo>
                  <a:cubicBezTo>
                    <a:pt x="49012" y="86807"/>
                    <a:pt x="27554" y="165811"/>
                    <a:pt x="0" y="23164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929AC63-569D-4B72-9302-2C207AB18971}"/>
                </a:ext>
              </a:extLst>
            </p:cNvPr>
            <p:cNvSpPr/>
            <p:nvPr/>
          </p:nvSpPr>
          <p:spPr>
            <a:xfrm>
              <a:off x="12101779" y="1886629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90221 w 73152"/>
                <a:gd name="connsiteY1" fmla="*/ 87782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90221" y="877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ED061E2-DB6C-4619-8FF7-25D4C1E3577F}"/>
                </a:ext>
              </a:extLst>
            </p:cNvPr>
            <p:cNvSpPr/>
            <p:nvPr/>
          </p:nvSpPr>
          <p:spPr>
            <a:xfrm>
              <a:off x="12035942" y="2214594"/>
              <a:ext cx="146304" cy="97536"/>
            </a:xfrm>
            <a:custGeom>
              <a:avLst/>
              <a:gdLst>
                <a:gd name="connsiteX0" fmla="*/ 0 w 146304"/>
                <a:gd name="connsiteY0" fmla="*/ 0 h 97535"/>
                <a:gd name="connsiteX1" fmla="*/ 156058 w 146304"/>
                <a:gd name="connsiteY1" fmla="*/ 118262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97535">
                  <a:moveTo>
                    <a:pt x="0" y="0"/>
                  </a:moveTo>
                  <a:lnTo>
                    <a:pt x="156058" y="11826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1A7E89C-D70A-4B03-B62C-F000EE899C99}"/>
                </a:ext>
              </a:extLst>
            </p:cNvPr>
            <p:cNvSpPr/>
            <p:nvPr/>
          </p:nvSpPr>
          <p:spPr>
            <a:xfrm>
              <a:off x="11989369" y="2507934"/>
              <a:ext cx="195072" cy="146304"/>
            </a:xfrm>
            <a:custGeom>
              <a:avLst/>
              <a:gdLst>
                <a:gd name="connsiteX0" fmla="*/ 0 w 195072"/>
                <a:gd name="connsiteY0" fmla="*/ 0 h 146303"/>
                <a:gd name="connsiteX1" fmla="*/ 202631 w 195072"/>
                <a:gd name="connsiteY1" fmla="*/ 15947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46303">
                  <a:moveTo>
                    <a:pt x="0" y="0"/>
                  </a:moveTo>
                  <a:lnTo>
                    <a:pt x="202631" y="15947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AFF682B-0D2A-454C-A62A-1F1748367914}"/>
                </a:ext>
              </a:extLst>
            </p:cNvPr>
            <p:cNvSpPr/>
            <p:nvPr/>
          </p:nvSpPr>
          <p:spPr>
            <a:xfrm>
              <a:off x="11261019" y="1433819"/>
              <a:ext cx="97536" cy="146304"/>
            </a:xfrm>
            <a:custGeom>
              <a:avLst/>
              <a:gdLst>
                <a:gd name="connsiteX0" fmla="*/ 116068 w 97536"/>
                <a:gd name="connsiteY0" fmla="*/ 0 h 146303"/>
                <a:gd name="connsiteX1" fmla="*/ 0 w 97536"/>
                <a:gd name="connsiteY1" fmla="*/ 16312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16068" y="0"/>
                  </a:moveTo>
                  <a:lnTo>
                    <a:pt x="0" y="16312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16629E6-15BE-4150-A207-A9E00FC54C4B}"/>
                </a:ext>
              </a:extLst>
            </p:cNvPr>
            <p:cNvSpPr/>
            <p:nvPr/>
          </p:nvSpPr>
          <p:spPr>
            <a:xfrm>
              <a:off x="11038637" y="1534281"/>
              <a:ext cx="219456" cy="219456"/>
            </a:xfrm>
            <a:custGeom>
              <a:avLst/>
              <a:gdLst>
                <a:gd name="connsiteX0" fmla="*/ 0 w 219456"/>
                <a:gd name="connsiteY0" fmla="*/ 0 h 219455"/>
                <a:gd name="connsiteX1" fmla="*/ 231892 w 219456"/>
                <a:gd name="connsiteY1" fmla="*/ 223357 h 21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19455">
                  <a:moveTo>
                    <a:pt x="0" y="0"/>
                  </a:moveTo>
                  <a:lnTo>
                    <a:pt x="231892" y="2233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387AFEB-E764-4BDD-BD02-9F754F07238E}"/>
                </a:ext>
              </a:extLst>
            </p:cNvPr>
            <p:cNvSpPr/>
            <p:nvPr/>
          </p:nvSpPr>
          <p:spPr>
            <a:xfrm>
              <a:off x="11285403" y="1829815"/>
              <a:ext cx="243840" cy="268224"/>
            </a:xfrm>
            <a:custGeom>
              <a:avLst/>
              <a:gdLst>
                <a:gd name="connsiteX0" fmla="*/ 244815 w 243840"/>
                <a:gd name="connsiteY0" fmla="*/ 0 h 268223"/>
                <a:gd name="connsiteX1" fmla="*/ 0 w 243840"/>
                <a:gd name="connsiteY1" fmla="*/ 272857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68223">
                  <a:moveTo>
                    <a:pt x="244815" y="0"/>
                  </a:moveTo>
                  <a:lnTo>
                    <a:pt x="0" y="27285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33F58C6-1A25-40DF-AF74-FE9627A7E967}"/>
                </a:ext>
              </a:extLst>
            </p:cNvPr>
            <p:cNvSpPr/>
            <p:nvPr/>
          </p:nvSpPr>
          <p:spPr>
            <a:xfrm>
              <a:off x="10918180" y="1966121"/>
              <a:ext cx="365760" cy="365760"/>
            </a:xfrm>
            <a:custGeom>
              <a:avLst/>
              <a:gdLst>
                <a:gd name="connsiteX0" fmla="*/ 0 w 365760"/>
                <a:gd name="connsiteY0" fmla="*/ 0 h 365759"/>
                <a:gd name="connsiteX1" fmla="*/ 374538 w 365760"/>
                <a:gd name="connsiteY1" fmla="*/ 367223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5760" h="365759">
                  <a:moveTo>
                    <a:pt x="0" y="0"/>
                  </a:moveTo>
                  <a:lnTo>
                    <a:pt x="374538" y="367223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405A9F5-E3FD-47DF-A624-5B1166595FB9}"/>
                </a:ext>
              </a:extLst>
            </p:cNvPr>
            <p:cNvSpPr/>
            <p:nvPr/>
          </p:nvSpPr>
          <p:spPr>
            <a:xfrm>
              <a:off x="11292474" y="2149733"/>
              <a:ext cx="438912" cy="414528"/>
            </a:xfrm>
            <a:custGeom>
              <a:avLst/>
              <a:gdLst>
                <a:gd name="connsiteX0" fmla="*/ 443057 w 438912"/>
                <a:gd name="connsiteY0" fmla="*/ 0 h 414527"/>
                <a:gd name="connsiteX1" fmla="*/ 0 w 438912"/>
                <a:gd name="connsiteY1" fmla="*/ 427451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8912" h="414527">
                  <a:moveTo>
                    <a:pt x="443057" y="0"/>
                  </a:moveTo>
                  <a:lnTo>
                    <a:pt x="0" y="4274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FA883DC-092C-4BA7-903B-CE206E5B5165}"/>
                </a:ext>
              </a:extLst>
            </p:cNvPr>
            <p:cNvSpPr/>
            <p:nvPr/>
          </p:nvSpPr>
          <p:spPr>
            <a:xfrm>
              <a:off x="10797479" y="2428686"/>
              <a:ext cx="487680" cy="438912"/>
            </a:xfrm>
            <a:custGeom>
              <a:avLst/>
              <a:gdLst>
                <a:gd name="connsiteX0" fmla="*/ 0 w 487680"/>
                <a:gd name="connsiteY0" fmla="*/ 0 h 438911"/>
                <a:gd name="connsiteX1" fmla="*/ 489143 w 487680"/>
                <a:gd name="connsiteY1" fmla="*/ 448422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0" h="438911">
                  <a:moveTo>
                    <a:pt x="0" y="0"/>
                  </a:moveTo>
                  <a:lnTo>
                    <a:pt x="489143" y="44842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20362A7-DEF4-4AF5-9222-C2CAEF4355C4}"/>
                </a:ext>
              </a:extLst>
            </p:cNvPr>
            <p:cNvSpPr/>
            <p:nvPr/>
          </p:nvSpPr>
          <p:spPr>
            <a:xfrm>
              <a:off x="11278819" y="2679109"/>
              <a:ext cx="512064" cy="341376"/>
            </a:xfrm>
            <a:custGeom>
              <a:avLst/>
              <a:gdLst>
                <a:gd name="connsiteX0" fmla="*/ 524987 w 512064"/>
                <a:gd name="connsiteY0" fmla="*/ 0 h 341375"/>
                <a:gd name="connsiteX1" fmla="*/ 0 w 512064"/>
                <a:gd name="connsiteY1" fmla="*/ 36454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2064" h="341375">
                  <a:moveTo>
                    <a:pt x="524987" y="0"/>
                  </a:moveTo>
                  <a:lnTo>
                    <a:pt x="0" y="3645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E96689F-A080-4032-AF87-666EE826E4F1}"/>
                </a:ext>
              </a:extLst>
            </p:cNvPr>
            <p:cNvSpPr/>
            <p:nvPr/>
          </p:nvSpPr>
          <p:spPr>
            <a:xfrm>
              <a:off x="10056206" y="2149733"/>
              <a:ext cx="195072" cy="1146048"/>
            </a:xfrm>
            <a:custGeom>
              <a:avLst/>
              <a:gdLst>
                <a:gd name="connsiteX0" fmla="*/ 0 w 195072"/>
                <a:gd name="connsiteY0" fmla="*/ 0 h 1146047"/>
                <a:gd name="connsiteX1" fmla="*/ 208483 w 195072"/>
                <a:gd name="connsiteY1" fmla="*/ 1159947 h 114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146047">
                  <a:moveTo>
                    <a:pt x="0" y="0"/>
                  </a:moveTo>
                  <a:cubicBezTo>
                    <a:pt x="0" y="0"/>
                    <a:pt x="192146" y="592531"/>
                    <a:pt x="208483" y="115994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752B809-45E2-4DEB-8D43-0746B47A7242}"/>
                </a:ext>
              </a:extLst>
            </p:cNvPr>
            <p:cNvSpPr/>
            <p:nvPr/>
          </p:nvSpPr>
          <p:spPr>
            <a:xfrm>
              <a:off x="10122774" y="2200208"/>
              <a:ext cx="48768" cy="170688"/>
            </a:xfrm>
            <a:custGeom>
              <a:avLst/>
              <a:gdLst>
                <a:gd name="connsiteX0" fmla="*/ 70226 w 48768"/>
                <a:gd name="connsiteY0" fmla="*/ 0 h 170687"/>
                <a:gd name="connsiteX1" fmla="*/ 0 w 48768"/>
                <a:gd name="connsiteY1" fmla="*/ 186294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170687">
                  <a:moveTo>
                    <a:pt x="70226" y="0"/>
                  </a:moveTo>
                  <a:lnTo>
                    <a:pt x="0" y="18629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04132E27-5C8B-4140-AF2C-0DA11251F028}"/>
                </a:ext>
              </a:extLst>
            </p:cNvPr>
            <p:cNvSpPr/>
            <p:nvPr/>
          </p:nvSpPr>
          <p:spPr>
            <a:xfrm>
              <a:off x="10202509" y="2294086"/>
              <a:ext cx="195072" cy="438912"/>
            </a:xfrm>
            <a:custGeom>
              <a:avLst/>
              <a:gdLst>
                <a:gd name="connsiteX0" fmla="*/ 218481 w 195072"/>
                <a:gd name="connsiteY0" fmla="*/ 0 h 438911"/>
                <a:gd name="connsiteX1" fmla="*/ 0 w 195072"/>
                <a:gd name="connsiteY1" fmla="*/ 457688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438911">
                  <a:moveTo>
                    <a:pt x="218481" y="0"/>
                  </a:moveTo>
                  <a:lnTo>
                    <a:pt x="0" y="45768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3510742-BEC5-4745-824F-1E8880BC88E6}"/>
                </a:ext>
              </a:extLst>
            </p:cNvPr>
            <p:cNvSpPr/>
            <p:nvPr/>
          </p:nvSpPr>
          <p:spPr>
            <a:xfrm>
              <a:off x="10249571" y="2698616"/>
              <a:ext cx="219456" cy="365760"/>
            </a:xfrm>
            <a:custGeom>
              <a:avLst/>
              <a:gdLst>
                <a:gd name="connsiteX0" fmla="*/ 233355 w 219456"/>
                <a:gd name="connsiteY0" fmla="*/ 0 h 365759"/>
                <a:gd name="connsiteX1" fmla="*/ 0 w 219456"/>
                <a:gd name="connsiteY1" fmla="*/ 384292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365759">
                  <a:moveTo>
                    <a:pt x="233355" y="0"/>
                  </a:moveTo>
                  <a:lnTo>
                    <a:pt x="0" y="38429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1277AEB-7279-47B5-A074-F309964A3D57}"/>
                </a:ext>
              </a:extLst>
            </p:cNvPr>
            <p:cNvSpPr/>
            <p:nvPr/>
          </p:nvSpPr>
          <p:spPr>
            <a:xfrm>
              <a:off x="9968423" y="2373822"/>
              <a:ext cx="170688" cy="73152"/>
            </a:xfrm>
            <a:custGeom>
              <a:avLst/>
              <a:gdLst>
                <a:gd name="connsiteX0" fmla="*/ 0 w 170688"/>
                <a:gd name="connsiteY0" fmla="*/ 0 h 73151"/>
                <a:gd name="connsiteX1" fmla="*/ 172882 w 170688"/>
                <a:gd name="connsiteY1" fmla="*/ 8705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73151">
                  <a:moveTo>
                    <a:pt x="0" y="0"/>
                  </a:moveTo>
                  <a:lnTo>
                    <a:pt x="172882" y="8705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C664493-5E34-456F-A6DE-D0E8AE23B777}"/>
                </a:ext>
              </a:extLst>
            </p:cNvPr>
            <p:cNvSpPr/>
            <p:nvPr/>
          </p:nvSpPr>
          <p:spPr>
            <a:xfrm>
              <a:off x="9874057" y="2652774"/>
              <a:ext cx="316992" cy="146304"/>
            </a:xfrm>
            <a:custGeom>
              <a:avLst/>
              <a:gdLst>
                <a:gd name="connsiteX0" fmla="*/ 0 w 316992"/>
                <a:gd name="connsiteY0" fmla="*/ 0 h 146303"/>
                <a:gd name="connsiteX1" fmla="*/ 340889 w 316992"/>
                <a:gd name="connsiteY1" fmla="*/ 170200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146303">
                  <a:moveTo>
                    <a:pt x="0" y="0"/>
                  </a:moveTo>
                  <a:lnTo>
                    <a:pt x="340889" y="1702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6D0E4E7-13F0-4DB2-9F5B-06A6C8D0D914}"/>
                </a:ext>
              </a:extLst>
            </p:cNvPr>
            <p:cNvSpPr/>
            <p:nvPr/>
          </p:nvSpPr>
          <p:spPr>
            <a:xfrm>
              <a:off x="9947453" y="3009756"/>
              <a:ext cx="292608" cy="97536"/>
            </a:xfrm>
            <a:custGeom>
              <a:avLst/>
              <a:gdLst>
                <a:gd name="connsiteX0" fmla="*/ 0 w 292608"/>
                <a:gd name="connsiteY0" fmla="*/ 0 h 97535"/>
                <a:gd name="connsiteX1" fmla="*/ 306507 w 292608"/>
                <a:gd name="connsiteY1" fmla="*/ 118750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2608" h="97535">
                  <a:moveTo>
                    <a:pt x="0" y="0"/>
                  </a:moveTo>
                  <a:lnTo>
                    <a:pt x="306507" y="11875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749D8B2-2519-4E11-BE5E-3F8BB8C102FB}"/>
                </a:ext>
              </a:extLst>
            </p:cNvPr>
            <p:cNvSpPr/>
            <p:nvPr/>
          </p:nvSpPr>
          <p:spPr>
            <a:xfrm>
              <a:off x="8722347" y="1691694"/>
              <a:ext cx="1560576" cy="1609344"/>
            </a:xfrm>
            <a:custGeom>
              <a:avLst/>
              <a:gdLst>
                <a:gd name="connsiteX0" fmla="*/ 1563068 w 1560576"/>
                <a:gd name="connsiteY0" fmla="*/ 1616522 h 1609343"/>
                <a:gd name="connsiteX1" fmla="*/ 1304597 w 1560576"/>
                <a:gd name="connsiteY1" fmla="*/ 917920 h 1609343"/>
                <a:gd name="connsiteX2" fmla="*/ 951760 w 1560576"/>
                <a:gd name="connsiteY2" fmla="*/ 537286 h 1609343"/>
                <a:gd name="connsiteX3" fmla="*/ 665493 w 1560576"/>
                <a:gd name="connsiteY3" fmla="*/ 3277 h 1609343"/>
                <a:gd name="connsiteX4" fmla="*/ 379225 w 1560576"/>
                <a:gd name="connsiteY4" fmla="*/ 584347 h 1609343"/>
                <a:gd name="connsiteX5" fmla="*/ 67840 w 1560576"/>
                <a:gd name="connsiteY5" fmla="*/ 955472 h 1609343"/>
                <a:gd name="connsiteX6" fmla="*/ 77838 w 1560576"/>
                <a:gd name="connsiteY6" fmla="*/ 1616278 h 1609343"/>
                <a:gd name="connsiteX7" fmla="*/ 1563068 w 1560576"/>
                <a:gd name="connsiteY7" fmla="*/ 1616278 h 160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0576" h="1609343">
                  <a:moveTo>
                    <a:pt x="1563068" y="1616522"/>
                  </a:moveTo>
                  <a:cubicBezTo>
                    <a:pt x="1624272" y="1197605"/>
                    <a:pt x="1478211" y="948888"/>
                    <a:pt x="1304597" y="917920"/>
                  </a:cubicBezTo>
                  <a:cubicBezTo>
                    <a:pt x="1126107" y="886221"/>
                    <a:pt x="1005650" y="820872"/>
                    <a:pt x="951760" y="537286"/>
                  </a:cubicBezTo>
                  <a:cubicBezTo>
                    <a:pt x="897872" y="253700"/>
                    <a:pt x="864710" y="-34031"/>
                    <a:pt x="665493" y="3277"/>
                  </a:cubicBezTo>
                  <a:cubicBezTo>
                    <a:pt x="466275" y="40584"/>
                    <a:pt x="395806" y="293690"/>
                    <a:pt x="379225" y="584347"/>
                  </a:cubicBezTo>
                  <a:cubicBezTo>
                    <a:pt x="362643" y="874761"/>
                    <a:pt x="238041" y="841599"/>
                    <a:pt x="67840" y="955472"/>
                  </a:cubicBezTo>
                  <a:cubicBezTo>
                    <a:pt x="-65052" y="1044473"/>
                    <a:pt x="30046" y="1445346"/>
                    <a:pt x="77838" y="1616278"/>
                  </a:cubicBezTo>
                  <a:lnTo>
                    <a:pt x="1563068" y="1616278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3247B0A-CDBA-414B-95FF-54A552364396}"/>
                </a:ext>
              </a:extLst>
            </p:cNvPr>
            <p:cNvSpPr/>
            <p:nvPr/>
          </p:nvSpPr>
          <p:spPr>
            <a:xfrm>
              <a:off x="8819326" y="2604982"/>
              <a:ext cx="1292352" cy="682752"/>
            </a:xfrm>
            <a:custGeom>
              <a:avLst/>
              <a:gdLst>
                <a:gd name="connsiteX0" fmla="*/ 1272724 w 1292352"/>
                <a:gd name="connsiteY0" fmla="*/ 379415 h 682751"/>
                <a:gd name="connsiteX1" fmla="*/ 897211 w 1292352"/>
                <a:gd name="connsiteY1" fmla="*/ 421356 h 682751"/>
                <a:gd name="connsiteX2" fmla="*/ 617038 w 1292352"/>
                <a:gd name="connsiteY2" fmla="*/ 0 h 682751"/>
                <a:gd name="connsiteX3" fmla="*/ 303704 w 1292352"/>
                <a:gd name="connsiteY3" fmla="*/ 466954 h 682751"/>
                <a:gd name="connsiteX4" fmla="*/ 52549 w 1292352"/>
                <a:gd name="connsiteY4" fmla="*/ 333573 h 682751"/>
                <a:gd name="connsiteX5" fmla="*/ 43527 w 1292352"/>
                <a:gd name="connsiteY5" fmla="*/ 703234 h 682751"/>
                <a:gd name="connsiteX6" fmla="*/ 1220055 w 1292352"/>
                <a:gd name="connsiteY6" fmla="*/ 703234 h 682751"/>
                <a:gd name="connsiteX7" fmla="*/ 1272724 w 1292352"/>
                <a:gd name="connsiteY7" fmla="*/ 379415 h 682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92352" h="682751">
                  <a:moveTo>
                    <a:pt x="1272724" y="379415"/>
                  </a:moveTo>
                  <a:cubicBezTo>
                    <a:pt x="1191769" y="322844"/>
                    <a:pt x="1027909" y="435986"/>
                    <a:pt x="897211" y="421356"/>
                  </a:cubicBezTo>
                  <a:cubicBezTo>
                    <a:pt x="766512" y="406725"/>
                    <a:pt x="799675" y="0"/>
                    <a:pt x="617038" y="0"/>
                  </a:cubicBezTo>
                  <a:cubicBezTo>
                    <a:pt x="434402" y="0"/>
                    <a:pt x="449033" y="464759"/>
                    <a:pt x="303704" y="466954"/>
                  </a:cubicBezTo>
                  <a:cubicBezTo>
                    <a:pt x="158375" y="468904"/>
                    <a:pt x="170811" y="265786"/>
                    <a:pt x="52549" y="333573"/>
                  </a:cubicBezTo>
                  <a:cubicBezTo>
                    <a:pt x="-44987" y="389412"/>
                    <a:pt x="18411" y="623011"/>
                    <a:pt x="43527" y="703234"/>
                  </a:cubicBezTo>
                  <a:lnTo>
                    <a:pt x="1220055" y="703234"/>
                  </a:lnTo>
                  <a:cubicBezTo>
                    <a:pt x="1264921" y="596676"/>
                    <a:pt x="1328564" y="418429"/>
                    <a:pt x="1272724" y="379415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F9F39C0-3E48-41B4-8969-4C09A54EE9C7}"/>
                </a:ext>
              </a:extLst>
            </p:cNvPr>
            <p:cNvSpPr/>
            <p:nvPr/>
          </p:nvSpPr>
          <p:spPr>
            <a:xfrm>
              <a:off x="9403202" y="1904917"/>
              <a:ext cx="24384" cy="1389888"/>
            </a:xfrm>
            <a:custGeom>
              <a:avLst/>
              <a:gdLst>
                <a:gd name="connsiteX0" fmla="*/ 0 w 24384"/>
                <a:gd name="connsiteY0" fmla="*/ 0 h 1389887"/>
                <a:gd name="connsiteX1" fmla="*/ 9266 w 24384"/>
                <a:gd name="connsiteY1" fmla="*/ 1403543 h 138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389887">
                  <a:moveTo>
                    <a:pt x="0" y="0"/>
                  </a:moveTo>
                  <a:cubicBezTo>
                    <a:pt x="0" y="0"/>
                    <a:pt x="72421" y="831738"/>
                    <a:pt x="9266" y="140354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70CF274-641A-4F42-8DF5-C5C25ED1D035}"/>
                </a:ext>
              </a:extLst>
            </p:cNvPr>
            <p:cNvSpPr/>
            <p:nvPr/>
          </p:nvSpPr>
          <p:spPr>
            <a:xfrm>
              <a:off x="9415638" y="1960025"/>
              <a:ext cx="73152" cy="97536"/>
            </a:xfrm>
            <a:custGeom>
              <a:avLst/>
              <a:gdLst>
                <a:gd name="connsiteX0" fmla="*/ 83393 w 73152"/>
                <a:gd name="connsiteY0" fmla="*/ 0 h 97535"/>
                <a:gd name="connsiteX1" fmla="*/ 0 w 73152"/>
                <a:gd name="connsiteY1" fmla="*/ 117287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97535">
                  <a:moveTo>
                    <a:pt x="83393" y="0"/>
                  </a:moveTo>
                  <a:lnTo>
                    <a:pt x="0" y="1172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6C95E72-EBA8-4693-82DE-A741C633D29D}"/>
                </a:ext>
              </a:extLst>
            </p:cNvPr>
            <p:cNvSpPr/>
            <p:nvPr/>
          </p:nvSpPr>
          <p:spPr>
            <a:xfrm>
              <a:off x="9255679" y="2032202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66787 w 146304"/>
                <a:gd name="connsiteY1" fmla="*/ 160691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66787" y="1606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5D88DC9-557C-4A0A-891D-77BF05E00DFB}"/>
                </a:ext>
              </a:extLst>
            </p:cNvPr>
            <p:cNvSpPr/>
            <p:nvPr/>
          </p:nvSpPr>
          <p:spPr>
            <a:xfrm>
              <a:off x="9433194" y="2244586"/>
              <a:ext cx="170688" cy="195072"/>
            </a:xfrm>
            <a:custGeom>
              <a:avLst/>
              <a:gdLst>
                <a:gd name="connsiteX0" fmla="*/ 175809 w 170688"/>
                <a:gd name="connsiteY0" fmla="*/ 0 h 195071"/>
                <a:gd name="connsiteX1" fmla="*/ 0 w 170688"/>
                <a:gd name="connsiteY1" fmla="*/ 19604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95071">
                  <a:moveTo>
                    <a:pt x="175809" y="0"/>
                  </a:moveTo>
                  <a:lnTo>
                    <a:pt x="0" y="19604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77138AE-FBDA-48C8-A631-CEA0D4AFD4F4}"/>
                </a:ext>
              </a:extLst>
            </p:cNvPr>
            <p:cNvSpPr/>
            <p:nvPr/>
          </p:nvSpPr>
          <p:spPr>
            <a:xfrm>
              <a:off x="9169116" y="2342610"/>
              <a:ext cx="268224" cy="243840"/>
            </a:xfrm>
            <a:custGeom>
              <a:avLst/>
              <a:gdLst>
                <a:gd name="connsiteX0" fmla="*/ 0 w 268224"/>
                <a:gd name="connsiteY0" fmla="*/ 0 h 243839"/>
                <a:gd name="connsiteX1" fmla="*/ 269200 w 268224"/>
                <a:gd name="connsiteY1" fmla="*/ 263835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43839">
                  <a:moveTo>
                    <a:pt x="0" y="0"/>
                  </a:moveTo>
                  <a:lnTo>
                    <a:pt x="269200" y="26383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3024CDF-1985-429D-9786-19754090781B}"/>
                </a:ext>
              </a:extLst>
            </p:cNvPr>
            <p:cNvSpPr/>
            <p:nvPr/>
          </p:nvSpPr>
          <p:spPr>
            <a:xfrm>
              <a:off x="9438071" y="2474527"/>
              <a:ext cx="316992" cy="292608"/>
            </a:xfrm>
            <a:custGeom>
              <a:avLst/>
              <a:gdLst>
                <a:gd name="connsiteX0" fmla="*/ 318455 w 316992"/>
                <a:gd name="connsiteY0" fmla="*/ 0 h 292607"/>
                <a:gd name="connsiteX1" fmla="*/ 0 w 316992"/>
                <a:gd name="connsiteY1" fmla="*/ 307238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6992" h="292607">
                  <a:moveTo>
                    <a:pt x="318455" y="0"/>
                  </a:moveTo>
                  <a:lnTo>
                    <a:pt x="0" y="3072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70D8454-7703-4ADF-849A-3322284F0DDB}"/>
                </a:ext>
              </a:extLst>
            </p:cNvPr>
            <p:cNvSpPr/>
            <p:nvPr/>
          </p:nvSpPr>
          <p:spPr>
            <a:xfrm>
              <a:off x="9246413" y="2812733"/>
              <a:ext cx="170688" cy="170688"/>
            </a:xfrm>
            <a:custGeom>
              <a:avLst/>
              <a:gdLst>
                <a:gd name="connsiteX0" fmla="*/ 0 w 170688"/>
                <a:gd name="connsiteY0" fmla="*/ 0 h 170687"/>
                <a:gd name="connsiteX1" fmla="*/ 187513 w 170688"/>
                <a:gd name="connsiteY1" fmla="*/ 18458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70687">
                  <a:moveTo>
                    <a:pt x="0" y="0"/>
                  </a:moveTo>
                  <a:lnTo>
                    <a:pt x="187513" y="18458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630D5F5-671A-4B54-8639-1817C42EC345}"/>
                </a:ext>
              </a:extLst>
            </p:cNvPr>
            <p:cNvSpPr/>
            <p:nvPr/>
          </p:nvSpPr>
          <p:spPr>
            <a:xfrm>
              <a:off x="9428317" y="2861989"/>
              <a:ext cx="219456" cy="243840"/>
            </a:xfrm>
            <a:custGeom>
              <a:avLst/>
              <a:gdLst>
                <a:gd name="connsiteX0" fmla="*/ 241157 w 219456"/>
                <a:gd name="connsiteY0" fmla="*/ 0 h 243839"/>
                <a:gd name="connsiteX1" fmla="*/ 0 w 219456"/>
                <a:gd name="connsiteY1" fmla="*/ 255056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243839">
                  <a:moveTo>
                    <a:pt x="241157" y="0"/>
                  </a:moveTo>
                  <a:lnTo>
                    <a:pt x="0" y="25505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9D2BAD05-FE19-45AC-BDA9-748B15C039A5}"/>
                </a:ext>
              </a:extLst>
            </p:cNvPr>
            <p:cNvSpPr/>
            <p:nvPr/>
          </p:nvSpPr>
          <p:spPr>
            <a:xfrm>
              <a:off x="8950878" y="2781278"/>
              <a:ext cx="73152" cy="512064"/>
            </a:xfrm>
            <a:custGeom>
              <a:avLst/>
              <a:gdLst>
                <a:gd name="connsiteX0" fmla="*/ 0 w 73152"/>
                <a:gd name="connsiteY0" fmla="*/ 0 h 512063"/>
                <a:gd name="connsiteX1" fmla="*/ 84369 w 73152"/>
                <a:gd name="connsiteY1" fmla="*/ 527182 h 51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12063">
                  <a:moveTo>
                    <a:pt x="0" y="0"/>
                  </a:moveTo>
                  <a:cubicBezTo>
                    <a:pt x="0" y="0"/>
                    <a:pt x="72665" y="119238"/>
                    <a:pt x="84369" y="52718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294E8627-6C5A-4F01-A9DC-9F1B0D0568DA}"/>
                </a:ext>
              </a:extLst>
            </p:cNvPr>
            <p:cNvSpPr/>
            <p:nvPr/>
          </p:nvSpPr>
          <p:spPr>
            <a:xfrm>
              <a:off x="9024518" y="2976106"/>
              <a:ext cx="97536" cy="146304"/>
            </a:xfrm>
            <a:custGeom>
              <a:avLst/>
              <a:gdLst>
                <a:gd name="connsiteX0" fmla="*/ 102413 w 97536"/>
                <a:gd name="connsiteY0" fmla="*/ 0 h 146303"/>
                <a:gd name="connsiteX1" fmla="*/ 0 w 97536"/>
                <a:gd name="connsiteY1" fmla="*/ 16922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102413" y="0"/>
                  </a:moveTo>
                  <a:lnTo>
                    <a:pt x="0" y="16922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83B00FA-A029-440F-960F-654E67EA43BA}"/>
                </a:ext>
              </a:extLst>
            </p:cNvPr>
            <p:cNvSpPr/>
            <p:nvPr/>
          </p:nvSpPr>
          <p:spPr>
            <a:xfrm>
              <a:off x="8807257" y="3092662"/>
              <a:ext cx="219456" cy="73152"/>
            </a:xfrm>
            <a:custGeom>
              <a:avLst/>
              <a:gdLst>
                <a:gd name="connsiteX0" fmla="*/ 0 w 219456"/>
                <a:gd name="connsiteY0" fmla="*/ 0 h 73151"/>
                <a:gd name="connsiteX1" fmla="*/ 220188 w 219456"/>
                <a:gd name="connsiteY1" fmla="*/ 85344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0" y="0"/>
                  </a:moveTo>
                  <a:lnTo>
                    <a:pt x="220188" y="85344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97D1F5D6-1927-4BC3-8D78-DE512966E327}"/>
                </a:ext>
              </a:extLst>
            </p:cNvPr>
            <p:cNvSpPr/>
            <p:nvPr/>
          </p:nvSpPr>
          <p:spPr>
            <a:xfrm>
              <a:off x="9941357" y="2872962"/>
              <a:ext cx="48768" cy="414528"/>
            </a:xfrm>
            <a:custGeom>
              <a:avLst/>
              <a:gdLst>
                <a:gd name="connsiteX0" fmla="*/ 49011 w 48768"/>
                <a:gd name="connsiteY0" fmla="*/ 0 h 414527"/>
                <a:gd name="connsiteX1" fmla="*/ 0 w 48768"/>
                <a:gd name="connsiteY1" fmla="*/ 435498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49011" y="0"/>
                  </a:moveTo>
                  <a:cubicBezTo>
                    <a:pt x="49011" y="0"/>
                    <a:pt x="11704" y="27554"/>
                    <a:pt x="0" y="435498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0F07BD1-D852-4702-A0F2-FE23DFE653D5}"/>
                </a:ext>
              </a:extLst>
            </p:cNvPr>
            <p:cNvSpPr/>
            <p:nvPr/>
          </p:nvSpPr>
          <p:spPr>
            <a:xfrm>
              <a:off x="9849917" y="2976594"/>
              <a:ext cx="97536" cy="146304"/>
            </a:xfrm>
            <a:custGeom>
              <a:avLst/>
              <a:gdLst>
                <a:gd name="connsiteX0" fmla="*/ 0 w 97536"/>
                <a:gd name="connsiteY0" fmla="*/ 0 h 146303"/>
                <a:gd name="connsiteX1" fmla="*/ 102169 w 97536"/>
                <a:gd name="connsiteY1" fmla="*/ 168737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6" h="146303">
                  <a:moveTo>
                    <a:pt x="0" y="0"/>
                  </a:moveTo>
                  <a:lnTo>
                    <a:pt x="102169" y="16873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A7D0A88-7EF5-41F2-9BA6-AEB4EEFE415B}"/>
                </a:ext>
              </a:extLst>
            </p:cNvPr>
            <p:cNvSpPr/>
            <p:nvPr/>
          </p:nvSpPr>
          <p:spPr>
            <a:xfrm>
              <a:off x="9949160" y="3117777"/>
              <a:ext cx="146304" cy="48768"/>
            </a:xfrm>
            <a:custGeom>
              <a:avLst/>
              <a:gdLst>
                <a:gd name="connsiteX0" fmla="*/ 155082 w 146304"/>
                <a:gd name="connsiteY0" fmla="*/ 0 h 48767"/>
                <a:gd name="connsiteX1" fmla="*/ 0 w 146304"/>
                <a:gd name="connsiteY1" fmla="*/ 6022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48767">
                  <a:moveTo>
                    <a:pt x="155082" y="0"/>
                  </a:moveTo>
                  <a:lnTo>
                    <a:pt x="0" y="6022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60660E3-3D13-4E53-BED2-4D0B847F8DF7}"/>
                </a:ext>
              </a:extLst>
            </p:cNvPr>
            <p:cNvSpPr/>
            <p:nvPr/>
          </p:nvSpPr>
          <p:spPr>
            <a:xfrm>
              <a:off x="7475159" y="2195962"/>
              <a:ext cx="1463040" cy="1097280"/>
            </a:xfrm>
            <a:custGeom>
              <a:avLst/>
              <a:gdLst>
                <a:gd name="connsiteX0" fmla="*/ 1449385 w 1463040"/>
                <a:gd name="connsiteY0" fmla="*/ 1110791 h 1097279"/>
                <a:gd name="connsiteX1" fmla="*/ 1342827 w 1463040"/>
                <a:gd name="connsiteY1" fmla="*/ 832 h 1097279"/>
                <a:gd name="connsiteX2" fmla="*/ 998037 w 1463040"/>
                <a:gd name="connsiteY2" fmla="*/ 451692 h 1097279"/>
                <a:gd name="connsiteX3" fmla="*/ 637398 w 1463040"/>
                <a:gd name="connsiteY3" fmla="*/ 459495 h 1097279"/>
                <a:gd name="connsiteX4" fmla="*/ 403799 w 1463040"/>
                <a:gd name="connsiteY4" fmla="*/ 743325 h 1097279"/>
                <a:gd name="connsiteX5" fmla="*/ 0 w 1463040"/>
                <a:gd name="connsiteY5" fmla="*/ 1110548 h 1097279"/>
                <a:gd name="connsiteX6" fmla="*/ 1449385 w 1463040"/>
                <a:gd name="connsiteY6" fmla="*/ 1110548 h 1097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63040" h="1097279">
                  <a:moveTo>
                    <a:pt x="1449385" y="1110791"/>
                  </a:moveTo>
                  <a:cubicBezTo>
                    <a:pt x="1449385" y="1110791"/>
                    <a:pt x="1532291" y="24241"/>
                    <a:pt x="1342827" y="832"/>
                  </a:cubicBezTo>
                  <a:cubicBezTo>
                    <a:pt x="1153120" y="-22577"/>
                    <a:pt x="1186770" y="455837"/>
                    <a:pt x="998037" y="451692"/>
                  </a:cubicBezTo>
                  <a:cubicBezTo>
                    <a:pt x="809549" y="447547"/>
                    <a:pt x="706405" y="289782"/>
                    <a:pt x="637398" y="459495"/>
                  </a:cubicBezTo>
                  <a:cubicBezTo>
                    <a:pt x="568391" y="629208"/>
                    <a:pt x="566684" y="794287"/>
                    <a:pt x="403799" y="743325"/>
                  </a:cubicBezTo>
                  <a:cubicBezTo>
                    <a:pt x="240670" y="692362"/>
                    <a:pt x="0" y="1110548"/>
                    <a:pt x="0" y="1110548"/>
                  </a:cubicBezTo>
                  <a:lnTo>
                    <a:pt x="1449385" y="1110548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5D14979D-D615-498E-8096-9A6471B1BF57}"/>
                </a:ext>
              </a:extLst>
            </p:cNvPr>
            <p:cNvSpPr/>
            <p:nvPr/>
          </p:nvSpPr>
          <p:spPr>
            <a:xfrm>
              <a:off x="7474672" y="2577151"/>
              <a:ext cx="902208" cy="707136"/>
            </a:xfrm>
            <a:custGeom>
              <a:avLst/>
              <a:gdLst>
                <a:gd name="connsiteX0" fmla="*/ 404042 w 902208"/>
                <a:gd name="connsiteY0" fmla="*/ 362379 h 707135"/>
                <a:gd name="connsiteX1" fmla="*/ 637641 w 902208"/>
                <a:gd name="connsiteY1" fmla="*/ 78549 h 707135"/>
                <a:gd name="connsiteX2" fmla="*/ 916839 w 902208"/>
                <a:gd name="connsiteY2" fmla="*/ 59530 h 707135"/>
                <a:gd name="connsiteX3" fmla="*/ 916839 w 902208"/>
                <a:gd name="connsiteY3" fmla="*/ 729602 h 707135"/>
                <a:gd name="connsiteX4" fmla="*/ 0 w 902208"/>
                <a:gd name="connsiteY4" fmla="*/ 729602 h 707135"/>
                <a:gd name="connsiteX5" fmla="*/ 404042 w 902208"/>
                <a:gd name="connsiteY5" fmla="*/ 362379 h 70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2208" h="707135">
                  <a:moveTo>
                    <a:pt x="404042" y="362379"/>
                  </a:moveTo>
                  <a:cubicBezTo>
                    <a:pt x="567171" y="413341"/>
                    <a:pt x="568878" y="248262"/>
                    <a:pt x="637641" y="78549"/>
                  </a:cubicBezTo>
                  <a:cubicBezTo>
                    <a:pt x="695919" y="-65073"/>
                    <a:pt x="778825" y="25636"/>
                    <a:pt x="916839" y="59530"/>
                  </a:cubicBezTo>
                  <a:lnTo>
                    <a:pt x="916839" y="729602"/>
                  </a:lnTo>
                  <a:lnTo>
                    <a:pt x="0" y="729602"/>
                  </a:lnTo>
                  <a:cubicBezTo>
                    <a:pt x="243" y="729602"/>
                    <a:pt x="240914" y="311416"/>
                    <a:pt x="404042" y="362379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369EFD81-A786-4276-A7F5-6F81A59C13A8}"/>
                </a:ext>
              </a:extLst>
            </p:cNvPr>
            <p:cNvSpPr/>
            <p:nvPr/>
          </p:nvSpPr>
          <p:spPr>
            <a:xfrm>
              <a:off x="0" y="1601012"/>
              <a:ext cx="2584704" cy="1706880"/>
            </a:xfrm>
            <a:custGeom>
              <a:avLst/>
              <a:gdLst>
                <a:gd name="connsiteX0" fmla="*/ 2605430 w 2584704"/>
                <a:gd name="connsiteY0" fmla="*/ 1707204 h 1706879"/>
                <a:gd name="connsiteX1" fmla="*/ 0 w 2584704"/>
                <a:gd name="connsiteY1" fmla="*/ 1707204 h 1706879"/>
                <a:gd name="connsiteX2" fmla="*/ 0 w 2584704"/>
                <a:gd name="connsiteY2" fmla="*/ 543844 h 1706879"/>
                <a:gd name="connsiteX3" fmla="*/ 283830 w 2584704"/>
                <a:gd name="connsiteY3" fmla="*/ 324 h 1706879"/>
                <a:gd name="connsiteX4" fmla="*/ 1247729 w 2584704"/>
                <a:gd name="connsiteY4" fmla="*/ 896680 h 1706879"/>
                <a:gd name="connsiteX5" fmla="*/ 2605430 w 2584704"/>
                <a:gd name="connsiteY5" fmla="*/ 1271706 h 1706879"/>
                <a:gd name="connsiteX6" fmla="*/ 2605430 w 2584704"/>
                <a:gd name="connsiteY6" fmla="*/ 1707204 h 1706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84704" h="1706879">
                  <a:moveTo>
                    <a:pt x="2605430" y="1707204"/>
                  </a:moveTo>
                  <a:lnTo>
                    <a:pt x="0" y="1707204"/>
                  </a:lnTo>
                  <a:lnTo>
                    <a:pt x="0" y="543844"/>
                  </a:lnTo>
                  <a:cubicBezTo>
                    <a:pt x="53889" y="247090"/>
                    <a:pt x="141427" y="8127"/>
                    <a:pt x="283830" y="324"/>
                  </a:cubicBezTo>
                  <a:cubicBezTo>
                    <a:pt x="665927" y="-20402"/>
                    <a:pt x="682996" y="959590"/>
                    <a:pt x="1247729" y="896680"/>
                  </a:cubicBezTo>
                  <a:cubicBezTo>
                    <a:pt x="1691030" y="847424"/>
                    <a:pt x="2274296" y="859860"/>
                    <a:pt x="2605430" y="1271706"/>
                  </a:cubicBezTo>
                  <a:lnTo>
                    <a:pt x="2605430" y="1707204"/>
                  </a:ln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2183445-C60C-4DF9-98DF-E5C889C915B2}"/>
                </a:ext>
              </a:extLst>
            </p:cNvPr>
            <p:cNvSpPr/>
            <p:nvPr/>
          </p:nvSpPr>
          <p:spPr>
            <a:xfrm>
              <a:off x="985995" y="1772592"/>
              <a:ext cx="2023872" cy="1511808"/>
            </a:xfrm>
            <a:custGeom>
              <a:avLst/>
              <a:gdLst>
                <a:gd name="connsiteX0" fmla="*/ 24965 w 2023872"/>
                <a:gd name="connsiteY0" fmla="*/ 1534161 h 1511807"/>
                <a:gd name="connsiteX1" fmla="*/ 172245 w 2023872"/>
                <a:gd name="connsiteY1" fmla="*/ 1139 h 1511807"/>
                <a:gd name="connsiteX2" fmla="*/ 648464 w 2023872"/>
                <a:gd name="connsiteY2" fmla="*/ 623907 h 1511807"/>
                <a:gd name="connsiteX3" fmla="*/ 1146630 w 2023872"/>
                <a:gd name="connsiteY3" fmla="*/ 634636 h 1511807"/>
                <a:gd name="connsiteX4" fmla="*/ 1469474 w 2023872"/>
                <a:gd name="connsiteY4" fmla="*/ 1026730 h 1511807"/>
                <a:gd name="connsiteX5" fmla="*/ 2027380 w 2023872"/>
                <a:gd name="connsiteY5" fmla="*/ 1534161 h 1511807"/>
                <a:gd name="connsiteX6" fmla="*/ 24965 w 2023872"/>
                <a:gd name="connsiteY6" fmla="*/ 1534161 h 151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23872" h="1511807">
                  <a:moveTo>
                    <a:pt x="24965" y="1534161"/>
                  </a:moveTo>
                  <a:cubicBezTo>
                    <a:pt x="24965" y="1534161"/>
                    <a:pt x="-89639" y="33326"/>
                    <a:pt x="172245" y="1139"/>
                  </a:cubicBezTo>
                  <a:cubicBezTo>
                    <a:pt x="434129" y="-31048"/>
                    <a:pt x="387799" y="629515"/>
                    <a:pt x="648464" y="623907"/>
                  </a:cubicBezTo>
                  <a:cubicBezTo>
                    <a:pt x="908885" y="618298"/>
                    <a:pt x="1051288" y="400305"/>
                    <a:pt x="1146630" y="634636"/>
                  </a:cubicBezTo>
                  <a:cubicBezTo>
                    <a:pt x="1241727" y="869209"/>
                    <a:pt x="1244166" y="1097200"/>
                    <a:pt x="1469474" y="1026730"/>
                  </a:cubicBezTo>
                  <a:cubicBezTo>
                    <a:pt x="1694782" y="956260"/>
                    <a:pt x="2027380" y="1534161"/>
                    <a:pt x="2027380" y="1534161"/>
                  </a:cubicBezTo>
                  <a:lnTo>
                    <a:pt x="24965" y="1534161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59D2F756-A6F0-4469-AA1E-B615D3811F82}"/>
                </a:ext>
              </a:extLst>
            </p:cNvPr>
            <p:cNvSpPr/>
            <p:nvPr/>
          </p:nvSpPr>
          <p:spPr>
            <a:xfrm>
              <a:off x="1746870" y="2298856"/>
              <a:ext cx="1243584" cy="999744"/>
            </a:xfrm>
            <a:custGeom>
              <a:avLst/>
              <a:gdLst>
                <a:gd name="connsiteX0" fmla="*/ 708599 w 1243584"/>
                <a:gd name="connsiteY0" fmla="*/ 500467 h 999743"/>
                <a:gd name="connsiteX1" fmla="*/ 385755 w 1243584"/>
                <a:gd name="connsiteY1" fmla="*/ 108372 h 999743"/>
                <a:gd name="connsiteX2" fmla="*/ 0 w 1243584"/>
                <a:gd name="connsiteY2" fmla="*/ 82281 h 999743"/>
                <a:gd name="connsiteX3" fmla="*/ 0 w 1243584"/>
                <a:gd name="connsiteY3" fmla="*/ 1007898 h 999743"/>
                <a:gd name="connsiteX4" fmla="*/ 1266505 w 1243584"/>
                <a:gd name="connsiteY4" fmla="*/ 1007898 h 999743"/>
                <a:gd name="connsiteX5" fmla="*/ 708599 w 1243584"/>
                <a:gd name="connsiteY5" fmla="*/ 500467 h 99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3584" h="999743">
                  <a:moveTo>
                    <a:pt x="708599" y="500467"/>
                  </a:moveTo>
                  <a:cubicBezTo>
                    <a:pt x="483291" y="570936"/>
                    <a:pt x="481096" y="342702"/>
                    <a:pt x="385755" y="108372"/>
                  </a:cubicBezTo>
                  <a:cubicBezTo>
                    <a:pt x="305288" y="-89870"/>
                    <a:pt x="190927" y="35464"/>
                    <a:pt x="0" y="82281"/>
                  </a:cubicBezTo>
                  <a:lnTo>
                    <a:pt x="0" y="1007898"/>
                  </a:lnTo>
                  <a:lnTo>
                    <a:pt x="1266505" y="1007898"/>
                  </a:lnTo>
                  <a:cubicBezTo>
                    <a:pt x="1266261" y="1007898"/>
                    <a:pt x="933663" y="430241"/>
                    <a:pt x="708599" y="500467"/>
                  </a:cubicBezTo>
                  <a:close/>
                </a:path>
              </a:pathLst>
            </a:custGeom>
            <a:solidFill>
              <a:srgbClr val="000000">
                <a:alpha val="11000"/>
              </a:srgbClr>
            </a:solidFill>
            <a:ln w="5267" cap="flat">
              <a:solidFill>
                <a:srgbClr val="7DBD77">
                  <a:alpha val="11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159037B5-8FF4-4BB9-8AAA-08294FAA437C}"/>
                </a:ext>
              </a:extLst>
            </p:cNvPr>
            <p:cNvSpPr/>
            <p:nvPr/>
          </p:nvSpPr>
          <p:spPr>
            <a:xfrm>
              <a:off x="1850746" y="2729298"/>
              <a:ext cx="73152" cy="560832"/>
            </a:xfrm>
            <a:custGeom>
              <a:avLst/>
              <a:gdLst>
                <a:gd name="connsiteX0" fmla="*/ 86075 w 73152"/>
                <a:gd name="connsiteY0" fmla="*/ 43 h 560831"/>
                <a:gd name="connsiteX1" fmla="*/ 0 w 73152"/>
                <a:gd name="connsiteY1" fmla="*/ 577212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560831">
                  <a:moveTo>
                    <a:pt x="86075" y="43"/>
                  </a:moveTo>
                  <a:cubicBezTo>
                    <a:pt x="86075" y="43"/>
                    <a:pt x="17069" y="-16051"/>
                    <a:pt x="0" y="577212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ADC1FA1-A4C3-410F-904D-A85EFC561CC3}"/>
                </a:ext>
              </a:extLst>
            </p:cNvPr>
            <p:cNvSpPr/>
            <p:nvPr/>
          </p:nvSpPr>
          <p:spPr>
            <a:xfrm>
              <a:off x="1717609" y="2824438"/>
              <a:ext cx="146304" cy="243840"/>
            </a:xfrm>
            <a:custGeom>
              <a:avLst/>
              <a:gdLst>
                <a:gd name="connsiteX0" fmla="*/ 0 w 146304"/>
                <a:gd name="connsiteY0" fmla="*/ 0 h 243839"/>
                <a:gd name="connsiteX1" fmla="*/ 148742 w 146304"/>
                <a:gd name="connsiteY1" fmla="*/ 245059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243839">
                  <a:moveTo>
                    <a:pt x="0" y="0"/>
                  </a:moveTo>
                  <a:lnTo>
                    <a:pt x="148742" y="24505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772B733-680E-4C64-B107-39542445E726}"/>
                </a:ext>
              </a:extLst>
            </p:cNvPr>
            <p:cNvSpPr/>
            <p:nvPr/>
          </p:nvSpPr>
          <p:spPr>
            <a:xfrm>
              <a:off x="1861962" y="3023655"/>
              <a:ext cx="219456" cy="73152"/>
            </a:xfrm>
            <a:custGeom>
              <a:avLst/>
              <a:gdLst>
                <a:gd name="connsiteX0" fmla="*/ 241158 w 219456"/>
                <a:gd name="connsiteY0" fmla="*/ 0 h 73151"/>
                <a:gd name="connsiteX1" fmla="*/ 0 w 219456"/>
                <a:gd name="connsiteY1" fmla="*/ 93391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73151">
                  <a:moveTo>
                    <a:pt x="241158" y="0"/>
                  </a:moveTo>
                  <a:lnTo>
                    <a:pt x="0" y="9339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CD27F59-AF26-4087-80D4-F89D1E1624CA}"/>
                </a:ext>
              </a:extLst>
            </p:cNvPr>
            <p:cNvSpPr/>
            <p:nvPr/>
          </p:nvSpPr>
          <p:spPr>
            <a:xfrm>
              <a:off x="1230793" y="2170459"/>
              <a:ext cx="24384" cy="1121664"/>
            </a:xfrm>
            <a:custGeom>
              <a:avLst/>
              <a:gdLst>
                <a:gd name="connsiteX0" fmla="*/ 22300 w 24384"/>
                <a:gd name="connsiteY0" fmla="*/ 0 h 1121663"/>
                <a:gd name="connsiteX1" fmla="*/ 38638 w 24384"/>
                <a:gd name="connsiteY1" fmla="*/ 1137757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22300" y="0"/>
                  </a:moveTo>
                  <a:cubicBezTo>
                    <a:pt x="22300" y="0"/>
                    <a:pt x="-37440" y="448909"/>
                    <a:pt x="38638" y="1137757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2BE4FFE-481E-4738-8A10-A90AC16619CB}"/>
                </a:ext>
              </a:extLst>
            </p:cNvPr>
            <p:cNvSpPr/>
            <p:nvPr/>
          </p:nvSpPr>
          <p:spPr>
            <a:xfrm>
              <a:off x="1238463" y="2321640"/>
              <a:ext cx="121920" cy="121920"/>
            </a:xfrm>
            <a:custGeom>
              <a:avLst/>
              <a:gdLst>
                <a:gd name="connsiteX0" fmla="*/ 143622 w 121920"/>
                <a:gd name="connsiteY0" fmla="*/ 0 h 121919"/>
                <a:gd name="connsiteX1" fmla="*/ 0 w 121920"/>
                <a:gd name="connsiteY1" fmla="*/ 14093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143622" y="0"/>
                  </a:moveTo>
                  <a:lnTo>
                    <a:pt x="0" y="14093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80D90C2-9B41-4E4F-9D6D-F0062DACFFD5}"/>
                </a:ext>
              </a:extLst>
            </p:cNvPr>
            <p:cNvSpPr/>
            <p:nvPr/>
          </p:nvSpPr>
          <p:spPr>
            <a:xfrm>
              <a:off x="1150437" y="2588645"/>
              <a:ext cx="73152" cy="73152"/>
            </a:xfrm>
            <a:custGeom>
              <a:avLst/>
              <a:gdLst>
                <a:gd name="connsiteX0" fmla="*/ 0 w 73152"/>
                <a:gd name="connsiteY0" fmla="*/ 0 h 73151"/>
                <a:gd name="connsiteX1" fmla="*/ 88026 w 73152"/>
                <a:gd name="connsiteY1" fmla="*/ 85100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73151">
                  <a:moveTo>
                    <a:pt x="0" y="0"/>
                  </a:moveTo>
                  <a:lnTo>
                    <a:pt x="88026" y="8510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85227FB-28BE-4D36-897B-A92D9CE3FC58}"/>
                </a:ext>
              </a:extLst>
            </p:cNvPr>
            <p:cNvSpPr/>
            <p:nvPr/>
          </p:nvSpPr>
          <p:spPr>
            <a:xfrm>
              <a:off x="1243584" y="2641558"/>
              <a:ext cx="268224" cy="268224"/>
            </a:xfrm>
            <a:custGeom>
              <a:avLst/>
              <a:gdLst>
                <a:gd name="connsiteX0" fmla="*/ 271394 w 268224"/>
                <a:gd name="connsiteY0" fmla="*/ 0 h 268223"/>
                <a:gd name="connsiteX1" fmla="*/ 0 w 268224"/>
                <a:gd name="connsiteY1" fmla="*/ 29187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8224" h="268223">
                  <a:moveTo>
                    <a:pt x="271394" y="0"/>
                  </a:moveTo>
                  <a:lnTo>
                    <a:pt x="0" y="291876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6D47D3FF-CAE4-4384-8AE7-F152EA0FF4B5}"/>
                </a:ext>
              </a:extLst>
            </p:cNvPr>
            <p:cNvSpPr/>
            <p:nvPr/>
          </p:nvSpPr>
          <p:spPr>
            <a:xfrm>
              <a:off x="1067532" y="2950747"/>
              <a:ext cx="170688" cy="121920"/>
            </a:xfrm>
            <a:custGeom>
              <a:avLst/>
              <a:gdLst>
                <a:gd name="connsiteX0" fmla="*/ 0 w 170688"/>
                <a:gd name="connsiteY0" fmla="*/ 0 h 121919"/>
                <a:gd name="connsiteX1" fmla="*/ 182880 w 170688"/>
                <a:gd name="connsiteY1" fmla="*/ 127041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121919">
                  <a:moveTo>
                    <a:pt x="0" y="0"/>
                  </a:moveTo>
                  <a:lnTo>
                    <a:pt x="182880" y="127041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13C7B4F0-999B-4E3D-8866-84D1DC588E15}"/>
                </a:ext>
              </a:extLst>
            </p:cNvPr>
            <p:cNvSpPr/>
            <p:nvPr/>
          </p:nvSpPr>
          <p:spPr>
            <a:xfrm>
              <a:off x="10628584" y="296097"/>
              <a:ext cx="1194816" cy="2487167"/>
            </a:xfrm>
            <a:custGeom>
              <a:avLst/>
              <a:gdLst>
                <a:gd name="connsiteX0" fmla="*/ 887004 w 1194816"/>
                <a:gd name="connsiteY0" fmla="*/ 2431780 h 2487167"/>
                <a:gd name="connsiteX1" fmla="*/ 76723 w 1194816"/>
                <a:gd name="connsiteY1" fmla="*/ 2268408 h 2487167"/>
                <a:gd name="connsiteX2" fmla="*/ 4303 w 1194816"/>
                <a:gd name="connsiteY2" fmla="*/ 2149170 h 2487167"/>
                <a:gd name="connsiteX3" fmla="*/ 321782 w 1194816"/>
                <a:gd name="connsiteY3" fmla="*/ 1668805 h 2487167"/>
                <a:gd name="connsiteX4" fmla="*/ 211079 w 1194816"/>
                <a:gd name="connsiteY4" fmla="*/ 1434719 h 2487167"/>
                <a:gd name="connsiteX5" fmla="*/ 91598 w 1194816"/>
                <a:gd name="connsiteY5" fmla="*/ 856087 h 2487167"/>
                <a:gd name="connsiteX6" fmla="*/ 277160 w 1194816"/>
                <a:gd name="connsiteY6" fmla="*/ 285013 h 2487167"/>
                <a:gd name="connsiteX7" fmla="*/ 636336 w 1194816"/>
                <a:gd name="connsiteY7" fmla="*/ 4841 h 2487167"/>
                <a:gd name="connsiteX8" fmla="*/ 835797 w 1194816"/>
                <a:gd name="connsiteY8" fmla="*/ 231613 h 2487167"/>
                <a:gd name="connsiteX9" fmla="*/ 843356 w 1194816"/>
                <a:gd name="connsiteY9" fmla="*/ 663209 h 2487167"/>
                <a:gd name="connsiteX10" fmla="*/ 831652 w 1194816"/>
                <a:gd name="connsiteY10" fmla="*/ 854136 h 2487167"/>
                <a:gd name="connsiteX11" fmla="*/ 1178880 w 1194816"/>
                <a:gd name="connsiteY11" fmla="*/ 1192586 h 2487167"/>
                <a:gd name="connsiteX12" fmla="*/ 1072078 w 1194816"/>
                <a:gd name="connsiteY12" fmla="*/ 1657588 h 2487167"/>
                <a:gd name="connsiteX13" fmla="*/ 997463 w 1194816"/>
                <a:gd name="connsiteY13" fmla="*/ 1956049 h 2487167"/>
                <a:gd name="connsiteX14" fmla="*/ 1054034 w 1194816"/>
                <a:gd name="connsiteY14" fmla="*/ 2026762 h 2487167"/>
                <a:gd name="connsiteX15" fmla="*/ 887004 w 1194816"/>
                <a:gd name="connsiteY15" fmla="*/ 2431780 h 248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4816" h="2487167">
                  <a:moveTo>
                    <a:pt x="887004" y="2431780"/>
                  </a:moveTo>
                  <a:cubicBezTo>
                    <a:pt x="656575" y="2606614"/>
                    <a:pt x="283500" y="2447386"/>
                    <a:pt x="76723" y="2268408"/>
                  </a:cubicBezTo>
                  <a:cubicBezTo>
                    <a:pt x="40634" y="2237196"/>
                    <a:pt x="14056" y="2195987"/>
                    <a:pt x="4303" y="2149170"/>
                  </a:cubicBezTo>
                  <a:cubicBezTo>
                    <a:pt x="-42758" y="1924837"/>
                    <a:pt x="311541" y="1869729"/>
                    <a:pt x="321782" y="1668805"/>
                  </a:cubicBezTo>
                  <a:cubicBezTo>
                    <a:pt x="326415" y="1580779"/>
                    <a:pt x="260090" y="1507871"/>
                    <a:pt x="211079" y="1434719"/>
                  </a:cubicBezTo>
                  <a:cubicBezTo>
                    <a:pt x="99644" y="1267445"/>
                    <a:pt x="67945" y="1055792"/>
                    <a:pt x="91598" y="856087"/>
                  </a:cubicBezTo>
                  <a:cubicBezTo>
                    <a:pt x="115249" y="656382"/>
                    <a:pt x="190109" y="466187"/>
                    <a:pt x="277160" y="285013"/>
                  </a:cubicBezTo>
                  <a:cubicBezTo>
                    <a:pt x="348361" y="136759"/>
                    <a:pt x="475646" y="-30759"/>
                    <a:pt x="636336" y="4841"/>
                  </a:cubicBezTo>
                  <a:cubicBezTo>
                    <a:pt x="739480" y="27762"/>
                    <a:pt x="805561" y="130419"/>
                    <a:pt x="835797" y="231613"/>
                  </a:cubicBezTo>
                  <a:cubicBezTo>
                    <a:pt x="877006" y="370845"/>
                    <a:pt x="871153" y="520563"/>
                    <a:pt x="843356" y="663209"/>
                  </a:cubicBezTo>
                  <a:cubicBezTo>
                    <a:pt x="831164" y="726364"/>
                    <a:pt x="814583" y="791957"/>
                    <a:pt x="831652" y="854136"/>
                  </a:cubicBezTo>
                  <a:cubicBezTo>
                    <a:pt x="875299" y="1013120"/>
                    <a:pt x="1098169" y="1048964"/>
                    <a:pt x="1178880" y="1192586"/>
                  </a:cubicBezTo>
                  <a:cubicBezTo>
                    <a:pt x="1261298" y="1338646"/>
                    <a:pt x="1163030" y="1516649"/>
                    <a:pt x="1072078" y="1657588"/>
                  </a:cubicBezTo>
                  <a:cubicBezTo>
                    <a:pt x="994293" y="1778289"/>
                    <a:pt x="946501" y="1853148"/>
                    <a:pt x="997463" y="1956049"/>
                  </a:cubicBezTo>
                  <a:cubicBezTo>
                    <a:pt x="1010874" y="1983359"/>
                    <a:pt x="1030869" y="2006767"/>
                    <a:pt x="1054034" y="2026762"/>
                  </a:cubicBezTo>
                  <a:cubicBezTo>
                    <a:pt x="1103046" y="2069190"/>
                    <a:pt x="1194974" y="2198182"/>
                    <a:pt x="887004" y="2431780"/>
                  </a:cubicBezTo>
                  <a:close/>
                </a:path>
              </a:pathLst>
            </a:custGeom>
            <a:solidFill>
              <a:srgbClr val="EF855A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EE28AF1A-1C50-4288-A033-6AB59AC2A39A}"/>
                </a:ext>
              </a:extLst>
            </p:cNvPr>
            <p:cNvSpPr/>
            <p:nvPr/>
          </p:nvSpPr>
          <p:spPr>
            <a:xfrm>
              <a:off x="11162020" y="713272"/>
              <a:ext cx="195072" cy="2779775"/>
            </a:xfrm>
            <a:custGeom>
              <a:avLst/>
              <a:gdLst>
                <a:gd name="connsiteX0" fmla="*/ 50718 w 195072"/>
                <a:gd name="connsiteY0" fmla="*/ 0 h 2779775"/>
                <a:gd name="connsiteX1" fmla="*/ 0 w 195072"/>
                <a:gd name="connsiteY1" fmla="*/ 2782702 h 2779775"/>
                <a:gd name="connsiteX2" fmla="*/ 197998 w 195072"/>
                <a:gd name="connsiteY2" fmla="*/ 2800014 h 2779775"/>
                <a:gd name="connsiteX3" fmla="*/ 50718 w 195072"/>
                <a:gd name="connsiteY3" fmla="*/ 0 h 2779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072" h="2779775">
                  <a:moveTo>
                    <a:pt x="50718" y="0"/>
                  </a:moveTo>
                  <a:cubicBezTo>
                    <a:pt x="50474" y="49987"/>
                    <a:pt x="0" y="2782702"/>
                    <a:pt x="0" y="2782702"/>
                  </a:cubicBezTo>
                  <a:lnTo>
                    <a:pt x="197998" y="2800014"/>
                  </a:lnTo>
                  <a:lnTo>
                    <a:pt x="50718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1349FB6-A258-47BF-AFA0-EE46D3C2CA88}"/>
                </a:ext>
              </a:extLst>
            </p:cNvPr>
            <p:cNvSpPr/>
            <p:nvPr/>
          </p:nvSpPr>
          <p:spPr>
            <a:xfrm>
              <a:off x="10815767" y="2220446"/>
              <a:ext cx="438912" cy="414528"/>
            </a:xfrm>
            <a:custGeom>
              <a:avLst/>
              <a:gdLst>
                <a:gd name="connsiteX0" fmla="*/ 405506 w 438912"/>
                <a:gd name="connsiteY0" fmla="*/ 429890 h 414527"/>
                <a:gd name="connsiteX1" fmla="*/ 0 w 438912"/>
                <a:gd name="connsiteY1" fmla="*/ 0 h 414527"/>
                <a:gd name="connsiteX2" fmla="*/ 440619 w 438912"/>
                <a:gd name="connsiteY2" fmla="*/ 393802 h 414527"/>
                <a:gd name="connsiteX3" fmla="*/ 442569 w 438912"/>
                <a:gd name="connsiteY3" fmla="*/ 429402 h 414527"/>
                <a:gd name="connsiteX4" fmla="*/ 406969 w 438912"/>
                <a:gd name="connsiteY4" fmla="*/ 431353 h 414527"/>
                <a:gd name="connsiteX5" fmla="*/ 405506 w 438912"/>
                <a:gd name="connsiteY5" fmla="*/ 429890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912" h="414527">
                  <a:moveTo>
                    <a:pt x="405506" y="429890"/>
                  </a:moveTo>
                  <a:lnTo>
                    <a:pt x="0" y="0"/>
                  </a:lnTo>
                  <a:lnTo>
                    <a:pt x="440619" y="393802"/>
                  </a:lnTo>
                  <a:cubicBezTo>
                    <a:pt x="451104" y="403067"/>
                    <a:pt x="451836" y="419161"/>
                    <a:pt x="442569" y="429402"/>
                  </a:cubicBezTo>
                  <a:cubicBezTo>
                    <a:pt x="433303" y="439887"/>
                    <a:pt x="417211" y="440619"/>
                    <a:pt x="406969" y="431353"/>
                  </a:cubicBezTo>
                  <a:cubicBezTo>
                    <a:pt x="406482" y="430865"/>
                    <a:pt x="405993" y="430378"/>
                    <a:pt x="405506" y="429890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5348A22-B8EC-41B7-8F0E-07A985959318}"/>
                </a:ext>
              </a:extLst>
            </p:cNvPr>
            <p:cNvSpPr/>
            <p:nvPr/>
          </p:nvSpPr>
          <p:spPr>
            <a:xfrm>
              <a:off x="11018398" y="1089517"/>
              <a:ext cx="195072" cy="316992"/>
            </a:xfrm>
            <a:custGeom>
              <a:avLst/>
              <a:gdLst>
                <a:gd name="connsiteX0" fmla="*/ 164105 w 195072"/>
                <a:gd name="connsiteY0" fmla="*/ 321625 h 316991"/>
                <a:gd name="connsiteX1" fmla="*/ 0 w 195072"/>
                <a:gd name="connsiteY1" fmla="*/ 0 h 316991"/>
                <a:gd name="connsiteX2" fmla="*/ 196535 w 195072"/>
                <a:gd name="connsiteY2" fmla="*/ 303093 h 316991"/>
                <a:gd name="connsiteX3" fmla="*/ 190927 w 195072"/>
                <a:gd name="connsiteY3" fmla="*/ 328940 h 316991"/>
                <a:gd name="connsiteX4" fmla="*/ 165080 w 195072"/>
                <a:gd name="connsiteY4" fmla="*/ 323332 h 316991"/>
                <a:gd name="connsiteX5" fmla="*/ 164105 w 195072"/>
                <a:gd name="connsiteY5" fmla="*/ 321625 h 31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5072" h="316991">
                  <a:moveTo>
                    <a:pt x="164105" y="321625"/>
                  </a:moveTo>
                  <a:lnTo>
                    <a:pt x="0" y="0"/>
                  </a:lnTo>
                  <a:lnTo>
                    <a:pt x="196535" y="303093"/>
                  </a:lnTo>
                  <a:cubicBezTo>
                    <a:pt x="202144" y="311871"/>
                    <a:pt x="199705" y="323332"/>
                    <a:pt x="190927" y="328940"/>
                  </a:cubicBezTo>
                  <a:cubicBezTo>
                    <a:pt x="182393" y="334548"/>
                    <a:pt x="170688" y="332110"/>
                    <a:pt x="165080" y="323332"/>
                  </a:cubicBezTo>
                  <a:cubicBezTo>
                    <a:pt x="164836" y="322844"/>
                    <a:pt x="164348" y="322356"/>
                    <a:pt x="164105" y="321625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7E41DF1-0235-457C-BB43-CC327DAE59DD}"/>
                </a:ext>
              </a:extLst>
            </p:cNvPr>
            <p:cNvSpPr/>
            <p:nvPr/>
          </p:nvSpPr>
          <p:spPr>
            <a:xfrm>
              <a:off x="11252485" y="1493803"/>
              <a:ext cx="390144" cy="585216"/>
            </a:xfrm>
            <a:custGeom>
              <a:avLst/>
              <a:gdLst>
                <a:gd name="connsiteX0" fmla="*/ 0 w 390144"/>
                <a:gd name="connsiteY0" fmla="*/ 591800 h 585215"/>
                <a:gd name="connsiteX1" fmla="*/ 392338 w 390144"/>
                <a:gd name="connsiteY1" fmla="*/ 0 h 585215"/>
                <a:gd name="connsiteX2" fmla="*/ 0 w 390144"/>
                <a:gd name="connsiteY2" fmla="*/ 591800 h 585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0144" h="585215">
                  <a:moveTo>
                    <a:pt x="0" y="591800"/>
                  </a:moveTo>
                  <a:lnTo>
                    <a:pt x="392338" y="0"/>
                  </a:lnTo>
                  <a:lnTo>
                    <a:pt x="0" y="59180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C85BA1A-AC36-4465-9B73-509A4B6CA4DB}"/>
                </a:ext>
              </a:extLst>
            </p:cNvPr>
            <p:cNvSpPr/>
            <p:nvPr/>
          </p:nvSpPr>
          <p:spPr>
            <a:xfrm>
              <a:off x="11227662" y="1493803"/>
              <a:ext cx="414528" cy="609600"/>
            </a:xfrm>
            <a:custGeom>
              <a:avLst/>
              <a:gdLst>
                <a:gd name="connsiteX0" fmla="*/ 4584 w 414528"/>
                <a:gd name="connsiteY0" fmla="*/ 578388 h 609599"/>
                <a:gd name="connsiteX1" fmla="*/ 417161 w 414528"/>
                <a:gd name="connsiteY1" fmla="*/ 0 h 609599"/>
                <a:gd name="connsiteX2" fmla="*/ 45061 w 414528"/>
                <a:gd name="connsiteY2" fmla="*/ 605211 h 609599"/>
                <a:gd name="connsiteX3" fmla="*/ 11655 w 414528"/>
                <a:gd name="connsiteY3" fmla="*/ 613257 h 609599"/>
                <a:gd name="connsiteX4" fmla="*/ 3608 w 414528"/>
                <a:gd name="connsiteY4" fmla="*/ 579852 h 609599"/>
                <a:gd name="connsiteX5" fmla="*/ 4584 w 414528"/>
                <a:gd name="connsiteY5" fmla="*/ 578388 h 609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4528" h="609599">
                  <a:moveTo>
                    <a:pt x="4584" y="578388"/>
                  </a:moveTo>
                  <a:lnTo>
                    <a:pt x="417161" y="0"/>
                  </a:lnTo>
                  <a:lnTo>
                    <a:pt x="45061" y="605211"/>
                  </a:lnTo>
                  <a:cubicBezTo>
                    <a:pt x="37990" y="616671"/>
                    <a:pt x="23115" y="620329"/>
                    <a:pt x="11655" y="613257"/>
                  </a:cubicBezTo>
                  <a:cubicBezTo>
                    <a:pt x="194" y="606186"/>
                    <a:pt x="-3463" y="591312"/>
                    <a:pt x="3608" y="579852"/>
                  </a:cubicBezTo>
                  <a:cubicBezTo>
                    <a:pt x="3852" y="579364"/>
                    <a:pt x="4340" y="578876"/>
                    <a:pt x="4584" y="578388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CE3BB0B-BC4B-469F-A024-9C6D0DAF7BCC}"/>
                </a:ext>
              </a:extLst>
            </p:cNvPr>
            <p:cNvSpPr/>
            <p:nvPr/>
          </p:nvSpPr>
          <p:spPr>
            <a:xfrm>
              <a:off x="10242123" y="998990"/>
              <a:ext cx="926592" cy="1901951"/>
            </a:xfrm>
            <a:custGeom>
              <a:avLst/>
              <a:gdLst>
                <a:gd name="connsiteX0" fmla="*/ 679715 w 926592"/>
                <a:gd name="connsiteY0" fmla="*/ 1863487 h 1901951"/>
                <a:gd name="connsiteX1" fmla="*/ 58898 w 926592"/>
                <a:gd name="connsiteY1" fmla="*/ 1738397 h 1901951"/>
                <a:gd name="connsiteX2" fmla="*/ 3303 w 926592"/>
                <a:gd name="connsiteY2" fmla="*/ 1646957 h 1901951"/>
                <a:gd name="connsiteX3" fmla="*/ 246655 w 926592"/>
                <a:gd name="connsiteY3" fmla="*/ 1278759 h 1901951"/>
                <a:gd name="connsiteX4" fmla="*/ 162042 w 926592"/>
                <a:gd name="connsiteY4" fmla="*/ 1099293 h 1901951"/>
                <a:gd name="connsiteX5" fmla="*/ 70359 w 926592"/>
                <a:gd name="connsiteY5" fmla="*/ 655992 h 1901951"/>
                <a:gd name="connsiteX6" fmla="*/ 212517 w 926592"/>
                <a:gd name="connsiteY6" fmla="*/ 218299 h 1901951"/>
                <a:gd name="connsiteX7" fmla="*/ 487813 w 926592"/>
                <a:gd name="connsiteY7" fmla="*/ 3720 h 1901951"/>
                <a:gd name="connsiteX8" fmla="*/ 640700 w 926592"/>
                <a:gd name="connsiteY8" fmla="*/ 177578 h 1901951"/>
                <a:gd name="connsiteX9" fmla="*/ 646552 w 926592"/>
                <a:gd name="connsiteY9" fmla="*/ 508225 h 1901951"/>
                <a:gd name="connsiteX10" fmla="*/ 637530 w 926592"/>
                <a:gd name="connsiteY10" fmla="*/ 654529 h 1901951"/>
                <a:gd name="connsiteX11" fmla="*/ 903804 w 926592"/>
                <a:gd name="connsiteY11" fmla="*/ 913974 h 1901951"/>
                <a:gd name="connsiteX12" fmla="*/ 821873 w 926592"/>
                <a:gd name="connsiteY12" fmla="*/ 1270469 h 1901951"/>
                <a:gd name="connsiteX13" fmla="*/ 764815 w 926592"/>
                <a:gd name="connsiteY13" fmla="*/ 1499190 h 1901951"/>
                <a:gd name="connsiteX14" fmla="*/ 807975 w 926592"/>
                <a:gd name="connsiteY14" fmla="*/ 1553323 h 1901951"/>
                <a:gd name="connsiteX15" fmla="*/ 679715 w 926592"/>
                <a:gd name="connsiteY15" fmla="*/ 1863487 h 1901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26592" h="1901951">
                  <a:moveTo>
                    <a:pt x="679715" y="1863487"/>
                  </a:moveTo>
                  <a:cubicBezTo>
                    <a:pt x="503175" y="1997355"/>
                    <a:pt x="217150" y="1875435"/>
                    <a:pt x="58898" y="1738397"/>
                  </a:cubicBezTo>
                  <a:cubicBezTo>
                    <a:pt x="31344" y="1714501"/>
                    <a:pt x="10862" y="1682802"/>
                    <a:pt x="3303" y="1646957"/>
                  </a:cubicBezTo>
                  <a:cubicBezTo>
                    <a:pt x="-32786" y="1475050"/>
                    <a:pt x="238608" y="1432866"/>
                    <a:pt x="246655" y="1278759"/>
                  </a:cubicBezTo>
                  <a:cubicBezTo>
                    <a:pt x="250069" y="1211459"/>
                    <a:pt x="199350" y="1155376"/>
                    <a:pt x="162042" y="1099293"/>
                  </a:cubicBezTo>
                  <a:cubicBezTo>
                    <a:pt x="76698" y="971033"/>
                    <a:pt x="52314" y="808879"/>
                    <a:pt x="70359" y="655992"/>
                  </a:cubicBezTo>
                  <a:cubicBezTo>
                    <a:pt x="88403" y="502860"/>
                    <a:pt x="145705" y="357288"/>
                    <a:pt x="212517" y="218299"/>
                  </a:cubicBezTo>
                  <a:cubicBezTo>
                    <a:pt x="267137" y="104670"/>
                    <a:pt x="364673" y="-23590"/>
                    <a:pt x="487813" y="3720"/>
                  </a:cubicBezTo>
                  <a:cubicBezTo>
                    <a:pt x="566817" y="21276"/>
                    <a:pt x="617535" y="99793"/>
                    <a:pt x="640700" y="177578"/>
                  </a:cubicBezTo>
                  <a:cubicBezTo>
                    <a:pt x="672399" y="284380"/>
                    <a:pt x="667767" y="398985"/>
                    <a:pt x="646552" y="508225"/>
                  </a:cubicBezTo>
                  <a:cubicBezTo>
                    <a:pt x="637043" y="556505"/>
                    <a:pt x="624607" y="606980"/>
                    <a:pt x="637530" y="654529"/>
                  </a:cubicBezTo>
                  <a:cubicBezTo>
                    <a:pt x="670936" y="776205"/>
                    <a:pt x="841868" y="803759"/>
                    <a:pt x="903804" y="913974"/>
                  </a:cubicBezTo>
                  <a:cubicBezTo>
                    <a:pt x="966958" y="1025897"/>
                    <a:pt x="891612" y="1162204"/>
                    <a:pt x="821873" y="1270469"/>
                  </a:cubicBezTo>
                  <a:cubicBezTo>
                    <a:pt x="762133" y="1362884"/>
                    <a:pt x="725557" y="1420186"/>
                    <a:pt x="764815" y="1499190"/>
                  </a:cubicBezTo>
                  <a:cubicBezTo>
                    <a:pt x="775056" y="1520161"/>
                    <a:pt x="790418" y="1537961"/>
                    <a:pt x="807975" y="1553323"/>
                  </a:cubicBezTo>
                  <a:cubicBezTo>
                    <a:pt x="845526" y="1585510"/>
                    <a:pt x="915752" y="1684265"/>
                    <a:pt x="679715" y="186348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E1C8F0D-A063-47B6-892F-66B05134E56E}"/>
                </a:ext>
              </a:extLst>
            </p:cNvPr>
            <p:cNvSpPr/>
            <p:nvPr/>
          </p:nvSpPr>
          <p:spPr>
            <a:xfrm>
              <a:off x="10613136" y="1279712"/>
              <a:ext cx="146304" cy="1999487"/>
            </a:xfrm>
            <a:custGeom>
              <a:avLst/>
              <a:gdLst>
                <a:gd name="connsiteX0" fmla="*/ 56814 w 146304"/>
                <a:gd name="connsiteY0" fmla="*/ 0 h 1999487"/>
                <a:gd name="connsiteX1" fmla="*/ 0 w 146304"/>
                <a:gd name="connsiteY1" fmla="*/ 1999000 h 1999487"/>
                <a:gd name="connsiteX2" fmla="*/ 162885 w 146304"/>
                <a:gd name="connsiteY2" fmla="*/ 2013386 h 1999487"/>
                <a:gd name="connsiteX3" fmla="*/ 56814 w 146304"/>
                <a:gd name="connsiteY3" fmla="*/ 0 h 199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1999487">
                  <a:moveTo>
                    <a:pt x="56814" y="0"/>
                  </a:moveTo>
                  <a:cubicBezTo>
                    <a:pt x="56571" y="40965"/>
                    <a:pt x="0" y="1999000"/>
                    <a:pt x="0" y="1999000"/>
                  </a:cubicBezTo>
                  <a:lnTo>
                    <a:pt x="162885" y="2013386"/>
                  </a:lnTo>
                  <a:lnTo>
                    <a:pt x="56814" y="0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FEE0942-ED9A-4A38-B68F-4C4464C6F9E2}"/>
                </a:ext>
              </a:extLst>
            </p:cNvPr>
            <p:cNvSpPr/>
            <p:nvPr/>
          </p:nvSpPr>
          <p:spPr>
            <a:xfrm>
              <a:off x="10678877" y="2107548"/>
              <a:ext cx="365760" cy="341376"/>
            </a:xfrm>
            <a:custGeom>
              <a:avLst/>
              <a:gdLst>
                <a:gd name="connsiteX0" fmla="*/ 35940 w 365760"/>
                <a:gd name="connsiteY0" fmla="*/ 353812 h 341375"/>
                <a:gd name="connsiteX1" fmla="*/ 369513 w 365760"/>
                <a:gd name="connsiteY1" fmla="*/ 0 h 341375"/>
                <a:gd name="connsiteX2" fmla="*/ 6923 w 365760"/>
                <a:gd name="connsiteY2" fmla="*/ 324063 h 341375"/>
                <a:gd name="connsiteX3" fmla="*/ 5216 w 365760"/>
                <a:gd name="connsiteY3" fmla="*/ 353324 h 341375"/>
                <a:gd name="connsiteX4" fmla="*/ 34477 w 365760"/>
                <a:gd name="connsiteY4" fmla="*/ 355031 h 341375"/>
                <a:gd name="connsiteX5" fmla="*/ 35940 w 365760"/>
                <a:gd name="connsiteY5" fmla="*/ 353812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760" h="341375">
                  <a:moveTo>
                    <a:pt x="35940" y="353812"/>
                  </a:moveTo>
                  <a:lnTo>
                    <a:pt x="369513" y="0"/>
                  </a:lnTo>
                  <a:lnTo>
                    <a:pt x="6923" y="324063"/>
                  </a:lnTo>
                  <a:cubicBezTo>
                    <a:pt x="-1611" y="331622"/>
                    <a:pt x="-2343" y="344790"/>
                    <a:pt x="5216" y="353324"/>
                  </a:cubicBezTo>
                  <a:cubicBezTo>
                    <a:pt x="12775" y="361858"/>
                    <a:pt x="25943" y="362590"/>
                    <a:pt x="34477" y="355031"/>
                  </a:cubicBezTo>
                  <a:cubicBezTo>
                    <a:pt x="34965" y="354787"/>
                    <a:pt x="35452" y="354299"/>
                    <a:pt x="35940" y="353812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B0E740D-B463-4A25-B405-6A85B863E0EA}"/>
                </a:ext>
              </a:extLst>
            </p:cNvPr>
            <p:cNvSpPr/>
            <p:nvPr/>
          </p:nvSpPr>
          <p:spPr>
            <a:xfrm>
              <a:off x="10509991" y="1589389"/>
              <a:ext cx="146304" cy="268224"/>
            </a:xfrm>
            <a:custGeom>
              <a:avLst/>
              <a:gdLst>
                <a:gd name="connsiteX0" fmla="*/ 135088 w 146304"/>
                <a:gd name="connsiteY0" fmla="*/ 264566 h 268223"/>
                <a:gd name="connsiteX1" fmla="*/ 0 w 146304"/>
                <a:gd name="connsiteY1" fmla="*/ 0 h 268223"/>
                <a:gd name="connsiteX2" fmla="*/ 161666 w 146304"/>
                <a:gd name="connsiteY2" fmla="*/ 249204 h 268223"/>
                <a:gd name="connsiteX3" fmla="*/ 157033 w 146304"/>
                <a:gd name="connsiteY3" fmla="*/ 270418 h 268223"/>
                <a:gd name="connsiteX4" fmla="*/ 135819 w 146304"/>
                <a:gd name="connsiteY4" fmla="*/ 265785 h 268223"/>
                <a:gd name="connsiteX5" fmla="*/ 135088 w 146304"/>
                <a:gd name="connsiteY5" fmla="*/ 264566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6304" h="268223">
                  <a:moveTo>
                    <a:pt x="135088" y="264566"/>
                  </a:moveTo>
                  <a:lnTo>
                    <a:pt x="0" y="0"/>
                  </a:lnTo>
                  <a:lnTo>
                    <a:pt x="161666" y="249204"/>
                  </a:lnTo>
                  <a:cubicBezTo>
                    <a:pt x="166299" y="256276"/>
                    <a:pt x="164349" y="265785"/>
                    <a:pt x="157033" y="270418"/>
                  </a:cubicBezTo>
                  <a:cubicBezTo>
                    <a:pt x="149962" y="275051"/>
                    <a:pt x="140452" y="273101"/>
                    <a:pt x="135819" y="265785"/>
                  </a:cubicBezTo>
                  <a:cubicBezTo>
                    <a:pt x="135575" y="265542"/>
                    <a:pt x="135332" y="265054"/>
                    <a:pt x="135088" y="264566"/>
                  </a:cubicBez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85D11EBE-9C74-421D-93F4-436FC96A4DA1}"/>
                </a:ext>
              </a:extLst>
            </p:cNvPr>
            <p:cNvSpPr/>
            <p:nvPr/>
          </p:nvSpPr>
          <p:spPr>
            <a:xfrm>
              <a:off x="10702869" y="1921742"/>
              <a:ext cx="316992" cy="463296"/>
            </a:xfrm>
            <a:custGeom>
              <a:avLst/>
              <a:gdLst>
                <a:gd name="connsiteX0" fmla="*/ 0 w 316992"/>
                <a:gd name="connsiteY0" fmla="*/ 486948 h 463295"/>
                <a:gd name="connsiteX1" fmla="*/ 322601 w 316992"/>
                <a:gd name="connsiteY1" fmla="*/ 0 h 463295"/>
                <a:gd name="connsiteX2" fmla="*/ 0 w 316992"/>
                <a:gd name="connsiteY2" fmla="*/ 486948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63295">
                  <a:moveTo>
                    <a:pt x="0" y="486948"/>
                  </a:moveTo>
                  <a:lnTo>
                    <a:pt x="322601" y="0"/>
                  </a:lnTo>
                  <a:lnTo>
                    <a:pt x="0" y="486948"/>
                  </a:lnTo>
                  <a:close/>
                </a:path>
              </a:pathLst>
            </a:custGeom>
            <a:solidFill>
              <a:srgbClr val="9C4F5F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C6FB0D0-F1D2-4E44-9CE4-D9B2E834751F}"/>
                </a:ext>
              </a:extLst>
            </p:cNvPr>
            <p:cNvSpPr/>
            <p:nvPr/>
          </p:nvSpPr>
          <p:spPr>
            <a:xfrm>
              <a:off x="4779796" y="1990749"/>
              <a:ext cx="1267968" cy="1316736"/>
            </a:xfrm>
            <a:custGeom>
              <a:avLst/>
              <a:gdLst>
                <a:gd name="connsiteX0" fmla="*/ 1273776 w 1267968"/>
                <a:gd name="connsiteY0" fmla="*/ 1317467 h 1316735"/>
                <a:gd name="connsiteX1" fmla="*/ 1063098 w 1267968"/>
                <a:gd name="connsiteY1" fmla="*/ 748101 h 1316735"/>
                <a:gd name="connsiteX2" fmla="*/ 775611 w 1267968"/>
                <a:gd name="connsiteY2" fmla="*/ 437936 h 1316735"/>
                <a:gd name="connsiteX3" fmla="*/ 542256 w 1267968"/>
                <a:gd name="connsiteY3" fmla="*/ 2682 h 1316735"/>
                <a:gd name="connsiteX4" fmla="*/ 308901 w 1267968"/>
                <a:gd name="connsiteY4" fmla="*/ 476219 h 1316735"/>
                <a:gd name="connsiteX5" fmla="*/ 55307 w 1267968"/>
                <a:gd name="connsiteY5" fmla="*/ 778825 h 1316735"/>
                <a:gd name="connsiteX6" fmla="*/ 63598 w 1267968"/>
                <a:gd name="connsiteY6" fmla="*/ 1317467 h 1316735"/>
                <a:gd name="connsiteX7" fmla="*/ 1273776 w 1267968"/>
                <a:gd name="connsiteY7" fmla="*/ 1317467 h 1316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7968" h="1316735">
                  <a:moveTo>
                    <a:pt x="1273776" y="1317467"/>
                  </a:moveTo>
                  <a:cubicBezTo>
                    <a:pt x="1323763" y="975847"/>
                    <a:pt x="1204525" y="773216"/>
                    <a:pt x="1063098" y="748101"/>
                  </a:cubicBezTo>
                  <a:cubicBezTo>
                    <a:pt x="917526" y="722254"/>
                    <a:pt x="819502" y="669097"/>
                    <a:pt x="775611" y="437936"/>
                  </a:cubicBezTo>
                  <a:cubicBezTo>
                    <a:pt x="731720" y="206776"/>
                    <a:pt x="704653" y="-27798"/>
                    <a:pt x="542256" y="2682"/>
                  </a:cubicBezTo>
                  <a:cubicBezTo>
                    <a:pt x="379859" y="33162"/>
                    <a:pt x="322313" y="239451"/>
                    <a:pt x="308901" y="476219"/>
                  </a:cubicBezTo>
                  <a:cubicBezTo>
                    <a:pt x="295490" y="712988"/>
                    <a:pt x="193809" y="685922"/>
                    <a:pt x="55307" y="778825"/>
                  </a:cubicBezTo>
                  <a:cubicBezTo>
                    <a:pt x="-52957" y="851489"/>
                    <a:pt x="24340" y="1178235"/>
                    <a:pt x="63598" y="1317467"/>
                  </a:cubicBezTo>
                  <a:lnTo>
                    <a:pt x="1273776" y="1317467"/>
                  </a:lnTo>
                  <a:close/>
                </a:path>
              </a:pathLst>
            </a:custGeom>
            <a:solidFill>
              <a:srgbClr val="229E9D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933D0622-8C59-4EAA-9B42-E15CA9247C75}"/>
                </a:ext>
              </a:extLst>
            </p:cNvPr>
            <p:cNvSpPr/>
            <p:nvPr/>
          </p:nvSpPr>
          <p:spPr>
            <a:xfrm>
              <a:off x="4859098" y="2734948"/>
              <a:ext cx="1048512" cy="560832"/>
            </a:xfrm>
            <a:custGeom>
              <a:avLst/>
              <a:gdLst>
                <a:gd name="connsiteX0" fmla="*/ 1036953 w 1048512"/>
                <a:gd name="connsiteY0" fmla="*/ 309189 h 560831"/>
                <a:gd name="connsiteX1" fmla="*/ 730934 w 1048512"/>
                <a:gd name="connsiteY1" fmla="*/ 343327 h 560831"/>
                <a:gd name="connsiteX2" fmla="*/ 502700 w 1048512"/>
                <a:gd name="connsiteY2" fmla="*/ 0 h 560831"/>
                <a:gd name="connsiteX3" fmla="*/ 247399 w 1048512"/>
                <a:gd name="connsiteY3" fmla="*/ 380634 h 560831"/>
                <a:gd name="connsiteX4" fmla="*/ 42817 w 1048512"/>
                <a:gd name="connsiteY4" fmla="*/ 271882 h 560831"/>
                <a:gd name="connsiteX5" fmla="*/ 35502 w 1048512"/>
                <a:gd name="connsiteY5" fmla="*/ 573268 h 560831"/>
                <a:gd name="connsiteX6" fmla="*/ 994281 w 1048512"/>
                <a:gd name="connsiteY6" fmla="*/ 573268 h 560831"/>
                <a:gd name="connsiteX7" fmla="*/ 1036953 w 1048512"/>
                <a:gd name="connsiteY7" fmla="*/ 309189 h 56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8512" h="560831">
                  <a:moveTo>
                    <a:pt x="1036953" y="309189"/>
                  </a:moveTo>
                  <a:cubicBezTo>
                    <a:pt x="970873" y="263103"/>
                    <a:pt x="837492" y="355275"/>
                    <a:pt x="730934" y="343327"/>
                  </a:cubicBezTo>
                  <a:cubicBezTo>
                    <a:pt x="624376" y="331378"/>
                    <a:pt x="651442" y="0"/>
                    <a:pt x="502700" y="0"/>
                  </a:cubicBezTo>
                  <a:cubicBezTo>
                    <a:pt x="353957" y="0"/>
                    <a:pt x="365662" y="378927"/>
                    <a:pt x="247399" y="380634"/>
                  </a:cubicBezTo>
                  <a:cubicBezTo>
                    <a:pt x="128893" y="382341"/>
                    <a:pt x="139134" y="216530"/>
                    <a:pt x="42817" y="271882"/>
                  </a:cubicBezTo>
                  <a:cubicBezTo>
                    <a:pt x="-36674" y="317480"/>
                    <a:pt x="15020" y="507919"/>
                    <a:pt x="35502" y="573268"/>
                  </a:cubicBezTo>
                  <a:lnTo>
                    <a:pt x="994281" y="573268"/>
                  </a:lnTo>
                  <a:cubicBezTo>
                    <a:pt x="1030370" y="486461"/>
                    <a:pt x="1082308" y="341132"/>
                    <a:pt x="1036953" y="309189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F2369F28-2489-4346-973C-A5F1BCE3C21A}"/>
                </a:ext>
              </a:extLst>
            </p:cNvPr>
            <p:cNvSpPr/>
            <p:nvPr/>
          </p:nvSpPr>
          <p:spPr>
            <a:xfrm>
              <a:off x="5334244" y="2164363"/>
              <a:ext cx="24384" cy="1121664"/>
            </a:xfrm>
            <a:custGeom>
              <a:avLst/>
              <a:gdLst>
                <a:gd name="connsiteX0" fmla="*/ 0 w 24384"/>
                <a:gd name="connsiteY0" fmla="*/ 0 h 1121663"/>
                <a:gd name="connsiteX1" fmla="*/ 7559 w 24384"/>
                <a:gd name="connsiteY1" fmla="*/ 1143853 h 1121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1121663">
                  <a:moveTo>
                    <a:pt x="0" y="0"/>
                  </a:moveTo>
                  <a:cubicBezTo>
                    <a:pt x="0" y="0"/>
                    <a:pt x="59009" y="677875"/>
                    <a:pt x="7559" y="1143853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7744662-21B8-46B9-B4E6-518E324BAA69}"/>
                </a:ext>
              </a:extLst>
            </p:cNvPr>
            <p:cNvSpPr/>
            <p:nvPr/>
          </p:nvSpPr>
          <p:spPr>
            <a:xfrm>
              <a:off x="5344485" y="2209473"/>
              <a:ext cx="48768" cy="73152"/>
            </a:xfrm>
            <a:custGeom>
              <a:avLst/>
              <a:gdLst>
                <a:gd name="connsiteX0" fmla="*/ 68031 w 48768"/>
                <a:gd name="connsiteY0" fmla="*/ 0 h 73151"/>
                <a:gd name="connsiteX1" fmla="*/ 0 w 48768"/>
                <a:gd name="connsiteY1" fmla="*/ 95585 h 7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73151">
                  <a:moveTo>
                    <a:pt x="68031" y="0"/>
                  </a:moveTo>
                  <a:lnTo>
                    <a:pt x="0" y="9558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C3046117-8AD1-486C-A30D-28BA8A8BCFEB}"/>
                </a:ext>
              </a:extLst>
            </p:cNvPr>
            <p:cNvSpPr/>
            <p:nvPr/>
          </p:nvSpPr>
          <p:spPr>
            <a:xfrm>
              <a:off x="5214275" y="2268239"/>
              <a:ext cx="121920" cy="121920"/>
            </a:xfrm>
            <a:custGeom>
              <a:avLst/>
              <a:gdLst>
                <a:gd name="connsiteX0" fmla="*/ 0 w 121920"/>
                <a:gd name="connsiteY0" fmla="*/ 0 h 121919"/>
                <a:gd name="connsiteX1" fmla="*/ 135819 w 121920"/>
                <a:gd name="connsiteY1" fmla="*/ 130698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21919">
                  <a:moveTo>
                    <a:pt x="0" y="0"/>
                  </a:moveTo>
                  <a:lnTo>
                    <a:pt x="135819" y="13069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D3AC6B2-B7D4-4E91-92CB-C4FA6CAFEC99}"/>
                </a:ext>
              </a:extLst>
            </p:cNvPr>
            <p:cNvSpPr/>
            <p:nvPr/>
          </p:nvSpPr>
          <p:spPr>
            <a:xfrm>
              <a:off x="5358872" y="2441365"/>
              <a:ext cx="121920" cy="146304"/>
            </a:xfrm>
            <a:custGeom>
              <a:avLst/>
              <a:gdLst>
                <a:gd name="connsiteX0" fmla="*/ 143378 w 121920"/>
                <a:gd name="connsiteY0" fmla="*/ 0 h 146303"/>
                <a:gd name="connsiteX1" fmla="*/ 0 w 121920"/>
                <a:gd name="connsiteY1" fmla="*/ 159715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146303">
                  <a:moveTo>
                    <a:pt x="143378" y="0"/>
                  </a:moveTo>
                  <a:lnTo>
                    <a:pt x="0" y="15971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EAF0C85C-4F8F-4ED4-BF05-AA3A6D3B8A3D}"/>
                </a:ext>
              </a:extLst>
            </p:cNvPr>
            <p:cNvSpPr/>
            <p:nvPr/>
          </p:nvSpPr>
          <p:spPr>
            <a:xfrm>
              <a:off x="5143561" y="2521345"/>
              <a:ext cx="219456" cy="195072"/>
            </a:xfrm>
            <a:custGeom>
              <a:avLst/>
              <a:gdLst>
                <a:gd name="connsiteX0" fmla="*/ 0 w 219456"/>
                <a:gd name="connsiteY0" fmla="*/ 0 h 195071"/>
                <a:gd name="connsiteX1" fmla="*/ 219456 w 219456"/>
                <a:gd name="connsiteY1" fmla="*/ 215067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456" h="195071">
                  <a:moveTo>
                    <a:pt x="0" y="0"/>
                  </a:moveTo>
                  <a:lnTo>
                    <a:pt x="219456" y="215067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5A2A1A54-FD91-4D2E-A63A-CE16FC5C3B4C}"/>
                </a:ext>
              </a:extLst>
            </p:cNvPr>
            <p:cNvSpPr/>
            <p:nvPr/>
          </p:nvSpPr>
          <p:spPr>
            <a:xfrm>
              <a:off x="5363017" y="2628878"/>
              <a:ext cx="243840" cy="243840"/>
            </a:xfrm>
            <a:custGeom>
              <a:avLst/>
              <a:gdLst>
                <a:gd name="connsiteX0" fmla="*/ 259202 w 243840"/>
                <a:gd name="connsiteY0" fmla="*/ 0 h 243839"/>
                <a:gd name="connsiteX1" fmla="*/ 0 w 243840"/>
                <a:gd name="connsiteY1" fmla="*/ 250180 h 243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0" h="243839">
                  <a:moveTo>
                    <a:pt x="259202" y="0"/>
                  </a:moveTo>
                  <a:lnTo>
                    <a:pt x="0" y="250180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99067224-F95C-40F5-B055-EE400F9FB4CA}"/>
                </a:ext>
              </a:extLst>
            </p:cNvPr>
            <p:cNvSpPr/>
            <p:nvPr/>
          </p:nvSpPr>
          <p:spPr>
            <a:xfrm>
              <a:off x="5206716" y="2904417"/>
              <a:ext cx="146304" cy="146304"/>
            </a:xfrm>
            <a:custGeom>
              <a:avLst/>
              <a:gdLst>
                <a:gd name="connsiteX0" fmla="*/ 0 w 146304"/>
                <a:gd name="connsiteY0" fmla="*/ 0 h 146303"/>
                <a:gd name="connsiteX1" fmla="*/ 152888 w 146304"/>
                <a:gd name="connsiteY1" fmla="*/ 150449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6304" h="146303">
                  <a:moveTo>
                    <a:pt x="0" y="0"/>
                  </a:moveTo>
                  <a:lnTo>
                    <a:pt x="152888" y="15044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EC8E2B8-56BE-4D02-9676-FCA4851E9C1E}"/>
                </a:ext>
              </a:extLst>
            </p:cNvPr>
            <p:cNvSpPr/>
            <p:nvPr/>
          </p:nvSpPr>
          <p:spPr>
            <a:xfrm>
              <a:off x="5354970" y="2944407"/>
              <a:ext cx="195072" cy="195072"/>
            </a:xfrm>
            <a:custGeom>
              <a:avLst/>
              <a:gdLst>
                <a:gd name="connsiteX0" fmla="*/ 196535 w 195072"/>
                <a:gd name="connsiteY0" fmla="*/ 0 h 195071"/>
                <a:gd name="connsiteX1" fmla="*/ 0 w 195072"/>
                <a:gd name="connsiteY1" fmla="*/ 207995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5072" h="195071">
                  <a:moveTo>
                    <a:pt x="196535" y="0"/>
                  </a:moveTo>
                  <a:lnTo>
                    <a:pt x="0" y="207995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61A13B3A-DBEB-41D4-BE4A-CA78BE76FF4E}"/>
                </a:ext>
              </a:extLst>
            </p:cNvPr>
            <p:cNvSpPr/>
            <p:nvPr/>
          </p:nvSpPr>
          <p:spPr>
            <a:xfrm>
              <a:off x="4965801" y="2878570"/>
              <a:ext cx="48768" cy="414528"/>
            </a:xfrm>
            <a:custGeom>
              <a:avLst/>
              <a:gdLst>
                <a:gd name="connsiteX0" fmla="*/ 0 w 48768"/>
                <a:gd name="connsiteY0" fmla="*/ 0 h 414527"/>
                <a:gd name="connsiteX1" fmla="*/ 68763 w 48768"/>
                <a:gd name="connsiteY1" fmla="*/ 429646 h 41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768" h="414527">
                  <a:moveTo>
                    <a:pt x="0" y="0"/>
                  </a:moveTo>
                  <a:cubicBezTo>
                    <a:pt x="0" y="0"/>
                    <a:pt x="59253" y="97292"/>
                    <a:pt x="68763" y="429646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7C4DF080-A1E1-41F2-B8D1-1C75028B6AFF}"/>
                </a:ext>
              </a:extLst>
            </p:cNvPr>
            <p:cNvSpPr/>
            <p:nvPr/>
          </p:nvSpPr>
          <p:spPr>
            <a:xfrm>
              <a:off x="5025786" y="3037554"/>
              <a:ext cx="73152" cy="121920"/>
            </a:xfrm>
            <a:custGeom>
              <a:avLst/>
              <a:gdLst>
                <a:gd name="connsiteX0" fmla="*/ 83637 w 73152"/>
                <a:gd name="connsiteY0" fmla="*/ 0 h 121919"/>
                <a:gd name="connsiteX1" fmla="*/ 0 w 73152"/>
                <a:gd name="connsiteY1" fmla="*/ 137769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83637" y="0"/>
                  </a:moveTo>
                  <a:lnTo>
                    <a:pt x="0" y="137769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005551B-923B-4B5E-AD19-CD11FE4D5475}"/>
                </a:ext>
              </a:extLst>
            </p:cNvPr>
            <p:cNvSpPr/>
            <p:nvPr/>
          </p:nvSpPr>
          <p:spPr>
            <a:xfrm>
              <a:off x="4848758" y="3132408"/>
              <a:ext cx="170688" cy="48768"/>
            </a:xfrm>
            <a:custGeom>
              <a:avLst/>
              <a:gdLst>
                <a:gd name="connsiteX0" fmla="*/ 0 w 170688"/>
                <a:gd name="connsiteY0" fmla="*/ 0 h 48767"/>
                <a:gd name="connsiteX1" fmla="*/ 179466 w 170688"/>
                <a:gd name="connsiteY1" fmla="*/ 69738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88" h="48767">
                  <a:moveTo>
                    <a:pt x="0" y="0"/>
                  </a:moveTo>
                  <a:lnTo>
                    <a:pt x="179466" y="69738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4443C0B-E7CA-42E6-A5D5-094E6EC37ACD}"/>
                </a:ext>
              </a:extLst>
            </p:cNvPr>
            <p:cNvSpPr/>
            <p:nvPr/>
          </p:nvSpPr>
          <p:spPr>
            <a:xfrm>
              <a:off x="5773156" y="2953429"/>
              <a:ext cx="24384" cy="341376"/>
            </a:xfrm>
            <a:custGeom>
              <a:avLst/>
              <a:gdLst>
                <a:gd name="connsiteX0" fmla="*/ 39990 w 24384"/>
                <a:gd name="connsiteY0" fmla="*/ 0 h 341375"/>
                <a:gd name="connsiteX1" fmla="*/ 0 w 24384"/>
                <a:gd name="connsiteY1" fmla="*/ 355031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84" h="341375">
                  <a:moveTo>
                    <a:pt x="39990" y="0"/>
                  </a:moveTo>
                  <a:cubicBezTo>
                    <a:pt x="39990" y="0"/>
                    <a:pt x="9510" y="22433"/>
                    <a:pt x="0" y="355031"/>
                  </a:cubicBezTo>
                </a:path>
              </a:pathLst>
            </a:custGeom>
            <a:noFill/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14A0746-2E42-434B-AEAB-C009BFABE55F}"/>
                </a:ext>
              </a:extLst>
            </p:cNvPr>
            <p:cNvSpPr/>
            <p:nvPr/>
          </p:nvSpPr>
          <p:spPr>
            <a:xfrm>
              <a:off x="5698541" y="3038042"/>
              <a:ext cx="73152" cy="121920"/>
            </a:xfrm>
            <a:custGeom>
              <a:avLst/>
              <a:gdLst>
                <a:gd name="connsiteX0" fmla="*/ 0 w 73152"/>
                <a:gd name="connsiteY0" fmla="*/ 0 h 121919"/>
                <a:gd name="connsiteX1" fmla="*/ 83393 w 73152"/>
                <a:gd name="connsiteY1" fmla="*/ 137282 h 12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3152" h="121919">
                  <a:moveTo>
                    <a:pt x="0" y="0"/>
                  </a:moveTo>
                  <a:lnTo>
                    <a:pt x="83393" y="13728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0FFE069-3A26-43FF-9F0E-A02776B56884}"/>
                </a:ext>
              </a:extLst>
            </p:cNvPr>
            <p:cNvSpPr/>
            <p:nvPr/>
          </p:nvSpPr>
          <p:spPr>
            <a:xfrm>
              <a:off x="5779496" y="3153134"/>
              <a:ext cx="121920" cy="48768"/>
            </a:xfrm>
            <a:custGeom>
              <a:avLst/>
              <a:gdLst>
                <a:gd name="connsiteX0" fmla="*/ 126309 w 121920"/>
                <a:gd name="connsiteY0" fmla="*/ 0 h 48767"/>
                <a:gd name="connsiteX1" fmla="*/ 0 w 121920"/>
                <a:gd name="connsiteY1" fmla="*/ 49012 h 48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20" h="48767">
                  <a:moveTo>
                    <a:pt x="126309" y="0"/>
                  </a:moveTo>
                  <a:lnTo>
                    <a:pt x="0" y="49012"/>
                  </a:lnTo>
                </a:path>
              </a:pathLst>
            </a:custGeom>
            <a:ln w="24386" cap="flat">
              <a:solidFill>
                <a:srgbClr val="94CFB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B45E805-F6F5-4BFE-82C6-7EE6B9534D32}"/>
                </a:ext>
              </a:extLst>
            </p:cNvPr>
            <p:cNvSpPr/>
            <p:nvPr/>
          </p:nvSpPr>
          <p:spPr>
            <a:xfrm>
              <a:off x="4211276" y="2396371"/>
              <a:ext cx="877824" cy="902208"/>
            </a:xfrm>
            <a:custGeom>
              <a:avLst/>
              <a:gdLst>
                <a:gd name="connsiteX0" fmla="*/ 882054 w 877824"/>
                <a:gd name="connsiteY0" fmla="*/ 911845 h 902207"/>
                <a:gd name="connsiteX1" fmla="*/ 736238 w 877824"/>
                <a:gd name="connsiteY1" fmla="*/ 517800 h 902207"/>
                <a:gd name="connsiteX2" fmla="*/ 537265 w 877824"/>
                <a:gd name="connsiteY2" fmla="*/ 303221 h 902207"/>
                <a:gd name="connsiteX3" fmla="*/ 375599 w 877824"/>
                <a:gd name="connsiteY3" fmla="*/ 1835 h 902207"/>
                <a:gd name="connsiteX4" fmla="*/ 213933 w 877824"/>
                <a:gd name="connsiteY4" fmla="*/ 329556 h 902207"/>
                <a:gd name="connsiteX5" fmla="*/ 38368 w 877824"/>
                <a:gd name="connsiteY5" fmla="*/ 539014 h 902207"/>
                <a:gd name="connsiteX6" fmla="*/ 43976 w 877824"/>
                <a:gd name="connsiteY6" fmla="*/ 911845 h 902207"/>
                <a:gd name="connsiteX7" fmla="*/ 882054 w 877824"/>
                <a:gd name="connsiteY7" fmla="*/ 911845 h 90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7824" h="902207">
                  <a:moveTo>
                    <a:pt x="882054" y="911845"/>
                  </a:moveTo>
                  <a:cubicBezTo>
                    <a:pt x="916680" y="675565"/>
                    <a:pt x="834262" y="535113"/>
                    <a:pt x="736238" y="517800"/>
                  </a:cubicBezTo>
                  <a:cubicBezTo>
                    <a:pt x="635532" y="500000"/>
                    <a:pt x="567745" y="462936"/>
                    <a:pt x="537265" y="303221"/>
                  </a:cubicBezTo>
                  <a:cubicBezTo>
                    <a:pt x="506785" y="143262"/>
                    <a:pt x="488009" y="-19135"/>
                    <a:pt x="375599" y="1835"/>
                  </a:cubicBezTo>
                  <a:cubicBezTo>
                    <a:pt x="263188" y="22805"/>
                    <a:pt x="223442" y="165695"/>
                    <a:pt x="213933" y="329556"/>
                  </a:cubicBezTo>
                  <a:cubicBezTo>
                    <a:pt x="204667" y="493416"/>
                    <a:pt x="134441" y="474641"/>
                    <a:pt x="38368" y="539014"/>
                  </a:cubicBezTo>
                  <a:cubicBezTo>
                    <a:pt x="-36735" y="589245"/>
                    <a:pt x="16910" y="815285"/>
                    <a:pt x="43976" y="911845"/>
                  </a:cubicBezTo>
                  <a:lnTo>
                    <a:pt x="882054" y="911845"/>
                  </a:lnTo>
                  <a:close/>
                </a:path>
              </a:pathLst>
            </a:custGeom>
            <a:solidFill>
              <a:srgbClr val="37B4B1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073676D9-EF3C-4248-BE61-8F641AA494D3}"/>
                </a:ext>
              </a:extLst>
            </p:cNvPr>
            <p:cNvSpPr/>
            <p:nvPr/>
          </p:nvSpPr>
          <p:spPr>
            <a:xfrm>
              <a:off x="4272385" y="2911489"/>
              <a:ext cx="707136" cy="390144"/>
            </a:xfrm>
            <a:custGeom>
              <a:avLst/>
              <a:gdLst>
                <a:gd name="connsiteX0" fmla="*/ 718045 w 707136"/>
                <a:gd name="connsiteY0" fmla="*/ 214091 h 390143"/>
                <a:gd name="connsiteX1" fmla="*/ 506148 w 707136"/>
                <a:gd name="connsiteY1" fmla="*/ 237744 h 390143"/>
                <a:gd name="connsiteX2" fmla="*/ 348140 w 707136"/>
                <a:gd name="connsiteY2" fmla="*/ 0 h 390143"/>
                <a:gd name="connsiteX3" fmla="*/ 171356 w 707136"/>
                <a:gd name="connsiteY3" fmla="*/ 263347 h 390143"/>
                <a:gd name="connsiteX4" fmla="*/ 29684 w 707136"/>
                <a:gd name="connsiteY4" fmla="*/ 188000 h 390143"/>
                <a:gd name="connsiteX5" fmla="*/ 24564 w 707136"/>
                <a:gd name="connsiteY5" fmla="*/ 396484 h 390143"/>
                <a:gd name="connsiteX6" fmla="*/ 688052 w 707136"/>
                <a:gd name="connsiteY6" fmla="*/ 396484 h 390143"/>
                <a:gd name="connsiteX7" fmla="*/ 718045 w 707136"/>
                <a:gd name="connsiteY7" fmla="*/ 214091 h 390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136" h="390143">
                  <a:moveTo>
                    <a:pt x="718045" y="214091"/>
                  </a:moveTo>
                  <a:cubicBezTo>
                    <a:pt x="672447" y="182148"/>
                    <a:pt x="579788" y="246034"/>
                    <a:pt x="506148" y="237744"/>
                  </a:cubicBezTo>
                  <a:cubicBezTo>
                    <a:pt x="432508" y="229453"/>
                    <a:pt x="451040" y="0"/>
                    <a:pt x="348140" y="0"/>
                  </a:cubicBezTo>
                  <a:cubicBezTo>
                    <a:pt x="245239" y="0"/>
                    <a:pt x="253286" y="262128"/>
                    <a:pt x="171356" y="263347"/>
                  </a:cubicBezTo>
                  <a:cubicBezTo>
                    <a:pt x="89425" y="264566"/>
                    <a:pt x="96497" y="149718"/>
                    <a:pt x="29684" y="188000"/>
                  </a:cubicBezTo>
                  <a:cubicBezTo>
                    <a:pt x="-25423" y="219456"/>
                    <a:pt x="10421" y="351373"/>
                    <a:pt x="24564" y="396484"/>
                  </a:cubicBezTo>
                  <a:lnTo>
                    <a:pt x="688052" y="396484"/>
                  </a:lnTo>
                  <a:cubicBezTo>
                    <a:pt x="713656" y="336743"/>
                    <a:pt x="749500" y="236037"/>
                    <a:pt x="718045" y="214091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FA37BC60-4A42-4DD5-A8C8-87F15A52C4FD}"/>
                </a:ext>
              </a:extLst>
            </p:cNvPr>
            <p:cNvSpPr/>
            <p:nvPr/>
          </p:nvSpPr>
          <p:spPr>
            <a:xfrm>
              <a:off x="5664847" y="2225031"/>
              <a:ext cx="560832" cy="1170432"/>
            </a:xfrm>
            <a:custGeom>
              <a:avLst/>
              <a:gdLst>
                <a:gd name="connsiteX0" fmla="*/ 416766 w 560832"/>
                <a:gd name="connsiteY0" fmla="*/ 1142195 h 1170431"/>
                <a:gd name="connsiteX1" fmla="*/ 36132 w 560832"/>
                <a:gd name="connsiteY1" fmla="*/ 1065385 h 1170431"/>
                <a:gd name="connsiteX2" fmla="*/ 1994 w 560832"/>
                <a:gd name="connsiteY2" fmla="*/ 1009301 h 1170431"/>
                <a:gd name="connsiteX3" fmla="*/ 151225 w 560832"/>
                <a:gd name="connsiteY3" fmla="*/ 783750 h 1170431"/>
                <a:gd name="connsiteX4" fmla="*/ 99287 w 560832"/>
                <a:gd name="connsiteY4" fmla="*/ 673778 h 1170431"/>
                <a:gd name="connsiteX5" fmla="*/ 43203 w 560832"/>
                <a:gd name="connsiteY5" fmla="*/ 402140 h 1170431"/>
                <a:gd name="connsiteX6" fmla="*/ 130254 w 560832"/>
                <a:gd name="connsiteY6" fmla="*/ 133916 h 1170431"/>
                <a:gd name="connsiteX7" fmla="*/ 298992 w 560832"/>
                <a:gd name="connsiteY7" fmla="*/ 2243 h 1170431"/>
                <a:gd name="connsiteX8" fmla="*/ 392626 w 560832"/>
                <a:gd name="connsiteY8" fmla="*/ 108801 h 1170431"/>
                <a:gd name="connsiteX9" fmla="*/ 396284 w 560832"/>
                <a:gd name="connsiteY9" fmla="*/ 311432 h 1170431"/>
                <a:gd name="connsiteX10" fmla="*/ 390675 w 560832"/>
                <a:gd name="connsiteY10" fmla="*/ 401165 h 1170431"/>
                <a:gd name="connsiteX11" fmla="*/ 553804 w 560832"/>
                <a:gd name="connsiteY11" fmla="*/ 560148 h 1170431"/>
                <a:gd name="connsiteX12" fmla="*/ 503573 w 560832"/>
                <a:gd name="connsiteY12" fmla="*/ 778629 h 1170431"/>
                <a:gd name="connsiteX13" fmla="*/ 468460 w 560832"/>
                <a:gd name="connsiteY13" fmla="*/ 918837 h 1170431"/>
                <a:gd name="connsiteX14" fmla="*/ 495039 w 560832"/>
                <a:gd name="connsiteY14" fmla="*/ 951999 h 1170431"/>
                <a:gd name="connsiteX15" fmla="*/ 416766 w 560832"/>
                <a:gd name="connsiteY15" fmla="*/ 1142195 h 1170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0832" h="1170431">
                  <a:moveTo>
                    <a:pt x="416766" y="1142195"/>
                  </a:moveTo>
                  <a:cubicBezTo>
                    <a:pt x="308501" y="1224368"/>
                    <a:pt x="133180" y="1149509"/>
                    <a:pt x="36132" y="1065385"/>
                  </a:cubicBezTo>
                  <a:cubicBezTo>
                    <a:pt x="19063" y="1050755"/>
                    <a:pt x="6627" y="1031247"/>
                    <a:pt x="1994" y="1009301"/>
                  </a:cubicBezTo>
                  <a:cubicBezTo>
                    <a:pt x="-19951" y="903963"/>
                    <a:pt x="146348" y="878116"/>
                    <a:pt x="151225" y="783750"/>
                  </a:cubicBezTo>
                  <a:cubicBezTo>
                    <a:pt x="153419" y="742541"/>
                    <a:pt x="122208" y="708159"/>
                    <a:pt x="99287" y="673778"/>
                  </a:cubicBezTo>
                  <a:cubicBezTo>
                    <a:pt x="46861" y="595261"/>
                    <a:pt x="31987" y="495775"/>
                    <a:pt x="43203" y="402140"/>
                  </a:cubicBezTo>
                  <a:cubicBezTo>
                    <a:pt x="54176" y="308262"/>
                    <a:pt x="89289" y="219016"/>
                    <a:pt x="130254" y="133916"/>
                  </a:cubicBezTo>
                  <a:cubicBezTo>
                    <a:pt x="163660" y="64178"/>
                    <a:pt x="223401" y="-14339"/>
                    <a:pt x="298992" y="2243"/>
                  </a:cubicBezTo>
                  <a:cubicBezTo>
                    <a:pt x="347516" y="12972"/>
                    <a:pt x="378483" y="61252"/>
                    <a:pt x="392626" y="108801"/>
                  </a:cubicBezTo>
                  <a:cubicBezTo>
                    <a:pt x="412133" y="174150"/>
                    <a:pt x="409207" y="244620"/>
                    <a:pt x="396284" y="311432"/>
                  </a:cubicBezTo>
                  <a:cubicBezTo>
                    <a:pt x="390432" y="341180"/>
                    <a:pt x="382873" y="371904"/>
                    <a:pt x="390675" y="401165"/>
                  </a:cubicBezTo>
                  <a:cubicBezTo>
                    <a:pt x="411158" y="475780"/>
                    <a:pt x="515765" y="492605"/>
                    <a:pt x="553804" y="560148"/>
                  </a:cubicBezTo>
                  <a:cubicBezTo>
                    <a:pt x="592575" y="628667"/>
                    <a:pt x="546245" y="712305"/>
                    <a:pt x="503573" y="778629"/>
                  </a:cubicBezTo>
                  <a:cubicBezTo>
                    <a:pt x="466997" y="835200"/>
                    <a:pt x="444564" y="870313"/>
                    <a:pt x="468460" y="918837"/>
                  </a:cubicBezTo>
                  <a:cubicBezTo>
                    <a:pt x="474800" y="931760"/>
                    <a:pt x="484066" y="942733"/>
                    <a:pt x="495039" y="951999"/>
                  </a:cubicBezTo>
                  <a:cubicBezTo>
                    <a:pt x="518448" y="971994"/>
                    <a:pt x="561363" y="1032467"/>
                    <a:pt x="416766" y="1142195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0D7743B7-0B89-449F-AB8A-6FE3EF370C4B}"/>
                </a:ext>
              </a:extLst>
            </p:cNvPr>
            <p:cNvSpPr/>
            <p:nvPr/>
          </p:nvSpPr>
          <p:spPr>
            <a:xfrm>
              <a:off x="5965381" y="2598302"/>
              <a:ext cx="365760" cy="780288"/>
            </a:xfrm>
            <a:custGeom>
              <a:avLst/>
              <a:gdLst>
                <a:gd name="connsiteX0" fmla="*/ 284727 w 365760"/>
                <a:gd name="connsiteY0" fmla="*/ 780140 h 780287"/>
                <a:gd name="connsiteX1" fmla="*/ 24793 w 365760"/>
                <a:gd name="connsiteY1" fmla="*/ 727715 h 780287"/>
                <a:gd name="connsiteX2" fmla="*/ 1384 w 365760"/>
                <a:gd name="connsiteY2" fmla="*/ 689432 h 780287"/>
                <a:gd name="connsiteX3" fmla="*/ 103310 w 365760"/>
                <a:gd name="connsiteY3" fmla="*/ 535325 h 780287"/>
                <a:gd name="connsiteX4" fmla="*/ 67709 w 365760"/>
                <a:gd name="connsiteY4" fmla="*/ 460223 h 780287"/>
                <a:gd name="connsiteX5" fmla="*/ 29426 w 365760"/>
                <a:gd name="connsiteY5" fmla="*/ 274660 h 780287"/>
                <a:gd name="connsiteX6" fmla="*/ 88923 w 365760"/>
                <a:gd name="connsiteY6" fmla="*/ 91537 h 780287"/>
                <a:gd name="connsiteX7" fmla="*/ 204015 w 365760"/>
                <a:gd name="connsiteY7" fmla="*/ 1560 h 780287"/>
                <a:gd name="connsiteX8" fmla="*/ 268145 w 365760"/>
                <a:gd name="connsiteY8" fmla="*/ 74224 h 780287"/>
                <a:gd name="connsiteX9" fmla="*/ 270584 w 365760"/>
                <a:gd name="connsiteY9" fmla="*/ 212725 h 780287"/>
                <a:gd name="connsiteX10" fmla="*/ 266926 w 365760"/>
                <a:gd name="connsiteY10" fmla="*/ 273929 h 780287"/>
                <a:gd name="connsiteX11" fmla="*/ 378361 w 365760"/>
                <a:gd name="connsiteY11" fmla="*/ 382438 h 780287"/>
                <a:gd name="connsiteX12" fmla="*/ 344224 w 365760"/>
                <a:gd name="connsiteY12" fmla="*/ 531668 h 780287"/>
                <a:gd name="connsiteX13" fmla="*/ 320327 w 365760"/>
                <a:gd name="connsiteY13" fmla="*/ 627497 h 780287"/>
                <a:gd name="connsiteX14" fmla="*/ 338371 w 365760"/>
                <a:gd name="connsiteY14" fmla="*/ 650174 h 780287"/>
                <a:gd name="connsiteX15" fmla="*/ 284727 w 365760"/>
                <a:gd name="connsiteY15" fmla="*/ 780140 h 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65760" h="780287">
                  <a:moveTo>
                    <a:pt x="284727" y="780140"/>
                  </a:moveTo>
                  <a:cubicBezTo>
                    <a:pt x="210843" y="836224"/>
                    <a:pt x="91118" y="785017"/>
                    <a:pt x="24793" y="727715"/>
                  </a:cubicBezTo>
                  <a:cubicBezTo>
                    <a:pt x="13088" y="717718"/>
                    <a:pt x="4554" y="704550"/>
                    <a:pt x="1384" y="689432"/>
                  </a:cubicBezTo>
                  <a:cubicBezTo>
                    <a:pt x="-13734" y="617499"/>
                    <a:pt x="99896" y="599699"/>
                    <a:pt x="103310" y="535325"/>
                  </a:cubicBezTo>
                  <a:cubicBezTo>
                    <a:pt x="104773" y="507040"/>
                    <a:pt x="83559" y="483631"/>
                    <a:pt x="67709" y="460223"/>
                  </a:cubicBezTo>
                  <a:cubicBezTo>
                    <a:pt x="31864" y="406578"/>
                    <a:pt x="21867" y="338546"/>
                    <a:pt x="29426" y="274660"/>
                  </a:cubicBezTo>
                  <a:cubicBezTo>
                    <a:pt x="36985" y="210530"/>
                    <a:pt x="60881" y="149570"/>
                    <a:pt x="88923" y="91537"/>
                  </a:cubicBezTo>
                  <a:cubicBezTo>
                    <a:pt x="111844" y="43988"/>
                    <a:pt x="152565" y="-9901"/>
                    <a:pt x="204015" y="1560"/>
                  </a:cubicBezTo>
                  <a:cubicBezTo>
                    <a:pt x="237177" y="8875"/>
                    <a:pt x="258392" y="41793"/>
                    <a:pt x="268145" y="74224"/>
                  </a:cubicBezTo>
                  <a:cubicBezTo>
                    <a:pt x="281312" y="118847"/>
                    <a:pt x="279362" y="166883"/>
                    <a:pt x="270584" y="212725"/>
                  </a:cubicBezTo>
                  <a:cubicBezTo>
                    <a:pt x="266682" y="232964"/>
                    <a:pt x="261318" y="253934"/>
                    <a:pt x="266926" y="273929"/>
                  </a:cubicBezTo>
                  <a:cubicBezTo>
                    <a:pt x="280825" y="324891"/>
                    <a:pt x="352514" y="336352"/>
                    <a:pt x="378361" y="382438"/>
                  </a:cubicBezTo>
                  <a:cubicBezTo>
                    <a:pt x="404695" y="429255"/>
                    <a:pt x="373241" y="486313"/>
                    <a:pt x="344224" y="531668"/>
                  </a:cubicBezTo>
                  <a:cubicBezTo>
                    <a:pt x="319351" y="570438"/>
                    <a:pt x="303989" y="594335"/>
                    <a:pt x="320327" y="627497"/>
                  </a:cubicBezTo>
                  <a:cubicBezTo>
                    <a:pt x="324716" y="636275"/>
                    <a:pt x="331056" y="643834"/>
                    <a:pt x="338371" y="650174"/>
                  </a:cubicBezTo>
                  <a:cubicBezTo>
                    <a:pt x="354221" y="663829"/>
                    <a:pt x="383726" y="705282"/>
                    <a:pt x="284727" y="780140"/>
                  </a:cubicBezTo>
                  <a:close/>
                </a:path>
              </a:pathLst>
            </a:custGeom>
            <a:solidFill>
              <a:srgbClr val="248F8B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A796208-A4FD-4A10-A031-DB2F990278B3}"/>
                </a:ext>
              </a:extLst>
            </p:cNvPr>
            <p:cNvSpPr/>
            <p:nvPr/>
          </p:nvSpPr>
          <p:spPr>
            <a:xfrm>
              <a:off x="191414" y="2824823"/>
              <a:ext cx="609600" cy="195072"/>
            </a:xfrm>
            <a:custGeom>
              <a:avLst/>
              <a:gdLst>
                <a:gd name="connsiteX0" fmla="*/ 0 w 609600"/>
                <a:gd name="connsiteY0" fmla="*/ 205172 h 195071"/>
                <a:gd name="connsiteX1" fmla="*/ 618622 w 609600"/>
                <a:gd name="connsiteY1" fmla="*/ 52528 h 195071"/>
                <a:gd name="connsiteX2" fmla="*/ 0 w 609600"/>
                <a:gd name="connsiteY2" fmla="*/ 205172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95071">
                  <a:moveTo>
                    <a:pt x="0" y="205172"/>
                  </a:moveTo>
                  <a:cubicBezTo>
                    <a:pt x="0" y="205172"/>
                    <a:pt x="563514" y="-125231"/>
                    <a:pt x="618622" y="52528"/>
                  </a:cubicBezTo>
                  <a:cubicBezTo>
                    <a:pt x="681777" y="256135"/>
                    <a:pt x="0" y="205172"/>
                    <a:pt x="0" y="20517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27FBC5B-7A8C-490C-8395-03639401E643}"/>
                </a:ext>
              </a:extLst>
            </p:cNvPr>
            <p:cNvSpPr/>
            <p:nvPr/>
          </p:nvSpPr>
          <p:spPr>
            <a:xfrm>
              <a:off x="0" y="2546216"/>
              <a:ext cx="146304" cy="463296"/>
            </a:xfrm>
            <a:custGeom>
              <a:avLst/>
              <a:gdLst>
                <a:gd name="connsiteX0" fmla="*/ 147036 w 146304"/>
                <a:gd name="connsiteY0" fmla="*/ 472562 h 463295"/>
                <a:gd name="connsiteX1" fmla="*/ 0 w 146304"/>
                <a:gd name="connsiteY1" fmla="*/ 0 h 463295"/>
                <a:gd name="connsiteX2" fmla="*/ 0 w 146304"/>
                <a:gd name="connsiteY2" fmla="*/ 334305 h 463295"/>
                <a:gd name="connsiteX3" fmla="*/ 147036 w 146304"/>
                <a:gd name="connsiteY3" fmla="*/ 472562 h 46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6304" h="463295">
                  <a:moveTo>
                    <a:pt x="147036" y="472562"/>
                  </a:moveTo>
                  <a:cubicBezTo>
                    <a:pt x="138501" y="368198"/>
                    <a:pt x="82418" y="135087"/>
                    <a:pt x="0" y="0"/>
                  </a:cubicBezTo>
                  <a:lnTo>
                    <a:pt x="0" y="334305"/>
                  </a:lnTo>
                  <a:cubicBezTo>
                    <a:pt x="78029" y="414284"/>
                    <a:pt x="147036" y="472562"/>
                    <a:pt x="147036" y="472562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C393DB7F-9E1E-4254-8726-CE53449BFCFC}"/>
                </a:ext>
              </a:extLst>
            </p:cNvPr>
            <p:cNvSpPr/>
            <p:nvPr/>
          </p:nvSpPr>
          <p:spPr>
            <a:xfrm>
              <a:off x="407944" y="2478785"/>
              <a:ext cx="609600" cy="146304"/>
            </a:xfrm>
            <a:custGeom>
              <a:avLst/>
              <a:gdLst>
                <a:gd name="connsiteX0" fmla="*/ 0 w 609600"/>
                <a:gd name="connsiteY0" fmla="*/ 132293 h 146303"/>
                <a:gd name="connsiteX1" fmla="*/ 611063 w 609600"/>
                <a:gd name="connsiteY1" fmla="*/ 61823 h 146303"/>
                <a:gd name="connsiteX2" fmla="*/ 0 w 609600"/>
                <a:gd name="connsiteY2" fmla="*/ 132293 h 146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146303">
                  <a:moveTo>
                    <a:pt x="0" y="132293"/>
                  </a:moveTo>
                  <a:cubicBezTo>
                    <a:pt x="0" y="132293"/>
                    <a:pt x="575462" y="-110572"/>
                    <a:pt x="611063" y="61823"/>
                  </a:cubicBezTo>
                  <a:cubicBezTo>
                    <a:pt x="649590" y="249580"/>
                    <a:pt x="0" y="132293"/>
                    <a:pt x="0" y="13229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A13CFDCF-1EEE-4326-887A-1524655799D2}"/>
                </a:ext>
              </a:extLst>
            </p:cNvPr>
            <p:cNvSpPr/>
            <p:nvPr/>
          </p:nvSpPr>
          <p:spPr>
            <a:xfrm>
              <a:off x="244" y="2097015"/>
              <a:ext cx="365760" cy="487680"/>
            </a:xfrm>
            <a:custGeom>
              <a:avLst/>
              <a:gdLst>
                <a:gd name="connsiteX0" fmla="*/ 372344 w 365760"/>
                <a:gd name="connsiteY0" fmla="*/ 510649 h 487679"/>
                <a:gd name="connsiteX1" fmla="*/ 26579 w 365760"/>
                <a:gd name="connsiteY1" fmla="*/ 12240 h 487679"/>
                <a:gd name="connsiteX2" fmla="*/ 0 w 365760"/>
                <a:gd name="connsiteY2" fmla="*/ 29796 h 487679"/>
                <a:gd name="connsiteX3" fmla="*/ 0 w 365760"/>
                <a:gd name="connsiteY3" fmla="*/ 157081 h 487679"/>
                <a:gd name="connsiteX4" fmla="*/ 372344 w 365760"/>
                <a:gd name="connsiteY4" fmla="*/ 510649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5760" h="487679">
                  <a:moveTo>
                    <a:pt x="372344" y="510649"/>
                  </a:moveTo>
                  <a:cubicBezTo>
                    <a:pt x="372344" y="510649"/>
                    <a:pt x="244815" y="-92611"/>
                    <a:pt x="26579" y="12240"/>
                  </a:cubicBezTo>
                  <a:cubicBezTo>
                    <a:pt x="15850" y="17361"/>
                    <a:pt x="7071" y="23213"/>
                    <a:pt x="0" y="29796"/>
                  </a:cubicBezTo>
                  <a:lnTo>
                    <a:pt x="0" y="157081"/>
                  </a:lnTo>
                  <a:cubicBezTo>
                    <a:pt x="84856" y="310212"/>
                    <a:pt x="372344" y="510649"/>
                    <a:pt x="372344" y="510649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A8A49B75-BBFE-49D4-BB4A-235CDB7EAADB}"/>
                </a:ext>
              </a:extLst>
            </p:cNvPr>
            <p:cNvSpPr/>
            <p:nvPr/>
          </p:nvSpPr>
          <p:spPr>
            <a:xfrm>
              <a:off x="596920" y="2084476"/>
              <a:ext cx="585216" cy="170688"/>
            </a:xfrm>
            <a:custGeom>
              <a:avLst/>
              <a:gdLst>
                <a:gd name="connsiteX0" fmla="*/ 0 w 585216"/>
                <a:gd name="connsiteY0" fmla="*/ 171327 h 170687"/>
                <a:gd name="connsiteX1" fmla="*/ 591068 w 585216"/>
                <a:gd name="connsiteY1" fmla="*/ 45993 h 170687"/>
                <a:gd name="connsiteX2" fmla="*/ 0 w 585216"/>
                <a:gd name="connsiteY2" fmla="*/ 171327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5216" h="170687">
                  <a:moveTo>
                    <a:pt x="0" y="171327"/>
                  </a:moveTo>
                  <a:cubicBezTo>
                    <a:pt x="99243" y="92079"/>
                    <a:pt x="573999" y="-82998"/>
                    <a:pt x="591068" y="45993"/>
                  </a:cubicBezTo>
                  <a:cubicBezTo>
                    <a:pt x="620817" y="270326"/>
                    <a:pt x="0" y="171327"/>
                    <a:pt x="0" y="171327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48FDE24C-E24A-489C-9754-4552040B29DC}"/>
                </a:ext>
              </a:extLst>
            </p:cNvPr>
            <p:cNvSpPr/>
            <p:nvPr/>
          </p:nvSpPr>
          <p:spPr>
            <a:xfrm>
              <a:off x="167209" y="1738921"/>
              <a:ext cx="365760" cy="487680"/>
            </a:xfrm>
            <a:custGeom>
              <a:avLst/>
              <a:gdLst>
                <a:gd name="connsiteX0" fmla="*/ 376798 w 365760"/>
                <a:gd name="connsiteY0" fmla="*/ 504446 h 487679"/>
                <a:gd name="connsiteX1" fmla="*/ 40543 w 365760"/>
                <a:gd name="connsiteY1" fmla="*/ 7988 h 487679"/>
                <a:gd name="connsiteX2" fmla="*/ 376798 w 365760"/>
                <a:gd name="connsiteY2" fmla="*/ 504446 h 48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5760" h="487679">
                  <a:moveTo>
                    <a:pt x="376798" y="504446"/>
                  </a:moveTo>
                  <a:cubicBezTo>
                    <a:pt x="316326" y="293524"/>
                    <a:pt x="154904" y="-57361"/>
                    <a:pt x="40543" y="7988"/>
                  </a:cubicBezTo>
                  <a:cubicBezTo>
                    <a:pt x="-146970" y="115521"/>
                    <a:pt x="376798" y="504446"/>
                    <a:pt x="376798" y="504446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B898F5EF-97B6-4904-B33F-5B209395F35A}"/>
                </a:ext>
              </a:extLst>
            </p:cNvPr>
            <p:cNvSpPr/>
            <p:nvPr/>
          </p:nvSpPr>
          <p:spPr>
            <a:xfrm>
              <a:off x="353830" y="1431609"/>
              <a:ext cx="316992" cy="438912"/>
            </a:xfrm>
            <a:custGeom>
              <a:avLst/>
              <a:gdLst>
                <a:gd name="connsiteX0" fmla="*/ 333799 w 316992"/>
                <a:gd name="connsiteY0" fmla="*/ 455020 h 438911"/>
                <a:gd name="connsiteX1" fmla="*/ 26073 w 316992"/>
                <a:gd name="connsiteY1" fmla="*/ 6354 h 438911"/>
                <a:gd name="connsiteX2" fmla="*/ 333799 w 316992"/>
                <a:gd name="connsiteY2" fmla="*/ 455020 h 438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992" h="438911">
                  <a:moveTo>
                    <a:pt x="333799" y="455020"/>
                  </a:moveTo>
                  <a:cubicBezTo>
                    <a:pt x="321119" y="267507"/>
                    <a:pt x="162623" y="-48753"/>
                    <a:pt x="26073" y="6354"/>
                  </a:cubicBezTo>
                  <a:cubicBezTo>
                    <a:pt x="-110478" y="61706"/>
                    <a:pt x="333799" y="455020"/>
                    <a:pt x="333799" y="455020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61599FB-0944-4664-8E21-034AE1B8DFC6}"/>
                </a:ext>
              </a:extLst>
            </p:cNvPr>
            <p:cNvSpPr/>
            <p:nvPr/>
          </p:nvSpPr>
          <p:spPr>
            <a:xfrm>
              <a:off x="742493" y="1294120"/>
              <a:ext cx="243840" cy="536448"/>
            </a:xfrm>
            <a:custGeom>
              <a:avLst/>
              <a:gdLst>
                <a:gd name="connsiteX0" fmla="*/ 0 w 243840"/>
                <a:gd name="connsiteY0" fmla="*/ 548618 h 536447"/>
                <a:gd name="connsiteX1" fmla="*/ 203363 w 243840"/>
                <a:gd name="connsiteY1" fmla="*/ 6075 h 536447"/>
                <a:gd name="connsiteX2" fmla="*/ 0 w 243840"/>
                <a:gd name="connsiteY2" fmla="*/ 548618 h 536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3840" h="536447">
                  <a:moveTo>
                    <a:pt x="0" y="548618"/>
                  </a:moveTo>
                  <a:cubicBezTo>
                    <a:pt x="0" y="548618"/>
                    <a:pt x="385267" y="79470"/>
                    <a:pt x="203363" y="6075"/>
                  </a:cubicBezTo>
                  <a:cubicBezTo>
                    <a:pt x="21702" y="-67321"/>
                    <a:pt x="0" y="548618"/>
                    <a:pt x="0" y="548618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31FCE595-85F5-475D-9A64-3E2D664ECA6D}"/>
                </a:ext>
              </a:extLst>
            </p:cNvPr>
            <p:cNvSpPr/>
            <p:nvPr/>
          </p:nvSpPr>
          <p:spPr>
            <a:xfrm>
              <a:off x="10973" y="1484781"/>
              <a:ext cx="853440" cy="1804416"/>
            </a:xfrm>
            <a:custGeom>
              <a:avLst/>
              <a:gdLst>
                <a:gd name="connsiteX0" fmla="*/ 868314 w 853440"/>
                <a:gd name="connsiteY0" fmla="*/ 0 h 1804415"/>
                <a:gd name="connsiteX1" fmla="*/ 0 w 853440"/>
                <a:gd name="connsiteY1" fmla="*/ 1818558 h 180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3440" h="1804415">
                  <a:moveTo>
                    <a:pt x="868314" y="0"/>
                  </a:moveTo>
                  <a:cubicBezTo>
                    <a:pt x="868314" y="0"/>
                    <a:pt x="618866" y="787603"/>
                    <a:pt x="0" y="1818558"/>
                  </a:cubicBez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C69363A-7713-46FC-A840-2D83D4CCDB18}"/>
                </a:ext>
              </a:extLst>
            </p:cNvPr>
            <p:cNvSpPr/>
            <p:nvPr/>
          </p:nvSpPr>
          <p:spPr>
            <a:xfrm>
              <a:off x="710062" y="1760934"/>
              <a:ext cx="536448" cy="170688"/>
            </a:xfrm>
            <a:custGeom>
              <a:avLst/>
              <a:gdLst>
                <a:gd name="connsiteX0" fmla="*/ 0 w 536448"/>
                <a:gd name="connsiteY0" fmla="*/ 159833 h 170687"/>
                <a:gd name="connsiteX1" fmla="*/ 554004 w 536448"/>
                <a:gd name="connsiteY1" fmla="*/ 44009 h 170687"/>
                <a:gd name="connsiteX2" fmla="*/ 0 w 536448"/>
                <a:gd name="connsiteY2" fmla="*/ 159833 h 170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6448" h="170687">
                  <a:moveTo>
                    <a:pt x="0" y="159833"/>
                  </a:moveTo>
                  <a:cubicBezTo>
                    <a:pt x="0" y="159833"/>
                    <a:pt x="504505" y="-101320"/>
                    <a:pt x="554004" y="44009"/>
                  </a:cubicBezTo>
                  <a:cubicBezTo>
                    <a:pt x="614721" y="223475"/>
                    <a:pt x="0" y="159833"/>
                    <a:pt x="0" y="159833"/>
                  </a:cubicBezTo>
                  <a:close/>
                </a:path>
              </a:pathLst>
            </a:custGeom>
            <a:solidFill>
              <a:srgbClr val="F3AF47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802BFF8-E76C-446A-ABCA-EF2F1FA6564D}"/>
                </a:ext>
              </a:extLst>
            </p:cNvPr>
            <p:cNvSpPr/>
            <p:nvPr/>
          </p:nvSpPr>
          <p:spPr>
            <a:xfrm>
              <a:off x="485973" y="1573051"/>
              <a:ext cx="609600" cy="341376"/>
            </a:xfrm>
            <a:custGeom>
              <a:avLst/>
              <a:gdLst>
                <a:gd name="connsiteX0" fmla="*/ 624962 w 609600"/>
                <a:gd name="connsiteY0" fmla="*/ 265542 h 341375"/>
                <a:gd name="connsiteX1" fmla="*/ 224089 w 609600"/>
                <a:gd name="connsiteY1" fmla="*/ 347716 h 341375"/>
                <a:gd name="connsiteX2" fmla="*/ 0 w 609600"/>
                <a:gd name="connsiteY2" fmla="*/ 0 h 34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9600" h="341375">
                  <a:moveTo>
                    <a:pt x="624962" y="265542"/>
                  </a:moveTo>
                  <a:lnTo>
                    <a:pt x="224089" y="347716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C0F2BE2-A079-4D86-8847-21325865BC4E}"/>
                </a:ext>
              </a:extLst>
            </p:cNvPr>
            <p:cNvSpPr/>
            <p:nvPr/>
          </p:nvSpPr>
          <p:spPr>
            <a:xfrm>
              <a:off x="295290" y="1881021"/>
              <a:ext cx="707136" cy="365760"/>
            </a:xfrm>
            <a:custGeom>
              <a:avLst/>
              <a:gdLst>
                <a:gd name="connsiteX0" fmla="*/ 728838 w 707136"/>
                <a:gd name="connsiteY0" fmla="*/ 297241 h 365759"/>
                <a:gd name="connsiteX1" fmla="*/ 262128 w 707136"/>
                <a:gd name="connsiteY1" fmla="*/ 381853 h 365759"/>
                <a:gd name="connsiteX2" fmla="*/ 0 w 707136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07136" h="365759">
                  <a:moveTo>
                    <a:pt x="728838" y="297241"/>
                  </a:moveTo>
                  <a:lnTo>
                    <a:pt x="262128" y="381853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1234FE09-4B52-4D2A-B491-9360C32B6BDC}"/>
                </a:ext>
              </a:extLst>
            </p:cNvPr>
            <p:cNvSpPr/>
            <p:nvPr/>
          </p:nvSpPr>
          <p:spPr>
            <a:xfrm>
              <a:off x="125578" y="2238003"/>
              <a:ext cx="682752" cy="365760"/>
            </a:xfrm>
            <a:custGeom>
              <a:avLst/>
              <a:gdLst>
                <a:gd name="connsiteX0" fmla="*/ 698602 w 682752"/>
                <a:gd name="connsiteY0" fmla="*/ 328209 h 365759"/>
                <a:gd name="connsiteX1" fmla="*/ 260177 w 682752"/>
                <a:gd name="connsiteY1" fmla="*/ 375514 h 365759"/>
                <a:gd name="connsiteX2" fmla="*/ 0 w 682752"/>
                <a:gd name="connsiteY2" fmla="*/ 0 h 36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365759">
                  <a:moveTo>
                    <a:pt x="698602" y="328209"/>
                  </a:moveTo>
                  <a:lnTo>
                    <a:pt x="260177" y="375514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D0BCA38-7759-4F7E-97FC-F2938E8291C7}"/>
                </a:ext>
              </a:extLst>
            </p:cNvPr>
            <p:cNvSpPr/>
            <p:nvPr/>
          </p:nvSpPr>
          <p:spPr>
            <a:xfrm>
              <a:off x="16093" y="2777620"/>
              <a:ext cx="682752" cy="268224"/>
            </a:xfrm>
            <a:custGeom>
              <a:avLst/>
              <a:gdLst>
                <a:gd name="connsiteX0" fmla="*/ 691043 w 682752"/>
                <a:gd name="connsiteY0" fmla="*/ 131674 h 268223"/>
                <a:gd name="connsiteX1" fmla="*/ 157521 w 682752"/>
                <a:gd name="connsiteY1" fmla="*/ 286268 h 268223"/>
                <a:gd name="connsiteX2" fmla="*/ 0 w 682752"/>
                <a:gd name="connsiteY2" fmla="*/ 0 h 268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2752" h="268223">
                  <a:moveTo>
                    <a:pt x="691043" y="131674"/>
                  </a:moveTo>
                  <a:lnTo>
                    <a:pt x="157521" y="286268"/>
                  </a:lnTo>
                  <a:lnTo>
                    <a:pt x="0" y="0"/>
                  </a:lnTo>
                </a:path>
              </a:pathLst>
            </a:custGeom>
            <a:noFill/>
            <a:ln w="24386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C3B1C37-22D9-4A34-BBB9-1B6003D209BC}"/>
                </a:ext>
              </a:extLst>
            </p:cNvPr>
            <p:cNvSpPr/>
            <p:nvPr/>
          </p:nvSpPr>
          <p:spPr>
            <a:xfrm>
              <a:off x="2573243" y="781059"/>
              <a:ext cx="3438144" cy="1463040"/>
            </a:xfrm>
            <a:custGeom>
              <a:avLst/>
              <a:gdLst>
                <a:gd name="connsiteX0" fmla="*/ 0 w 3438144"/>
                <a:gd name="connsiteY0" fmla="*/ 1480352 h 1463039"/>
                <a:gd name="connsiteX1" fmla="*/ 3443265 w 3438144"/>
                <a:gd name="connsiteY1" fmla="*/ 0 h 1463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38144" h="1463039">
                  <a:moveTo>
                    <a:pt x="0" y="1480352"/>
                  </a:moveTo>
                  <a:cubicBezTo>
                    <a:pt x="925861" y="611063"/>
                    <a:pt x="3397179" y="596189"/>
                    <a:pt x="3443265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A20314E8-2C41-4E96-B569-F28204586BD5}"/>
                </a:ext>
              </a:extLst>
            </p:cNvPr>
            <p:cNvSpPr/>
            <p:nvPr/>
          </p:nvSpPr>
          <p:spPr>
            <a:xfrm>
              <a:off x="4338889" y="814953"/>
              <a:ext cx="2365248" cy="1024128"/>
            </a:xfrm>
            <a:custGeom>
              <a:avLst/>
              <a:gdLst>
                <a:gd name="connsiteX0" fmla="*/ 0 w 2365248"/>
                <a:gd name="connsiteY0" fmla="*/ 1030224 h 1024127"/>
                <a:gd name="connsiteX1" fmla="*/ 2375246 w 2365248"/>
                <a:gd name="connsiteY1" fmla="*/ 0 h 102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65248" h="1024127">
                  <a:moveTo>
                    <a:pt x="0" y="1030224"/>
                  </a:moveTo>
                  <a:cubicBezTo>
                    <a:pt x="1150681" y="1014374"/>
                    <a:pt x="1727850" y="813206"/>
                    <a:pt x="2375246" y="0"/>
                  </a:cubicBezTo>
                </a:path>
              </a:pathLst>
            </a:custGeom>
            <a:noFill/>
            <a:ln w="12192" cap="flat">
              <a:solidFill>
                <a:srgbClr val="9C4F5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59D1BFEC-B02C-422D-9117-3B35D766CFE2}"/>
                </a:ext>
              </a:extLst>
            </p:cNvPr>
            <p:cNvSpPr/>
            <p:nvPr/>
          </p:nvSpPr>
          <p:spPr>
            <a:xfrm>
              <a:off x="8535131" y="360923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3886 h 195071"/>
                <a:gd name="connsiteX2" fmla="*/ 198242 w 195072"/>
                <a:gd name="connsiteY2" fmla="*/ 98999 h 195071"/>
                <a:gd name="connsiteX3" fmla="*/ 134112 w 195072"/>
                <a:gd name="connsiteY3" fmla="*/ 134112 h 195071"/>
                <a:gd name="connsiteX4" fmla="*/ 98999 w 195072"/>
                <a:gd name="connsiteY4" fmla="*/ 198242 h 195071"/>
                <a:gd name="connsiteX5" fmla="*/ 64130 w 195072"/>
                <a:gd name="connsiteY5" fmla="*/ 134112 h 195071"/>
                <a:gd name="connsiteX6" fmla="*/ 0 w 195072"/>
                <a:gd name="connsiteY6" fmla="*/ 98999 h 195071"/>
                <a:gd name="connsiteX7" fmla="*/ 64130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3886"/>
                  </a:lnTo>
                  <a:lnTo>
                    <a:pt x="198242" y="98999"/>
                  </a:lnTo>
                  <a:lnTo>
                    <a:pt x="134112" y="134112"/>
                  </a:lnTo>
                  <a:lnTo>
                    <a:pt x="98999" y="198242"/>
                  </a:lnTo>
                  <a:lnTo>
                    <a:pt x="64130" y="134112"/>
                  </a:lnTo>
                  <a:lnTo>
                    <a:pt x="0" y="98999"/>
                  </a:lnTo>
                  <a:lnTo>
                    <a:pt x="64130" y="63886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59755722-B20C-4910-AD39-077AEA29EC00}"/>
                </a:ext>
              </a:extLst>
            </p:cNvPr>
            <p:cNvSpPr/>
            <p:nvPr/>
          </p:nvSpPr>
          <p:spPr>
            <a:xfrm>
              <a:off x="956097" y="9306"/>
              <a:ext cx="195072" cy="195072"/>
            </a:xfrm>
            <a:custGeom>
              <a:avLst/>
              <a:gdLst>
                <a:gd name="connsiteX0" fmla="*/ 98999 w 195072"/>
                <a:gd name="connsiteY0" fmla="*/ 0 h 195071"/>
                <a:gd name="connsiteX1" fmla="*/ 134112 w 195072"/>
                <a:gd name="connsiteY1" fmla="*/ 64130 h 195071"/>
                <a:gd name="connsiteX2" fmla="*/ 198242 w 195072"/>
                <a:gd name="connsiteY2" fmla="*/ 99243 h 195071"/>
                <a:gd name="connsiteX3" fmla="*/ 134112 w 195072"/>
                <a:gd name="connsiteY3" fmla="*/ 134356 h 195071"/>
                <a:gd name="connsiteX4" fmla="*/ 98999 w 195072"/>
                <a:gd name="connsiteY4" fmla="*/ 198242 h 195071"/>
                <a:gd name="connsiteX5" fmla="*/ 64130 w 195072"/>
                <a:gd name="connsiteY5" fmla="*/ 134356 h 195071"/>
                <a:gd name="connsiteX6" fmla="*/ 0 w 195072"/>
                <a:gd name="connsiteY6" fmla="*/ 99243 h 195071"/>
                <a:gd name="connsiteX7" fmla="*/ 64130 w 195072"/>
                <a:gd name="connsiteY7" fmla="*/ 64130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999" y="0"/>
                  </a:moveTo>
                  <a:lnTo>
                    <a:pt x="134112" y="64130"/>
                  </a:lnTo>
                  <a:lnTo>
                    <a:pt x="198242" y="99243"/>
                  </a:lnTo>
                  <a:lnTo>
                    <a:pt x="134112" y="134356"/>
                  </a:lnTo>
                  <a:lnTo>
                    <a:pt x="98999" y="198242"/>
                  </a:lnTo>
                  <a:lnTo>
                    <a:pt x="64130" y="134356"/>
                  </a:lnTo>
                  <a:lnTo>
                    <a:pt x="0" y="99243"/>
                  </a:lnTo>
                  <a:lnTo>
                    <a:pt x="64130" y="64130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81D18C9-ECA0-4A34-B35D-BCEAA01DFDA7}"/>
                </a:ext>
              </a:extLst>
            </p:cNvPr>
            <p:cNvSpPr/>
            <p:nvPr/>
          </p:nvSpPr>
          <p:spPr>
            <a:xfrm>
              <a:off x="2900477" y="1127312"/>
              <a:ext cx="292608" cy="292608"/>
            </a:xfrm>
            <a:custGeom>
              <a:avLst/>
              <a:gdLst>
                <a:gd name="connsiteX0" fmla="*/ 150937 w 292608"/>
                <a:gd name="connsiteY0" fmla="*/ 0 h 292607"/>
                <a:gd name="connsiteX1" fmla="*/ 204338 w 292608"/>
                <a:gd name="connsiteY1" fmla="*/ 97780 h 292607"/>
                <a:gd name="connsiteX2" fmla="*/ 301874 w 292608"/>
                <a:gd name="connsiteY2" fmla="*/ 150937 h 292607"/>
                <a:gd name="connsiteX3" fmla="*/ 204338 w 292608"/>
                <a:gd name="connsiteY3" fmla="*/ 204338 h 292607"/>
                <a:gd name="connsiteX4" fmla="*/ 150937 w 292608"/>
                <a:gd name="connsiteY4" fmla="*/ 301874 h 292607"/>
                <a:gd name="connsiteX5" fmla="*/ 97536 w 292608"/>
                <a:gd name="connsiteY5" fmla="*/ 204338 h 292607"/>
                <a:gd name="connsiteX6" fmla="*/ 0 w 292608"/>
                <a:gd name="connsiteY6" fmla="*/ 150937 h 292607"/>
                <a:gd name="connsiteX7" fmla="*/ 97536 w 292608"/>
                <a:gd name="connsiteY7" fmla="*/ 97780 h 292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608" h="292607">
                  <a:moveTo>
                    <a:pt x="150937" y="0"/>
                  </a:moveTo>
                  <a:lnTo>
                    <a:pt x="204338" y="97780"/>
                  </a:lnTo>
                  <a:lnTo>
                    <a:pt x="301874" y="150937"/>
                  </a:lnTo>
                  <a:lnTo>
                    <a:pt x="204338" y="204338"/>
                  </a:lnTo>
                  <a:lnTo>
                    <a:pt x="150937" y="301874"/>
                  </a:lnTo>
                  <a:lnTo>
                    <a:pt x="97536" y="204338"/>
                  </a:lnTo>
                  <a:lnTo>
                    <a:pt x="0" y="150937"/>
                  </a:lnTo>
                  <a:lnTo>
                    <a:pt x="97536" y="97780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ABCB4FD1-9965-46F9-8916-6E8532F6B3C1}"/>
                </a:ext>
              </a:extLst>
            </p:cNvPr>
            <p:cNvSpPr/>
            <p:nvPr/>
          </p:nvSpPr>
          <p:spPr>
            <a:xfrm>
              <a:off x="6842882" y="1924425"/>
              <a:ext cx="195072" cy="195072"/>
            </a:xfrm>
            <a:custGeom>
              <a:avLst/>
              <a:gdLst>
                <a:gd name="connsiteX0" fmla="*/ 102169 w 195072"/>
                <a:gd name="connsiteY0" fmla="*/ 0 h 195071"/>
                <a:gd name="connsiteX1" fmla="*/ 138257 w 195072"/>
                <a:gd name="connsiteY1" fmla="*/ 66081 h 195071"/>
                <a:gd name="connsiteX2" fmla="*/ 204338 w 195072"/>
                <a:gd name="connsiteY2" fmla="*/ 102169 h 195071"/>
                <a:gd name="connsiteX3" fmla="*/ 138257 w 195072"/>
                <a:gd name="connsiteY3" fmla="*/ 138257 h 195071"/>
                <a:gd name="connsiteX4" fmla="*/ 102169 w 195072"/>
                <a:gd name="connsiteY4" fmla="*/ 204338 h 195071"/>
                <a:gd name="connsiteX5" fmla="*/ 66080 w 195072"/>
                <a:gd name="connsiteY5" fmla="*/ 138257 h 195071"/>
                <a:gd name="connsiteX6" fmla="*/ 0 w 195072"/>
                <a:gd name="connsiteY6" fmla="*/ 102169 h 195071"/>
                <a:gd name="connsiteX7" fmla="*/ 66080 w 195072"/>
                <a:gd name="connsiteY7" fmla="*/ 66081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102169" y="0"/>
                  </a:moveTo>
                  <a:lnTo>
                    <a:pt x="138257" y="66081"/>
                  </a:lnTo>
                  <a:lnTo>
                    <a:pt x="204338" y="102169"/>
                  </a:lnTo>
                  <a:lnTo>
                    <a:pt x="138257" y="138257"/>
                  </a:lnTo>
                  <a:lnTo>
                    <a:pt x="102169" y="204338"/>
                  </a:lnTo>
                  <a:lnTo>
                    <a:pt x="66080" y="138257"/>
                  </a:lnTo>
                  <a:lnTo>
                    <a:pt x="0" y="102169"/>
                  </a:lnTo>
                  <a:lnTo>
                    <a:pt x="66080" y="66081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94F8D03D-7B12-433F-9497-B6E4EA7E34CD}"/>
                </a:ext>
              </a:extLst>
            </p:cNvPr>
            <p:cNvSpPr/>
            <p:nvPr/>
          </p:nvSpPr>
          <p:spPr>
            <a:xfrm>
              <a:off x="4904354" y="207999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7 w 97536"/>
                <a:gd name="connsiteY1" fmla="*/ 31699 h 97535"/>
                <a:gd name="connsiteX2" fmla="*/ 97536 w 97536"/>
                <a:gd name="connsiteY2" fmla="*/ 48768 h 97535"/>
                <a:gd name="connsiteX3" fmla="*/ 65837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699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7" y="31699"/>
                  </a:lnTo>
                  <a:lnTo>
                    <a:pt x="97536" y="48768"/>
                  </a:lnTo>
                  <a:lnTo>
                    <a:pt x="65837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699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F28B539-DBDC-4BD5-89AF-27CA0D0C36AD}"/>
                </a:ext>
              </a:extLst>
            </p:cNvPr>
            <p:cNvSpPr/>
            <p:nvPr/>
          </p:nvSpPr>
          <p:spPr>
            <a:xfrm>
              <a:off x="8252765" y="-91644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5836 w 97536"/>
                <a:gd name="connsiteY1" fmla="*/ 31455 h 97535"/>
                <a:gd name="connsiteX2" fmla="*/ 97536 w 97536"/>
                <a:gd name="connsiteY2" fmla="*/ 48768 h 97535"/>
                <a:gd name="connsiteX3" fmla="*/ 65836 w 97536"/>
                <a:gd name="connsiteY3" fmla="*/ 66081 h 97535"/>
                <a:gd name="connsiteX4" fmla="*/ 48768 w 97536"/>
                <a:gd name="connsiteY4" fmla="*/ 97536 h 97535"/>
                <a:gd name="connsiteX5" fmla="*/ 31455 w 97536"/>
                <a:gd name="connsiteY5" fmla="*/ 66081 h 97535"/>
                <a:gd name="connsiteX6" fmla="*/ 0 w 97536"/>
                <a:gd name="connsiteY6" fmla="*/ 48768 h 97535"/>
                <a:gd name="connsiteX7" fmla="*/ 31455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5836" y="31455"/>
                  </a:lnTo>
                  <a:lnTo>
                    <a:pt x="97536" y="48768"/>
                  </a:lnTo>
                  <a:lnTo>
                    <a:pt x="65836" y="66081"/>
                  </a:lnTo>
                  <a:lnTo>
                    <a:pt x="48768" y="97536"/>
                  </a:lnTo>
                  <a:lnTo>
                    <a:pt x="31455" y="66081"/>
                  </a:lnTo>
                  <a:lnTo>
                    <a:pt x="0" y="48768"/>
                  </a:lnTo>
                  <a:lnTo>
                    <a:pt x="31455" y="31455"/>
                  </a:lnTo>
                  <a:close/>
                </a:path>
              </a:pathLst>
            </a:custGeom>
            <a:solidFill>
              <a:srgbClr val="FDF2DE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90E6826-7FF2-42F0-B938-D9F0FE3F8F63}"/>
                </a:ext>
              </a:extLst>
            </p:cNvPr>
            <p:cNvSpPr/>
            <p:nvPr/>
          </p:nvSpPr>
          <p:spPr>
            <a:xfrm>
              <a:off x="4430817" y="559165"/>
              <a:ext cx="97536" cy="97536"/>
            </a:xfrm>
            <a:custGeom>
              <a:avLst/>
              <a:gdLst>
                <a:gd name="connsiteX0" fmla="*/ 48768 w 97536"/>
                <a:gd name="connsiteY0" fmla="*/ 0 h 97535"/>
                <a:gd name="connsiteX1" fmla="*/ 66080 w 97536"/>
                <a:gd name="connsiteY1" fmla="*/ 31455 h 97535"/>
                <a:gd name="connsiteX2" fmla="*/ 97536 w 97536"/>
                <a:gd name="connsiteY2" fmla="*/ 48768 h 97535"/>
                <a:gd name="connsiteX3" fmla="*/ 66080 w 97536"/>
                <a:gd name="connsiteY3" fmla="*/ 65837 h 97535"/>
                <a:gd name="connsiteX4" fmla="*/ 48768 w 97536"/>
                <a:gd name="connsiteY4" fmla="*/ 97536 h 97535"/>
                <a:gd name="connsiteX5" fmla="*/ 31699 w 97536"/>
                <a:gd name="connsiteY5" fmla="*/ 65837 h 97535"/>
                <a:gd name="connsiteX6" fmla="*/ 0 w 97536"/>
                <a:gd name="connsiteY6" fmla="*/ 48768 h 97535"/>
                <a:gd name="connsiteX7" fmla="*/ 31699 w 97536"/>
                <a:gd name="connsiteY7" fmla="*/ 31455 h 97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7536" h="97535">
                  <a:moveTo>
                    <a:pt x="48768" y="0"/>
                  </a:moveTo>
                  <a:lnTo>
                    <a:pt x="66080" y="31455"/>
                  </a:lnTo>
                  <a:lnTo>
                    <a:pt x="97536" y="48768"/>
                  </a:lnTo>
                  <a:lnTo>
                    <a:pt x="66080" y="65837"/>
                  </a:lnTo>
                  <a:lnTo>
                    <a:pt x="48768" y="97536"/>
                  </a:lnTo>
                  <a:lnTo>
                    <a:pt x="31699" y="65837"/>
                  </a:lnTo>
                  <a:lnTo>
                    <a:pt x="0" y="48768"/>
                  </a:lnTo>
                  <a:lnTo>
                    <a:pt x="31699" y="31455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74F0CF91-E4DF-49E9-9C4C-A886D7B959EA}"/>
                </a:ext>
              </a:extLst>
            </p:cNvPr>
            <p:cNvSpPr/>
            <p:nvPr/>
          </p:nvSpPr>
          <p:spPr>
            <a:xfrm>
              <a:off x="10607771" y="402132"/>
              <a:ext cx="195072" cy="195072"/>
            </a:xfrm>
            <a:custGeom>
              <a:avLst/>
              <a:gdLst>
                <a:gd name="connsiteX0" fmla="*/ 98755 w 195072"/>
                <a:gd name="connsiteY0" fmla="*/ 0 h 195071"/>
                <a:gd name="connsiteX1" fmla="*/ 133625 w 195072"/>
                <a:gd name="connsiteY1" fmla="*/ 63886 h 195071"/>
                <a:gd name="connsiteX2" fmla="*/ 197511 w 195072"/>
                <a:gd name="connsiteY2" fmla="*/ 98755 h 195071"/>
                <a:gd name="connsiteX3" fmla="*/ 133625 w 195072"/>
                <a:gd name="connsiteY3" fmla="*/ 133868 h 195071"/>
                <a:gd name="connsiteX4" fmla="*/ 98755 w 195072"/>
                <a:gd name="connsiteY4" fmla="*/ 197754 h 195071"/>
                <a:gd name="connsiteX5" fmla="*/ 63886 w 195072"/>
                <a:gd name="connsiteY5" fmla="*/ 133868 h 195071"/>
                <a:gd name="connsiteX6" fmla="*/ 0 w 195072"/>
                <a:gd name="connsiteY6" fmla="*/ 98755 h 195071"/>
                <a:gd name="connsiteX7" fmla="*/ 63886 w 195072"/>
                <a:gd name="connsiteY7" fmla="*/ 63886 h 195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5072" h="195071">
                  <a:moveTo>
                    <a:pt x="98755" y="0"/>
                  </a:moveTo>
                  <a:lnTo>
                    <a:pt x="133625" y="63886"/>
                  </a:lnTo>
                  <a:lnTo>
                    <a:pt x="197511" y="98755"/>
                  </a:lnTo>
                  <a:lnTo>
                    <a:pt x="133625" y="133868"/>
                  </a:lnTo>
                  <a:lnTo>
                    <a:pt x="98755" y="197754"/>
                  </a:lnTo>
                  <a:lnTo>
                    <a:pt x="63886" y="133868"/>
                  </a:lnTo>
                  <a:lnTo>
                    <a:pt x="0" y="98755"/>
                  </a:lnTo>
                  <a:lnTo>
                    <a:pt x="63886" y="63886"/>
                  </a:lnTo>
                  <a:close/>
                </a:path>
              </a:pathLst>
            </a:custGeom>
            <a:solidFill>
              <a:srgbClr val="EB6B59"/>
            </a:solidFill>
            <a:ln w="2438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83F48F-DFCB-4F62-817C-DC39CB442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762" y="6453188"/>
            <a:ext cx="2743200" cy="268287"/>
          </a:xfrm>
        </p:spPr>
        <p:txBody>
          <a:bodyPr/>
          <a:lstStyle/>
          <a:p>
            <a:fld id="{E0BDCBD0-93B5-4B61-86F8-939F02C82BA8}" type="slidenum">
              <a:rPr lang="en-US" b="0" smtClean="0"/>
              <a:pPr/>
              <a:t>5</a:t>
            </a:fld>
            <a:endParaRPr lang="en-US" b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6DDCA62-0250-4BBC-9642-364177A6B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1148"/>
            <a:ext cx="12192000" cy="1768851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ogle </a:t>
            </a:r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аблицы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E49967D6-5ACE-425B-802E-9CB2DDD8C28D}"/>
              </a:ext>
            </a:extLst>
          </p:cNvPr>
          <p:cNvGrpSpPr/>
          <p:nvPr/>
        </p:nvGrpSpPr>
        <p:grpSpPr>
          <a:xfrm rot="1328355">
            <a:off x="7542189" y="457667"/>
            <a:ext cx="227287" cy="227287"/>
            <a:chOff x="13389778" y="2334193"/>
            <a:chExt cx="351340" cy="351340"/>
          </a:xfrm>
        </p:grpSpPr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3F3D4A40-7EE3-4F55-8403-DE56E6D414B4}"/>
                </a:ext>
              </a:extLst>
            </p:cNvPr>
            <p:cNvSpPr/>
            <p:nvPr/>
          </p:nvSpPr>
          <p:spPr>
            <a:xfrm>
              <a:off x="13389778" y="2334193"/>
              <a:ext cx="351340" cy="351340"/>
            </a:xfrm>
            <a:custGeom>
              <a:avLst/>
              <a:gdLst>
                <a:gd name="connsiteX0" fmla="*/ 353529 w 351339"/>
                <a:gd name="connsiteY0" fmla="*/ 141219 h 351339"/>
                <a:gd name="connsiteX1" fmla="*/ 216339 w 351339"/>
                <a:gd name="connsiteY1" fmla="*/ 353529 h 351339"/>
                <a:gd name="connsiteX2" fmla="*/ 4030 w 351339"/>
                <a:gd name="connsiteY2" fmla="*/ 216339 h 351339"/>
                <a:gd name="connsiteX3" fmla="*/ 141219 w 351339"/>
                <a:gd name="connsiteY3" fmla="*/ 4030 h 351339"/>
                <a:gd name="connsiteX4" fmla="*/ 353529 w 351339"/>
                <a:gd name="connsiteY4" fmla="*/ 141219 h 351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1339" h="351339">
                  <a:moveTo>
                    <a:pt x="353529" y="141219"/>
                  </a:moveTo>
                  <a:cubicBezTo>
                    <a:pt x="374275" y="237754"/>
                    <a:pt x="312874" y="332783"/>
                    <a:pt x="216339" y="353529"/>
                  </a:cubicBezTo>
                  <a:cubicBezTo>
                    <a:pt x="119804" y="374275"/>
                    <a:pt x="24775" y="312874"/>
                    <a:pt x="4030" y="216339"/>
                  </a:cubicBezTo>
                  <a:cubicBezTo>
                    <a:pt x="-16716" y="119804"/>
                    <a:pt x="44685" y="24775"/>
                    <a:pt x="141219" y="4030"/>
                  </a:cubicBezTo>
                  <a:cubicBezTo>
                    <a:pt x="237754" y="-16716"/>
                    <a:pt x="332783" y="44685"/>
                    <a:pt x="353529" y="141219"/>
                  </a:cubicBezTo>
                  <a:close/>
                </a:path>
              </a:pathLst>
            </a:custGeom>
            <a:solidFill>
              <a:srgbClr val="DB2828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F88D5018-2CD4-4C89-9DE0-421776886AC3}"/>
                </a:ext>
              </a:extLst>
            </p:cNvPr>
            <p:cNvSpPr/>
            <p:nvPr/>
          </p:nvSpPr>
          <p:spPr>
            <a:xfrm>
              <a:off x="13463556" y="2429170"/>
              <a:ext cx="200765" cy="184035"/>
            </a:xfrm>
            <a:custGeom>
              <a:avLst/>
              <a:gdLst>
                <a:gd name="connsiteX0" fmla="*/ 127002 w 200765"/>
                <a:gd name="connsiteY0" fmla="*/ 185607 h 184035"/>
                <a:gd name="connsiteX1" fmla="*/ 11896 w 200765"/>
                <a:gd name="connsiteY1" fmla="*/ 38379 h 184035"/>
                <a:gd name="connsiteX2" fmla="*/ 100233 w 200765"/>
                <a:gd name="connsiteY2" fmla="*/ 61132 h 184035"/>
                <a:gd name="connsiteX3" fmla="*/ 171505 w 200765"/>
                <a:gd name="connsiteY3" fmla="*/ 4081 h 184035"/>
                <a:gd name="connsiteX4" fmla="*/ 127002 w 200765"/>
                <a:gd name="connsiteY4" fmla="*/ 185607 h 184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65" h="184035">
                  <a:moveTo>
                    <a:pt x="127002" y="185607"/>
                  </a:moveTo>
                  <a:cubicBezTo>
                    <a:pt x="13569" y="162686"/>
                    <a:pt x="-21063" y="71840"/>
                    <a:pt x="11896" y="38379"/>
                  </a:cubicBezTo>
                  <a:cubicBezTo>
                    <a:pt x="56232" y="-6459"/>
                    <a:pt x="100233" y="61132"/>
                    <a:pt x="100233" y="61132"/>
                  </a:cubicBezTo>
                  <a:cubicBezTo>
                    <a:pt x="100233" y="61132"/>
                    <a:pt x="112613" y="-18672"/>
                    <a:pt x="171505" y="4081"/>
                  </a:cubicBezTo>
                  <a:cubicBezTo>
                    <a:pt x="215171" y="21146"/>
                    <a:pt x="221027" y="118016"/>
                    <a:pt x="127002" y="185607"/>
                  </a:cubicBezTo>
                  <a:close/>
                </a:path>
              </a:pathLst>
            </a:custGeom>
            <a:solidFill>
              <a:srgbClr val="FFFFFF"/>
            </a:solidFill>
            <a:ln w="1670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8D3F449-939B-49E2-97BF-BB0BEF9525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5038" y="1624101"/>
            <a:ext cx="10075303" cy="3663717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BED7EE3-0C5E-48B8-8440-449709D474F0}"/>
              </a:ext>
            </a:extLst>
          </p:cNvPr>
          <p:cNvSpPr txBox="1"/>
          <p:nvPr/>
        </p:nvSpPr>
        <p:spPr>
          <a:xfrm>
            <a:off x="367660" y="5538155"/>
            <a:ext cx="113637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Ежедневный мониторинг состояния здоровья и посещаемости (утренняя перекличка) с помощью </a:t>
            </a:r>
            <a:r>
              <a:rPr lang="ru-RU" sz="1600" dirty="0" err="1">
                <a:latin typeface="Segoe UI" panose="020B0502040204020203" pitchFamily="34" charset="0"/>
                <a:cs typeface="Segoe UI" panose="020B0502040204020203" pitchFamily="34" charset="0"/>
              </a:rPr>
              <a:t>Google</a:t>
            </a:r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 Таблицы</a:t>
            </a:r>
            <a:b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dirty="0">
                <a:latin typeface="Segoe UI" panose="020B0502040204020203" pitchFamily="34" charset="0"/>
                <a:cs typeface="Segoe UI" panose="020B0502040204020203" pitchFamily="34" charset="0"/>
              </a:rPr>
              <a:t>с выпадающим списком вариантов ответов: «Я здоров(а) и готов(а) к уроку/Я заболел(а)». Быстрое анкетирование учащихся.</a:t>
            </a:r>
          </a:p>
        </p:txBody>
      </p:sp>
    </p:spTree>
    <p:extLst>
      <p:ext uri="{BB962C8B-B14F-4D97-AF65-F5344CB8AC3E}">
        <p14:creationId xmlns:p14="http://schemas.microsoft.com/office/powerpoint/2010/main" val="15509488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73A7CE6-7D49-49E8-8BA4-1D8C83EC7131}"/>
              </a:ext>
            </a:extLst>
          </p:cNvPr>
          <p:cNvSpPr/>
          <p:nvPr/>
        </p:nvSpPr>
        <p:spPr>
          <a:xfrm>
            <a:off x="0" y="0"/>
            <a:ext cx="4880008" cy="6858000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9A6E10-591C-4B02-82AA-479EF78F6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63" y="347617"/>
            <a:ext cx="3906202" cy="678656"/>
          </a:xfrm>
        </p:spPr>
        <p:txBody>
          <a:bodyPr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ogle </a:t>
            </a:r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аблицы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4220CCB-3AB9-4239-8B38-3DA9A8554954}"/>
              </a:ext>
            </a:extLst>
          </p:cNvPr>
          <p:cNvSpPr/>
          <p:nvPr/>
        </p:nvSpPr>
        <p:spPr>
          <a:xfrm>
            <a:off x="0" y="2604282"/>
            <a:ext cx="3754392" cy="4253718"/>
          </a:xfrm>
          <a:custGeom>
            <a:avLst/>
            <a:gdLst>
              <a:gd name="connsiteX0" fmla="*/ 0 w 3754392"/>
              <a:gd name="connsiteY0" fmla="*/ 0 h 4231726"/>
              <a:gd name="connsiteX1" fmla="*/ 72692 w 3754392"/>
              <a:gd name="connsiteY1" fmla="*/ 1838 h 4231726"/>
              <a:gd name="connsiteX2" fmla="*/ 3754392 w 3754392"/>
              <a:gd name="connsiteY2" fmla="*/ 3878225 h 4231726"/>
              <a:gd name="connsiteX3" fmla="*/ 3749341 w 3754392"/>
              <a:gd name="connsiteY3" fmla="*/ 4077963 h 4231726"/>
              <a:gd name="connsiteX4" fmla="*/ 3737650 w 3754392"/>
              <a:gd name="connsiteY4" fmla="*/ 4231726 h 4231726"/>
              <a:gd name="connsiteX5" fmla="*/ 0 w 3754392"/>
              <a:gd name="connsiteY5" fmla="*/ 4231726 h 4231726"/>
              <a:gd name="connsiteX6" fmla="*/ 0 w 3754392"/>
              <a:gd name="connsiteY6" fmla="*/ 0 h 4231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54392" h="4231726">
                <a:moveTo>
                  <a:pt x="0" y="0"/>
                </a:moveTo>
                <a:lnTo>
                  <a:pt x="72692" y="1838"/>
                </a:lnTo>
                <a:cubicBezTo>
                  <a:pt x="2123527" y="105794"/>
                  <a:pt x="3754392" y="1801555"/>
                  <a:pt x="3754392" y="3878225"/>
                </a:cubicBezTo>
                <a:cubicBezTo>
                  <a:pt x="3754392" y="3945214"/>
                  <a:pt x="3752695" y="4011807"/>
                  <a:pt x="3749341" y="4077963"/>
                </a:cubicBezTo>
                <a:lnTo>
                  <a:pt x="3737650" y="4231726"/>
                </a:lnTo>
                <a:lnTo>
                  <a:pt x="0" y="4231726"/>
                </a:lnTo>
                <a:lnTo>
                  <a:pt x="0" y="0"/>
                </a:lnTo>
                <a:close/>
              </a:path>
            </a:pathLst>
          </a:custGeom>
          <a:solidFill>
            <a:srgbClr val="2948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EEDB7BB-67BF-4F13-83AE-4F0395387D6B}"/>
              </a:ext>
            </a:extLst>
          </p:cNvPr>
          <p:cNvGrpSpPr/>
          <p:nvPr/>
        </p:nvGrpSpPr>
        <p:grpSpPr>
          <a:xfrm rot="1758132">
            <a:off x="3203491" y="2477768"/>
            <a:ext cx="649522" cy="574314"/>
            <a:chOff x="2191671" y="3790700"/>
            <a:chExt cx="904875" cy="8001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9ED76D1-DA3C-4272-A9B6-69392D513E9D}"/>
                </a:ext>
              </a:extLst>
            </p:cNvPr>
            <p:cNvSpPr/>
            <p:nvPr/>
          </p:nvSpPr>
          <p:spPr>
            <a:xfrm>
              <a:off x="2191671" y="3790700"/>
              <a:ext cx="904875" cy="800100"/>
            </a:xfrm>
            <a:custGeom>
              <a:avLst/>
              <a:gdLst>
                <a:gd name="connsiteX0" fmla="*/ 793807 w 904875"/>
                <a:gd name="connsiteY0" fmla="*/ 94576 h 800100"/>
                <a:gd name="connsiteX1" fmla="*/ 212305 w 904875"/>
                <a:gd name="connsiteY1" fmla="*/ 1708 h 800100"/>
                <a:gd name="connsiteX2" fmla="*/ 58858 w 904875"/>
                <a:gd name="connsiteY2" fmla="*/ 112864 h 800100"/>
                <a:gd name="connsiteX3" fmla="*/ 1708 w 904875"/>
                <a:gd name="connsiteY3" fmla="*/ 470623 h 800100"/>
                <a:gd name="connsiteX4" fmla="*/ 112864 w 904875"/>
                <a:gd name="connsiteY4" fmla="*/ 624071 h 800100"/>
                <a:gd name="connsiteX5" fmla="*/ 317938 w 904875"/>
                <a:gd name="connsiteY5" fmla="*/ 656837 h 800100"/>
                <a:gd name="connsiteX6" fmla="*/ 359657 w 904875"/>
                <a:gd name="connsiteY6" fmla="*/ 778662 h 800100"/>
                <a:gd name="connsiteX7" fmla="*/ 428237 w 904875"/>
                <a:gd name="connsiteY7" fmla="*/ 788282 h 800100"/>
                <a:gd name="connsiteX8" fmla="*/ 499770 w 904875"/>
                <a:gd name="connsiteY8" fmla="*/ 685888 h 800100"/>
                <a:gd name="connsiteX9" fmla="*/ 694366 w 904875"/>
                <a:gd name="connsiteY9" fmla="*/ 716940 h 800100"/>
                <a:gd name="connsiteX10" fmla="*/ 847813 w 904875"/>
                <a:gd name="connsiteY10" fmla="*/ 605783 h 800100"/>
                <a:gd name="connsiteX11" fmla="*/ 904963 w 904875"/>
                <a:gd name="connsiteY11" fmla="*/ 248024 h 800100"/>
                <a:gd name="connsiteX12" fmla="*/ 793807 w 904875"/>
                <a:gd name="connsiteY12" fmla="*/ 94576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4875" h="800100">
                  <a:moveTo>
                    <a:pt x="793807" y="94576"/>
                  </a:moveTo>
                  <a:lnTo>
                    <a:pt x="212305" y="1708"/>
                  </a:lnTo>
                  <a:cubicBezTo>
                    <a:pt x="139249" y="-10008"/>
                    <a:pt x="70573" y="39808"/>
                    <a:pt x="58858" y="112864"/>
                  </a:cubicBezTo>
                  <a:lnTo>
                    <a:pt x="1708" y="470623"/>
                  </a:lnTo>
                  <a:cubicBezTo>
                    <a:pt x="-10008" y="543680"/>
                    <a:pt x="39808" y="612355"/>
                    <a:pt x="112864" y="624071"/>
                  </a:cubicBezTo>
                  <a:lnTo>
                    <a:pt x="317938" y="656837"/>
                  </a:lnTo>
                  <a:lnTo>
                    <a:pt x="359657" y="778662"/>
                  </a:lnTo>
                  <a:cubicBezTo>
                    <a:pt x="369944" y="808761"/>
                    <a:pt x="410044" y="814381"/>
                    <a:pt x="428237" y="788282"/>
                  </a:cubicBezTo>
                  <a:lnTo>
                    <a:pt x="499770" y="685888"/>
                  </a:lnTo>
                  <a:lnTo>
                    <a:pt x="694366" y="716940"/>
                  </a:lnTo>
                  <a:cubicBezTo>
                    <a:pt x="767422" y="728560"/>
                    <a:pt x="836098" y="678840"/>
                    <a:pt x="847813" y="605783"/>
                  </a:cubicBezTo>
                  <a:lnTo>
                    <a:pt x="904963" y="248024"/>
                  </a:lnTo>
                  <a:cubicBezTo>
                    <a:pt x="916584" y="174967"/>
                    <a:pt x="866863" y="106292"/>
                    <a:pt x="793807" y="94576"/>
                  </a:cubicBezTo>
                  <a:close/>
                </a:path>
              </a:pathLst>
            </a:custGeom>
            <a:solidFill>
              <a:srgbClr val="F15268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98B0482-A803-4474-A1C9-5881DDEFC9B8}"/>
                </a:ext>
              </a:extLst>
            </p:cNvPr>
            <p:cNvSpPr/>
            <p:nvPr/>
          </p:nvSpPr>
          <p:spPr>
            <a:xfrm>
              <a:off x="2475277" y="3994502"/>
              <a:ext cx="361950" cy="314325"/>
            </a:xfrm>
            <a:custGeom>
              <a:avLst/>
              <a:gdLst>
                <a:gd name="connsiteX0" fmla="*/ 365802 w 361950"/>
                <a:gd name="connsiteY0" fmla="*/ 143853 h 314325"/>
                <a:gd name="connsiteX1" fmla="*/ 287506 w 361950"/>
                <a:gd name="connsiteY1" fmla="*/ 30791 h 314325"/>
                <a:gd name="connsiteX2" fmla="*/ 191113 w 361950"/>
                <a:gd name="connsiteY2" fmla="*/ 70796 h 314325"/>
                <a:gd name="connsiteX3" fmla="*/ 113103 w 361950"/>
                <a:gd name="connsiteY3" fmla="*/ 1550 h 314325"/>
                <a:gd name="connsiteX4" fmla="*/ 5376 w 361950"/>
                <a:gd name="connsiteY4" fmla="*/ 144615 h 314325"/>
                <a:gd name="connsiteX5" fmla="*/ 148346 w 361950"/>
                <a:gd name="connsiteY5" fmla="*/ 322066 h 314325"/>
                <a:gd name="connsiteX6" fmla="*/ 149584 w 361950"/>
                <a:gd name="connsiteY6" fmla="*/ 322256 h 314325"/>
                <a:gd name="connsiteX7" fmla="*/ 340846 w 361950"/>
                <a:gd name="connsiteY7" fmla="*/ 207290 h 314325"/>
                <a:gd name="connsiteX8" fmla="*/ 365802 w 361950"/>
                <a:gd name="connsiteY8" fmla="*/ 143853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950" h="314325">
                  <a:moveTo>
                    <a:pt x="365802" y="143853"/>
                  </a:moveTo>
                  <a:cubicBezTo>
                    <a:pt x="372469" y="92609"/>
                    <a:pt x="349323" y="41174"/>
                    <a:pt x="287506" y="30791"/>
                  </a:cubicBezTo>
                  <a:cubicBezTo>
                    <a:pt x="249120" y="24314"/>
                    <a:pt x="212354" y="41078"/>
                    <a:pt x="191113" y="70796"/>
                  </a:cubicBezTo>
                  <a:cubicBezTo>
                    <a:pt x="180731" y="35840"/>
                    <a:pt x="151489" y="7931"/>
                    <a:pt x="113103" y="1550"/>
                  </a:cubicBezTo>
                  <a:cubicBezTo>
                    <a:pt x="28426" y="-12643"/>
                    <a:pt x="-16151" y="73463"/>
                    <a:pt x="5376" y="144615"/>
                  </a:cubicBezTo>
                  <a:cubicBezTo>
                    <a:pt x="28140" y="219863"/>
                    <a:pt x="82528" y="280727"/>
                    <a:pt x="148346" y="322066"/>
                  </a:cubicBezTo>
                  <a:lnTo>
                    <a:pt x="149584" y="322256"/>
                  </a:lnTo>
                  <a:cubicBezTo>
                    <a:pt x="220926" y="305683"/>
                    <a:pt x="297222" y="268059"/>
                    <a:pt x="340846" y="207290"/>
                  </a:cubicBezTo>
                  <a:cubicBezTo>
                    <a:pt x="354276" y="188430"/>
                    <a:pt x="362849" y="166142"/>
                    <a:pt x="365802" y="143853"/>
                  </a:cubicBezTo>
                  <a:close/>
                </a:path>
              </a:pathLst>
            </a:custGeom>
            <a:solidFill>
              <a:srgbClr val="F4F5F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A5AA195-CBD7-40F4-813F-67FAA35AF518}"/>
              </a:ext>
            </a:extLst>
          </p:cNvPr>
          <p:cNvGrpSpPr/>
          <p:nvPr/>
        </p:nvGrpSpPr>
        <p:grpSpPr>
          <a:xfrm>
            <a:off x="2393742" y="2752970"/>
            <a:ext cx="676870" cy="594825"/>
            <a:chOff x="1492752" y="5127283"/>
            <a:chExt cx="942975" cy="828675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74D6DD8-F117-4588-B059-1BD9CFF1CB8E}"/>
                </a:ext>
              </a:extLst>
            </p:cNvPr>
            <p:cNvSpPr/>
            <p:nvPr/>
          </p:nvSpPr>
          <p:spPr>
            <a:xfrm>
              <a:off x="1492752" y="5127283"/>
              <a:ext cx="942975" cy="828675"/>
            </a:xfrm>
            <a:custGeom>
              <a:avLst/>
              <a:gdLst>
                <a:gd name="connsiteX0" fmla="*/ 628766 w 942975"/>
                <a:gd name="connsiteY0" fmla="*/ 9928 h 828675"/>
                <a:gd name="connsiteX1" fmla="*/ 83460 w 942975"/>
                <a:gd name="connsiteY1" fmla="*/ 232147 h 828675"/>
                <a:gd name="connsiteX2" fmla="*/ 9927 w 942975"/>
                <a:gd name="connsiteY2" fmla="*/ 406740 h 828675"/>
                <a:gd name="connsiteX3" fmla="*/ 146611 w 942975"/>
                <a:gd name="connsiteY3" fmla="*/ 742211 h 828675"/>
                <a:gd name="connsiteX4" fmla="*/ 321204 w 942975"/>
                <a:gd name="connsiteY4" fmla="*/ 815744 h 828675"/>
                <a:gd name="connsiteX5" fmla="*/ 513514 w 942975"/>
                <a:gd name="connsiteY5" fmla="*/ 737353 h 828675"/>
                <a:gd name="connsiteX6" fmla="*/ 612383 w 942975"/>
                <a:gd name="connsiteY6" fmla="*/ 819839 h 828675"/>
                <a:gd name="connsiteX7" fmla="*/ 676010 w 942975"/>
                <a:gd name="connsiteY7" fmla="*/ 792503 h 828675"/>
                <a:gd name="connsiteX8" fmla="*/ 684107 w 942975"/>
                <a:gd name="connsiteY8" fmla="*/ 667820 h 828675"/>
                <a:gd name="connsiteX9" fmla="*/ 866606 w 942975"/>
                <a:gd name="connsiteY9" fmla="*/ 593430 h 828675"/>
                <a:gd name="connsiteX10" fmla="*/ 940139 w 942975"/>
                <a:gd name="connsiteY10" fmla="*/ 418837 h 828675"/>
                <a:gd name="connsiteX11" fmla="*/ 803455 w 942975"/>
                <a:gd name="connsiteY11" fmla="*/ 83366 h 828675"/>
                <a:gd name="connsiteX12" fmla="*/ 628766 w 942975"/>
                <a:gd name="connsiteY12" fmla="*/ 9928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2975" h="828675">
                  <a:moveTo>
                    <a:pt x="628766" y="9928"/>
                  </a:moveTo>
                  <a:lnTo>
                    <a:pt x="83460" y="232147"/>
                  </a:lnTo>
                  <a:cubicBezTo>
                    <a:pt x="14975" y="260055"/>
                    <a:pt x="-17981" y="338255"/>
                    <a:pt x="9927" y="406740"/>
                  </a:cubicBezTo>
                  <a:lnTo>
                    <a:pt x="146611" y="742211"/>
                  </a:lnTo>
                  <a:cubicBezTo>
                    <a:pt x="174519" y="810695"/>
                    <a:pt x="252719" y="843652"/>
                    <a:pt x="321204" y="815744"/>
                  </a:cubicBezTo>
                  <a:lnTo>
                    <a:pt x="513514" y="737353"/>
                  </a:lnTo>
                  <a:lnTo>
                    <a:pt x="612383" y="819839"/>
                  </a:lnTo>
                  <a:cubicBezTo>
                    <a:pt x="636767" y="840223"/>
                    <a:pt x="673915" y="824221"/>
                    <a:pt x="676010" y="792503"/>
                  </a:cubicBezTo>
                  <a:lnTo>
                    <a:pt x="684107" y="667820"/>
                  </a:lnTo>
                  <a:lnTo>
                    <a:pt x="866606" y="593430"/>
                  </a:lnTo>
                  <a:cubicBezTo>
                    <a:pt x="935090" y="565522"/>
                    <a:pt x="968047" y="487321"/>
                    <a:pt x="940139" y="418837"/>
                  </a:cubicBezTo>
                  <a:lnTo>
                    <a:pt x="803455" y="83366"/>
                  </a:lnTo>
                  <a:cubicBezTo>
                    <a:pt x="775547" y="14977"/>
                    <a:pt x="697346" y="-17980"/>
                    <a:pt x="628766" y="9928"/>
                  </a:cubicBezTo>
                  <a:close/>
                </a:path>
              </a:pathLst>
            </a:custGeom>
            <a:solidFill>
              <a:srgbClr val="F15268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96BBD93-0E76-463E-82A8-F6999C20D84F}"/>
                </a:ext>
              </a:extLst>
            </p:cNvPr>
            <p:cNvSpPr/>
            <p:nvPr/>
          </p:nvSpPr>
          <p:spPr>
            <a:xfrm>
              <a:off x="1779694" y="5364712"/>
              <a:ext cx="352425" cy="323850"/>
            </a:xfrm>
            <a:custGeom>
              <a:avLst/>
              <a:gdLst>
                <a:gd name="connsiteX0" fmla="*/ 349635 w 352425"/>
                <a:gd name="connsiteY0" fmla="*/ 63774 h 323850"/>
                <a:gd name="connsiteX1" fmla="*/ 224000 w 352425"/>
                <a:gd name="connsiteY1" fmla="*/ 7767 h 323850"/>
                <a:gd name="connsiteX2" fmla="*/ 162373 w 352425"/>
                <a:gd name="connsiteY2" fmla="*/ 91968 h 323850"/>
                <a:gd name="connsiteX3" fmla="*/ 59694 w 352425"/>
                <a:gd name="connsiteY3" fmla="*/ 73204 h 323850"/>
                <a:gd name="connsiteX4" fmla="*/ 41787 w 352425"/>
                <a:gd name="connsiteY4" fmla="*/ 251417 h 323850"/>
                <a:gd name="connsiteX5" fmla="*/ 256004 w 352425"/>
                <a:gd name="connsiteY5" fmla="*/ 329046 h 323850"/>
                <a:gd name="connsiteX6" fmla="*/ 257242 w 352425"/>
                <a:gd name="connsiteY6" fmla="*/ 328569 h 323850"/>
                <a:gd name="connsiteX7" fmla="*/ 361065 w 352425"/>
                <a:gd name="connsiteY7" fmla="*/ 131116 h 323850"/>
                <a:gd name="connsiteX8" fmla="*/ 349635 w 352425"/>
                <a:gd name="connsiteY8" fmla="*/ 6377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425" h="323850">
                  <a:moveTo>
                    <a:pt x="349635" y="63774"/>
                  </a:moveTo>
                  <a:cubicBezTo>
                    <a:pt x="328775" y="16435"/>
                    <a:pt x="282293" y="-15474"/>
                    <a:pt x="224000" y="7767"/>
                  </a:cubicBezTo>
                  <a:cubicBezTo>
                    <a:pt x="187900" y="22150"/>
                    <a:pt x="165040" y="55583"/>
                    <a:pt x="162373" y="91968"/>
                  </a:cubicBezTo>
                  <a:cubicBezTo>
                    <a:pt x="135417" y="67489"/>
                    <a:pt x="95889" y="58821"/>
                    <a:pt x="59694" y="73204"/>
                  </a:cubicBezTo>
                  <a:cubicBezTo>
                    <a:pt x="-20031" y="104922"/>
                    <a:pt x="-13554" y="201696"/>
                    <a:pt x="41787" y="251417"/>
                  </a:cubicBezTo>
                  <a:cubicBezTo>
                    <a:pt x="100270" y="303995"/>
                    <a:pt x="178375" y="327807"/>
                    <a:pt x="256004" y="329046"/>
                  </a:cubicBezTo>
                  <a:lnTo>
                    <a:pt x="257242" y="328569"/>
                  </a:lnTo>
                  <a:cubicBezTo>
                    <a:pt x="309630" y="277325"/>
                    <a:pt x="355350" y="205697"/>
                    <a:pt x="361065" y="131116"/>
                  </a:cubicBezTo>
                  <a:cubicBezTo>
                    <a:pt x="362970" y="107875"/>
                    <a:pt x="358683" y="84348"/>
                    <a:pt x="349635" y="63774"/>
                  </a:cubicBezTo>
                  <a:close/>
                </a:path>
              </a:pathLst>
            </a:custGeom>
            <a:solidFill>
              <a:srgbClr val="F4F5F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A3EC4A5-CE10-43F2-8783-886524EB1AB2}"/>
              </a:ext>
            </a:extLst>
          </p:cNvPr>
          <p:cNvGrpSpPr/>
          <p:nvPr/>
        </p:nvGrpSpPr>
        <p:grpSpPr>
          <a:xfrm rot="2917994">
            <a:off x="3167304" y="3300520"/>
            <a:ext cx="594825" cy="526455"/>
            <a:chOff x="1644063" y="6099154"/>
            <a:chExt cx="828675" cy="733425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7EE3E34-A89E-4F6F-BBCB-66B5854AFA70}"/>
                </a:ext>
              </a:extLst>
            </p:cNvPr>
            <p:cNvSpPr/>
            <p:nvPr/>
          </p:nvSpPr>
          <p:spPr>
            <a:xfrm>
              <a:off x="1644063" y="6099154"/>
              <a:ext cx="828675" cy="733425"/>
            </a:xfrm>
            <a:custGeom>
              <a:avLst/>
              <a:gdLst>
                <a:gd name="connsiteX0" fmla="*/ 730581 w 828675"/>
                <a:gd name="connsiteY0" fmla="*/ 81167 h 733425"/>
                <a:gd name="connsiteX1" fmla="*/ 191371 w 828675"/>
                <a:gd name="connsiteY1" fmla="*/ 1347 h 733425"/>
                <a:gd name="connsiteX2" fmla="*/ 50496 w 828675"/>
                <a:gd name="connsiteY2" fmla="*/ 105836 h 733425"/>
                <a:gd name="connsiteX3" fmla="*/ 1347 w 828675"/>
                <a:gd name="connsiteY3" fmla="*/ 437497 h 733425"/>
                <a:gd name="connsiteX4" fmla="*/ 105836 w 828675"/>
                <a:gd name="connsiteY4" fmla="*/ 578372 h 733425"/>
                <a:gd name="connsiteX5" fmla="*/ 296051 w 828675"/>
                <a:gd name="connsiteY5" fmla="*/ 606566 h 733425"/>
                <a:gd name="connsiteX6" fmla="*/ 335960 w 828675"/>
                <a:gd name="connsiteY6" fmla="*/ 718865 h 733425"/>
                <a:gd name="connsiteX7" fmla="*/ 399492 w 828675"/>
                <a:gd name="connsiteY7" fmla="*/ 727057 h 733425"/>
                <a:gd name="connsiteX8" fmla="*/ 464643 w 828675"/>
                <a:gd name="connsiteY8" fmla="*/ 631521 h 733425"/>
                <a:gd name="connsiteX9" fmla="*/ 645047 w 828675"/>
                <a:gd name="connsiteY9" fmla="*/ 658286 h 733425"/>
                <a:gd name="connsiteX10" fmla="*/ 785921 w 828675"/>
                <a:gd name="connsiteY10" fmla="*/ 553797 h 733425"/>
                <a:gd name="connsiteX11" fmla="*/ 835070 w 828675"/>
                <a:gd name="connsiteY11" fmla="*/ 222137 h 733425"/>
                <a:gd name="connsiteX12" fmla="*/ 730581 w 828675"/>
                <a:gd name="connsiteY12" fmla="*/ 81167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8675" h="733425">
                  <a:moveTo>
                    <a:pt x="730581" y="81167"/>
                  </a:moveTo>
                  <a:lnTo>
                    <a:pt x="191371" y="1347"/>
                  </a:lnTo>
                  <a:cubicBezTo>
                    <a:pt x="123648" y="-8654"/>
                    <a:pt x="60593" y="38114"/>
                    <a:pt x="50496" y="105836"/>
                  </a:cubicBezTo>
                  <a:lnTo>
                    <a:pt x="1347" y="437497"/>
                  </a:lnTo>
                  <a:cubicBezTo>
                    <a:pt x="-8654" y="505220"/>
                    <a:pt x="38114" y="568275"/>
                    <a:pt x="105836" y="578372"/>
                  </a:cubicBezTo>
                  <a:lnTo>
                    <a:pt x="296051" y="606566"/>
                  </a:lnTo>
                  <a:lnTo>
                    <a:pt x="335960" y="718865"/>
                  </a:lnTo>
                  <a:cubicBezTo>
                    <a:pt x="345771" y="746583"/>
                    <a:pt x="382919" y="751346"/>
                    <a:pt x="399492" y="727057"/>
                  </a:cubicBezTo>
                  <a:lnTo>
                    <a:pt x="464643" y="631521"/>
                  </a:lnTo>
                  <a:lnTo>
                    <a:pt x="645047" y="658286"/>
                  </a:lnTo>
                  <a:cubicBezTo>
                    <a:pt x="712769" y="668288"/>
                    <a:pt x="775825" y="621520"/>
                    <a:pt x="785921" y="553797"/>
                  </a:cubicBezTo>
                  <a:lnTo>
                    <a:pt x="835070" y="222137"/>
                  </a:lnTo>
                  <a:cubicBezTo>
                    <a:pt x="845167" y="154223"/>
                    <a:pt x="798304" y="91168"/>
                    <a:pt x="730581" y="81167"/>
                  </a:cubicBezTo>
                  <a:close/>
                </a:path>
              </a:pathLst>
            </a:custGeom>
            <a:solidFill>
              <a:srgbClr val="F9F9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B1CB38F-1B02-446F-AAA7-0CDBAE0669BB}"/>
                </a:ext>
              </a:extLst>
            </p:cNvPr>
            <p:cNvSpPr/>
            <p:nvPr/>
          </p:nvSpPr>
          <p:spPr>
            <a:xfrm>
              <a:off x="1802950" y="6169087"/>
              <a:ext cx="514350" cy="514350"/>
            </a:xfrm>
            <a:custGeom>
              <a:avLst/>
              <a:gdLst>
                <a:gd name="connsiteX0" fmla="*/ 484072 w 514350"/>
                <a:gd name="connsiteY0" fmla="*/ 224981 h 514350"/>
                <a:gd name="connsiteX1" fmla="*/ 293201 w 514350"/>
                <a:gd name="connsiteY1" fmla="*/ 484072 h 514350"/>
                <a:gd name="connsiteX2" fmla="*/ 34110 w 514350"/>
                <a:gd name="connsiteY2" fmla="*/ 293201 h 514350"/>
                <a:gd name="connsiteX3" fmla="*/ 224981 w 514350"/>
                <a:gd name="connsiteY3" fmla="*/ 34110 h 514350"/>
                <a:gd name="connsiteX4" fmla="*/ 484072 w 514350"/>
                <a:gd name="connsiteY4" fmla="*/ 224981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50" h="514350">
                  <a:moveTo>
                    <a:pt x="484072" y="224981"/>
                  </a:moveTo>
                  <a:cubicBezTo>
                    <a:pt x="502910" y="349234"/>
                    <a:pt x="417455" y="465233"/>
                    <a:pt x="293201" y="484072"/>
                  </a:cubicBezTo>
                  <a:cubicBezTo>
                    <a:pt x="168948" y="502910"/>
                    <a:pt x="52949" y="417455"/>
                    <a:pt x="34110" y="293201"/>
                  </a:cubicBezTo>
                  <a:cubicBezTo>
                    <a:pt x="15272" y="168947"/>
                    <a:pt x="100727" y="52948"/>
                    <a:pt x="224981" y="34110"/>
                  </a:cubicBezTo>
                  <a:cubicBezTo>
                    <a:pt x="349234" y="15272"/>
                    <a:pt x="465233" y="100727"/>
                    <a:pt x="484072" y="224981"/>
                  </a:cubicBezTo>
                  <a:close/>
                </a:path>
              </a:pathLst>
            </a:custGeom>
            <a:solidFill>
              <a:srgbClr val="F2D46A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B58E91F0-CCD9-4F28-92FA-D949D94BA955}"/>
                </a:ext>
              </a:extLst>
            </p:cNvPr>
            <p:cNvSpPr/>
            <p:nvPr/>
          </p:nvSpPr>
          <p:spPr>
            <a:xfrm>
              <a:off x="1931922" y="6306813"/>
              <a:ext cx="57150" cy="66675"/>
            </a:xfrm>
            <a:custGeom>
              <a:avLst/>
              <a:gdLst>
                <a:gd name="connsiteX0" fmla="*/ 8763 w 57150"/>
                <a:gd name="connsiteY0" fmla="*/ 0 h 66675"/>
                <a:gd name="connsiteX1" fmla="*/ 61246 w 57150"/>
                <a:gd name="connsiteY1" fmla="*/ 39815 h 66675"/>
                <a:gd name="connsiteX2" fmla="*/ 0 w 57150"/>
                <a:gd name="connsiteY2" fmla="*/ 6734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66675">
                  <a:moveTo>
                    <a:pt x="8763" y="0"/>
                  </a:moveTo>
                  <a:lnTo>
                    <a:pt x="61246" y="39815"/>
                  </a:lnTo>
                  <a:lnTo>
                    <a:pt x="0" y="67342"/>
                  </a:lnTo>
                </a:path>
              </a:pathLst>
            </a:custGeom>
            <a:noFill/>
            <a:ln w="22337" cap="rnd">
              <a:solidFill>
                <a:srgbClr val="252935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5FC0443-7DE5-4A97-8986-FE08FFFE005F}"/>
                </a:ext>
              </a:extLst>
            </p:cNvPr>
            <p:cNvSpPr/>
            <p:nvPr/>
          </p:nvSpPr>
          <p:spPr>
            <a:xfrm>
              <a:off x="2152140" y="6338722"/>
              <a:ext cx="57150" cy="66675"/>
            </a:xfrm>
            <a:custGeom>
              <a:avLst/>
              <a:gdLst>
                <a:gd name="connsiteX0" fmla="*/ 52483 w 57150"/>
                <a:gd name="connsiteY0" fmla="*/ 67342 h 66675"/>
                <a:gd name="connsiteX1" fmla="*/ 0 w 57150"/>
                <a:gd name="connsiteY1" fmla="*/ 27432 h 66675"/>
                <a:gd name="connsiteX2" fmla="*/ 61246 w 57150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66675">
                  <a:moveTo>
                    <a:pt x="52483" y="67342"/>
                  </a:moveTo>
                  <a:lnTo>
                    <a:pt x="0" y="27432"/>
                  </a:lnTo>
                  <a:lnTo>
                    <a:pt x="61246" y="0"/>
                  </a:lnTo>
                </a:path>
              </a:pathLst>
            </a:custGeom>
            <a:noFill/>
            <a:ln w="22337" cap="rnd">
              <a:solidFill>
                <a:srgbClr val="252935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2EED3F2-E43F-41F4-9E5F-DC830E7D75C6}"/>
                </a:ext>
              </a:extLst>
            </p:cNvPr>
            <p:cNvSpPr/>
            <p:nvPr/>
          </p:nvSpPr>
          <p:spPr>
            <a:xfrm>
              <a:off x="1932208" y="6475709"/>
              <a:ext cx="238125" cy="95250"/>
            </a:xfrm>
            <a:custGeom>
              <a:avLst/>
              <a:gdLst>
                <a:gd name="connsiteX0" fmla="*/ 0 w 238125"/>
                <a:gd name="connsiteY0" fmla="*/ 18556 h 95250"/>
                <a:gd name="connsiteX1" fmla="*/ 112776 w 238125"/>
                <a:gd name="connsiteY1" fmla="*/ 97138 h 95250"/>
                <a:gd name="connsiteX2" fmla="*/ 240697 w 238125"/>
                <a:gd name="connsiteY2" fmla="*/ 46655 h 95250"/>
                <a:gd name="connsiteX3" fmla="*/ 123920 w 238125"/>
                <a:gd name="connsiteY3" fmla="*/ 2078 h 95250"/>
                <a:gd name="connsiteX4" fmla="*/ 0 w 238125"/>
                <a:gd name="connsiteY4" fmla="*/ 1855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125" h="95250">
                  <a:moveTo>
                    <a:pt x="0" y="18556"/>
                  </a:moveTo>
                  <a:cubicBezTo>
                    <a:pt x="21336" y="60466"/>
                    <a:pt x="62579" y="91232"/>
                    <a:pt x="112776" y="97138"/>
                  </a:cubicBezTo>
                  <a:cubicBezTo>
                    <a:pt x="162973" y="103043"/>
                    <a:pt x="210217" y="82565"/>
                    <a:pt x="240697" y="46655"/>
                  </a:cubicBezTo>
                  <a:cubicBezTo>
                    <a:pt x="216979" y="25224"/>
                    <a:pt x="174117" y="7984"/>
                    <a:pt x="123920" y="2078"/>
                  </a:cubicBezTo>
                  <a:cubicBezTo>
                    <a:pt x="73628" y="-3827"/>
                    <a:pt x="28003" y="3221"/>
                    <a:pt x="0" y="18556"/>
                  </a:cubicBezTo>
                  <a:close/>
                </a:path>
              </a:pathLst>
            </a:custGeom>
            <a:solidFill>
              <a:srgbClr val="DB3A63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70A5929-B762-414E-8079-8F679992661F}"/>
                </a:ext>
              </a:extLst>
            </p:cNvPr>
            <p:cNvSpPr/>
            <p:nvPr/>
          </p:nvSpPr>
          <p:spPr>
            <a:xfrm>
              <a:off x="1916368" y="6406254"/>
              <a:ext cx="285750" cy="114300"/>
            </a:xfrm>
            <a:custGeom>
              <a:avLst/>
              <a:gdLst>
                <a:gd name="connsiteX0" fmla="*/ 1647 w 285750"/>
                <a:gd name="connsiteY0" fmla="*/ 0 h 114300"/>
                <a:gd name="connsiteX1" fmla="*/ 980 w 285750"/>
                <a:gd name="connsiteY1" fmla="*/ 5048 h 114300"/>
                <a:gd name="connsiteX2" fmla="*/ 15839 w 285750"/>
                <a:gd name="connsiteY2" fmla="*/ 88011 h 114300"/>
                <a:gd name="connsiteX3" fmla="*/ 139759 w 285750"/>
                <a:gd name="connsiteY3" fmla="*/ 71533 h 114300"/>
                <a:gd name="connsiteX4" fmla="*/ 256536 w 285750"/>
                <a:gd name="connsiteY4" fmla="*/ 116110 h 114300"/>
                <a:gd name="connsiteX5" fmla="*/ 290159 w 285750"/>
                <a:gd name="connsiteY5" fmla="*/ 38862 h 114300"/>
                <a:gd name="connsiteX6" fmla="*/ 1647 w 285750"/>
                <a:gd name="connsiteY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0" h="114300">
                  <a:moveTo>
                    <a:pt x="1647" y="0"/>
                  </a:moveTo>
                  <a:cubicBezTo>
                    <a:pt x="1361" y="1715"/>
                    <a:pt x="1171" y="3429"/>
                    <a:pt x="980" y="5048"/>
                  </a:cubicBezTo>
                  <a:cubicBezTo>
                    <a:pt x="-2449" y="34671"/>
                    <a:pt x="3266" y="63246"/>
                    <a:pt x="15839" y="88011"/>
                  </a:cubicBezTo>
                  <a:cubicBezTo>
                    <a:pt x="43938" y="72676"/>
                    <a:pt x="89467" y="65627"/>
                    <a:pt x="139759" y="71533"/>
                  </a:cubicBezTo>
                  <a:cubicBezTo>
                    <a:pt x="189956" y="77438"/>
                    <a:pt x="232819" y="94679"/>
                    <a:pt x="256536" y="116110"/>
                  </a:cubicBezTo>
                  <a:cubicBezTo>
                    <a:pt x="274538" y="94964"/>
                    <a:pt x="286635" y="68485"/>
                    <a:pt x="290159" y="38862"/>
                  </a:cubicBezTo>
                  <a:lnTo>
                    <a:pt x="1647" y="0"/>
                  </a:lnTo>
                  <a:close/>
                </a:path>
              </a:pathLst>
            </a:custGeom>
            <a:solidFill>
              <a:srgbClr val="25293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9" name="Graphic 58">
            <a:extLst>
              <a:ext uri="{FF2B5EF4-FFF2-40B4-BE49-F238E27FC236}">
                <a16:creationId xmlns:a16="http://schemas.microsoft.com/office/drawing/2014/main" id="{EBD44257-EF71-4321-8011-620DDF2C01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50985" y="4959179"/>
            <a:ext cx="3595642" cy="1898822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8FBFD9DB-8811-4B4E-8EA9-236F786354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5899" y="1627880"/>
            <a:ext cx="2724150" cy="6096908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E74A2E9E-539F-41EF-B425-A92F32645B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439041" y="5419405"/>
            <a:ext cx="2724150" cy="1438596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EB3DEA1A-F5E8-43BC-A8D6-1817351AA5E3}"/>
              </a:ext>
            </a:extLst>
          </p:cNvPr>
          <p:cNvGrpSpPr/>
          <p:nvPr/>
        </p:nvGrpSpPr>
        <p:grpSpPr>
          <a:xfrm rot="20887923">
            <a:off x="2497786" y="1981174"/>
            <a:ext cx="676870" cy="600722"/>
            <a:chOff x="212807" y="3831951"/>
            <a:chExt cx="1524000" cy="1352550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5B03640-D481-4060-A712-84B478E27F04}"/>
                </a:ext>
              </a:extLst>
            </p:cNvPr>
            <p:cNvSpPr/>
            <p:nvPr/>
          </p:nvSpPr>
          <p:spPr>
            <a:xfrm>
              <a:off x="212807" y="3831951"/>
              <a:ext cx="1524000" cy="1352550"/>
            </a:xfrm>
            <a:custGeom>
              <a:avLst/>
              <a:gdLst>
                <a:gd name="connsiteX0" fmla="*/ 1319952 w 1524000"/>
                <a:gd name="connsiteY0" fmla="*/ 95799 h 1352550"/>
                <a:gd name="connsiteX1" fmla="*/ 310493 w 1524000"/>
                <a:gd name="connsiteY1" fmla="*/ 1025 h 1352550"/>
                <a:gd name="connsiteX2" fmla="*/ 59318 w 1524000"/>
                <a:gd name="connsiteY2" fmla="*/ 209147 h 1352550"/>
                <a:gd name="connsiteX3" fmla="*/ 1025 w 1524000"/>
                <a:gd name="connsiteY3" fmla="*/ 830081 h 1352550"/>
                <a:gd name="connsiteX4" fmla="*/ 209147 w 1524000"/>
                <a:gd name="connsiteY4" fmla="*/ 1081256 h 1352550"/>
                <a:gd name="connsiteX5" fmla="*/ 565191 w 1524000"/>
                <a:gd name="connsiteY5" fmla="*/ 1114688 h 1352550"/>
                <a:gd name="connsiteX6" fmla="*/ 650440 w 1524000"/>
                <a:gd name="connsiteY6" fmla="*/ 1319381 h 1352550"/>
                <a:gd name="connsiteX7" fmla="*/ 769312 w 1524000"/>
                <a:gd name="connsiteY7" fmla="*/ 1328334 h 1352550"/>
                <a:gd name="connsiteX8" fmla="*/ 880850 w 1524000"/>
                <a:gd name="connsiteY8" fmla="*/ 1144311 h 1352550"/>
                <a:gd name="connsiteX9" fmla="*/ 1218606 w 1524000"/>
                <a:gd name="connsiteY9" fmla="*/ 1176029 h 1352550"/>
                <a:gd name="connsiteX10" fmla="*/ 1469780 w 1524000"/>
                <a:gd name="connsiteY10" fmla="*/ 967908 h 1352550"/>
                <a:gd name="connsiteX11" fmla="*/ 1528073 w 1524000"/>
                <a:gd name="connsiteY11" fmla="*/ 346973 h 1352550"/>
                <a:gd name="connsiteX12" fmla="*/ 1319952 w 1524000"/>
                <a:gd name="connsiteY12" fmla="*/ 95799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24000" h="1352550">
                  <a:moveTo>
                    <a:pt x="1319952" y="95799"/>
                  </a:moveTo>
                  <a:lnTo>
                    <a:pt x="310493" y="1025"/>
                  </a:lnTo>
                  <a:cubicBezTo>
                    <a:pt x="183620" y="-10881"/>
                    <a:pt x="71225" y="82274"/>
                    <a:pt x="59318" y="209147"/>
                  </a:cubicBezTo>
                  <a:lnTo>
                    <a:pt x="1025" y="830081"/>
                  </a:lnTo>
                  <a:cubicBezTo>
                    <a:pt x="-10881" y="956954"/>
                    <a:pt x="82274" y="1069349"/>
                    <a:pt x="209147" y="1081256"/>
                  </a:cubicBezTo>
                  <a:lnTo>
                    <a:pt x="565191" y="1114688"/>
                  </a:lnTo>
                  <a:lnTo>
                    <a:pt x="650440" y="1319381"/>
                  </a:lnTo>
                  <a:cubicBezTo>
                    <a:pt x="671490" y="1369863"/>
                    <a:pt x="740927" y="1375102"/>
                    <a:pt x="769312" y="1328334"/>
                  </a:cubicBezTo>
                  <a:lnTo>
                    <a:pt x="880850" y="1144311"/>
                  </a:lnTo>
                  <a:lnTo>
                    <a:pt x="1218606" y="1176029"/>
                  </a:lnTo>
                  <a:cubicBezTo>
                    <a:pt x="1345384" y="1187936"/>
                    <a:pt x="1457874" y="1094781"/>
                    <a:pt x="1469780" y="967908"/>
                  </a:cubicBezTo>
                  <a:lnTo>
                    <a:pt x="1528073" y="346973"/>
                  </a:lnTo>
                  <a:cubicBezTo>
                    <a:pt x="1539980" y="220100"/>
                    <a:pt x="1446825" y="107705"/>
                    <a:pt x="1319952" y="95799"/>
                  </a:cubicBezTo>
                  <a:close/>
                </a:path>
              </a:pathLst>
            </a:custGeom>
            <a:solidFill>
              <a:srgbClr val="407FFE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342E5D2-7FE6-4D72-BF64-D125C447AAAE}"/>
                </a:ext>
              </a:extLst>
            </p:cNvPr>
            <p:cNvSpPr/>
            <p:nvPr/>
          </p:nvSpPr>
          <p:spPr>
            <a:xfrm>
              <a:off x="863273" y="4091775"/>
              <a:ext cx="495300" cy="590550"/>
            </a:xfrm>
            <a:custGeom>
              <a:avLst/>
              <a:gdLst>
                <a:gd name="connsiteX0" fmla="*/ 65316 w 495300"/>
                <a:gd name="connsiteY0" fmla="*/ 570448 h 590550"/>
                <a:gd name="connsiteX1" fmla="*/ 350304 w 495300"/>
                <a:gd name="connsiteY1" fmla="*/ 596546 h 590550"/>
                <a:gd name="connsiteX2" fmla="*/ 356972 w 495300"/>
                <a:gd name="connsiteY2" fmla="*/ 595879 h 590550"/>
                <a:gd name="connsiteX3" fmla="*/ 400596 w 495300"/>
                <a:gd name="connsiteY3" fmla="*/ 566447 h 590550"/>
                <a:gd name="connsiteX4" fmla="*/ 402977 w 495300"/>
                <a:gd name="connsiteY4" fmla="*/ 528728 h 590550"/>
                <a:gd name="connsiteX5" fmla="*/ 402977 w 495300"/>
                <a:gd name="connsiteY5" fmla="*/ 528728 h 590550"/>
                <a:gd name="connsiteX6" fmla="*/ 411359 w 495300"/>
                <a:gd name="connsiteY6" fmla="*/ 507964 h 590550"/>
                <a:gd name="connsiteX7" fmla="*/ 411359 w 495300"/>
                <a:gd name="connsiteY7" fmla="*/ 507964 h 590550"/>
                <a:gd name="connsiteX8" fmla="*/ 435362 w 495300"/>
                <a:gd name="connsiteY8" fmla="*/ 445194 h 590550"/>
                <a:gd name="connsiteX9" fmla="*/ 435362 w 495300"/>
                <a:gd name="connsiteY9" fmla="*/ 445194 h 590550"/>
                <a:gd name="connsiteX10" fmla="*/ 442982 w 495300"/>
                <a:gd name="connsiteY10" fmla="*/ 423572 h 590550"/>
                <a:gd name="connsiteX11" fmla="*/ 442982 w 495300"/>
                <a:gd name="connsiteY11" fmla="*/ 423572 h 590550"/>
                <a:gd name="connsiteX12" fmla="*/ 462318 w 495300"/>
                <a:gd name="connsiteY12" fmla="*/ 365374 h 590550"/>
                <a:gd name="connsiteX13" fmla="*/ 462318 w 495300"/>
                <a:gd name="connsiteY13" fmla="*/ 365374 h 590550"/>
                <a:gd name="connsiteX14" fmla="*/ 470510 w 495300"/>
                <a:gd name="connsiteY14" fmla="*/ 342991 h 590550"/>
                <a:gd name="connsiteX15" fmla="*/ 470510 w 495300"/>
                <a:gd name="connsiteY15" fmla="*/ 342991 h 590550"/>
                <a:gd name="connsiteX16" fmla="*/ 497275 w 495300"/>
                <a:gd name="connsiteY16" fmla="*/ 301843 h 590550"/>
                <a:gd name="connsiteX17" fmla="*/ 449173 w 495300"/>
                <a:gd name="connsiteY17" fmla="*/ 274887 h 590550"/>
                <a:gd name="connsiteX18" fmla="*/ 259435 w 495300"/>
                <a:gd name="connsiteY18" fmla="*/ 255837 h 590550"/>
                <a:gd name="connsiteX19" fmla="*/ 245053 w 495300"/>
                <a:gd name="connsiteY19" fmla="*/ 230786 h 590550"/>
                <a:gd name="connsiteX20" fmla="*/ 245053 w 495300"/>
                <a:gd name="connsiteY20" fmla="*/ 230786 h 590550"/>
                <a:gd name="connsiteX21" fmla="*/ 274009 w 495300"/>
                <a:gd name="connsiteY21" fmla="*/ 104199 h 590550"/>
                <a:gd name="connsiteX22" fmla="*/ 249625 w 495300"/>
                <a:gd name="connsiteY22" fmla="*/ 15045 h 590550"/>
                <a:gd name="connsiteX23" fmla="*/ 243910 w 495300"/>
                <a:gd name="connsiteY23" fmla="*/ 7425 h 590550"/>
                <a:gd name="connsiteX24" fmla="*/ 233623 w 495300"/>
                <a:gd name="connsiteY24" fmla="*/ 1710 h 590550"/>
                <a:gd name="connsiteX25" fmla="*/ 207334 w 495300"/>
                <a:gd name="connsiteY25" fmla="*/ 3520 h 590550"/>
                <a:gd name="connsiteX26" fmla="*/ 197047 w 495300"/>
                <a:gd name="connsiteY26" fmla="*/ 18093 h 590550"/>
                <a:gd name="connsiteX27" fmla="*/ 189427 w 495300"/>
                <a:gd name="connsiteY27" fmla="*/ 101722 h 590550"/>
                <a:gd name="connsiteX28" fmla="*/ 188093 w 495300"/>
                <a:gd name="connsiteY28" fmla="*/ 104580 h 590550"/>
                <a:gd name="connsiteX29" fmla="*/ 67983 w 495300"/>
                <a:gd name="connsiteY29" fmla="*/ 270315 h 590550"/>
                <a:gd name="connsiteX30" fmla="*/ 65887 w 495300"/>
                <a:gd name="connsiteY30" fmla="*/ 272506 h 590550"/>
                <a:gd name="connsiteX31" fmla="*/ 29121 w 495300"/>
                <a:gd name="connsiteY31" fmla="*/ 291270 h 590550"/>
                <a:gd name="connsiteX32" fmla="*/ 21025 w 495300"/>
                <a:gd name="connsiteY32" fmla="*/ 293365 h 590550"/>
                <a:gd name="connsiteX33" fmla="*/ 70 w 495300"/>
                <a:gd name="connsiteY33" fmla="*/ 522156 h 590550"/>
                <a:gd name="connsiteX34" fmla="*/ 16167 w 495300"/>
                <a:gd name="connsiteY34" fmla="*/ 541492 h 590550"/>
                <a:gd name="connsiteX35" fmla="*/ 16167 w 495300"/>
                <a:gd name="connsiteY35" fmla="*/ 541492 h 590550"/>
                <a:gd name="connsiteX36" fmla="*/ 24835 w 495300"/>
                <a:gd name="connsiteY36" fmla="*/ 544635 h 590550"/>
                <a:gd name="connsiteX37" fmla="*/ 56648 w 495300"/>
                <a:gd name="connsiteY37" fmla="*/ 567114 h 590550"/>
                <a:gd name="connsiteX38" fmla="*/ 65316 w 495300"/>
                <a:gd name="connsiteY38" fmla="*/ 570448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95300" h="590550">
                  <a:moveTo>
                    <a:pt x="65316" y="570448"/>
                  </a:moveTo>
                  <a:lnTo>
                    <a:pt x="350304" y="596546"/>
                  </a:lnTo>
                  <a:cubicBezTo>
                    <a:pt x="352590" y="596737"/>
                    <a:pt x="354781" y="596546"/>
                    <a:pt x="356972" y="595879"/>
                  </a:cubicBezTo>
                  <a:cubicBezTo>
                    <a:pt x="367544" y="592641"/>
                    <a:pt x="390309" y="583973"/>
                    <a:pt x="400596" y="566447"/>
                  </a:cubicBezTo>
                  <a:cubicBezTo>
                    <a:pt x="406787" y="555970"/>
                    <a:pt x="407549" y="543587"/>
                    <a:pt x="402977" y="528728"/>
                  </a:cubicBezTo>
                  <a:lnTo>
                    <a:pt x="402977" y="528728"/>
                  </a:lnTo>
                  <a:cubicBezTo>
                    <a:pt x="400501" y="520727"/>
                    <a:pt x="404025" y="512059"/>
                    <a:pt x="411359" y="507964"/>
                  </a:cubicBezTo>
                  <a:lnTo>
                    <a:pt x="411359" y="507964"/>
                  </a:lnTo>
                  <a:cubicBezTo>
                    <a:pt x="415264" y="505678"/>
                    <a:pt x="450221" y="484532"/>
                    <a:pt x="435362" y="445194"/>
                  </a:cubicBezTo>
                  <a:lnTo>
                    <a:pt x="435362" y="445194"/>
                  </a:lnTo>
                  <a:cubicBezTo>
                    <a:pt x="432314" y="437098"/>
                    <a:pt x="435553" y="427954"/>
                    <a:pt x="442982" y="423572"/>
                  </a:cubicBezTo>
                  <a:lnTo>
                    <a:pt x="442982" y="423572"/>
                  </a:lnTo>
                  <a:cubicBezTo>
                    <a:pt x="446411" y="421477"/>
                    <a:pt x="476986" y="401665"/>
                    <a:pt x="462318" y="365374"/>
                  </a:cubicBezTo>
                  <a:lnTo>
                    <a:pt x="462318" y="365374"/>
                  </a:lnTo>
                  <a:cubicBezTo>
                    <a:pt x="458889" y="356897"/>
                    <a:pt x="462413" y="347277"/>
                    <a:pt x="470510" y="342991"/>
                  </a:cubicBezTo>
                  <a:lnTo>
                    <a:pt x="470510" y="342991"/>
                  </a:lnTo>
                  <a:cubicBezTo>
                    <a:pt x="470700" y="342895"/>
                    <a:pt x="499275" y="327084"/>
                    <a:pt x="497275" y="301843"/>
                  </a:cubicBezTo>
                  <a:cubicBezTo>
                    <a:pt x="495751" y="282983"/>
                    <a:pt x="458984" y="275839"/>
                    <a:pt x="449173" y="274887"/>
                  </a:cubicBezTo>
                  <a:lnTo>
                    <a:pt x="259435" y="255837"/>
                  </a:lnTo>
                  <a:cubicBezTo>
                    <a:pt x="247339" y="254599"/>
                    <a:pt x="240004" y="241835"/>
                    <a:pt x="245053" y="230786"/>
                  </a:cubicBezTo>
                  <a:lnTo>
                    <a:pt x="245053" y="230786"/>
                  </a:lnTo>
                  <a:cubicBezTo>
                    <a:pt x="255149" y="208688"/>
                    <a:pt x="280010" y="142966"/>
                    <a:pt x="274009" y="104199"/>
                  </a:cubicBezTo>
                  <a:cubicBezTo>
                    <a:pt x="268008" y="65432"/>
                    <a:pt x="255149" y="29332"/>
                    <a:pt x="249625" y="15045"/>
                  </a:cubicBezTo>
                  <a:cubicBezTo>
                    <a:pt x="248482" y="11997"/>
                    <a:pt x="246481" y="9425"/>
                    <a:pt x="243910" y="7425"/>
                  </a:cubicBezTo>
                  <a:cubicBezTo>
                    <a:pt x="241338" y="5425"/>
                    <a:pt x="237814" y="3234"/>
                    <a:pt x="233623" y="1710"/>
                  </a:cubicBezTo>
                  <a:cubicBezTo>
                    <a:pt x="225526" y="-1052"/>
                    <a:pt x="216668" y="-481"/>
                    <a:pt x="207334" y="3520"/>
                  </a:cubicBezTo>
                  <a:cubicBezTo>
                    <a:pt x="201523" y="5996"/>
                    <a:pt x="197618" y="11806"/>
                    <a:pt x="197047" y="18093"/>
                  </a:cubicBezTo>
                  <a:lnTo>
                    <a:pt x="189427" y="101722"/>
                  </a:lnTo>
                  <a:lnTo>
                    <a:pt x="188093" y="104580"/>
                  </a:lnTo>
                  <a:cubicBezTo>
                    <a:pt x="186569" y="107818"/>
                    <a:pt x="149803" y="184304"/>
                    <a:pt x="67983" y="270315"/>
                  </a:cubicBezTo>
                  <a:lnTo>
                    <a:pt x="65887" y="272506"/>
                  </a:lnTo>
                  <a:lnTo>
                    <a:pt x="29121" y="291270"/>
                  </a:lnTo>
                  <a:lnTo>
                    <a:pt x="21025" y="293365"/>
                  </a:lnTo>
                  <a:lnTo>
                    <a:pt x="70" y="522156"/>
                  </a:lnTo>
                  <a:cubicBezTo>
                    <a:pt x="-788" y="531967"/>
                    <a:pt x="6356" y="540539"/>
                    <a:pt x="16167" y="541492"/>
                  </a:cubicBezTo>
                  <a:lnTo>
                    <a:pt x="16167" y="541492"/>
                  </a:lnTo>
                  <a:cubicBezTo>
                    <a:pt x="19310" y="541777"/>
                    <a:pt x="22263" y="542825"/>
                    <a:pt x="24835" y="544635"/>
                  </a:cubicBezTo>
                  <a:lnTo>
                    <a:pt x="56648" y="567114"/>
                  </a:lnTo>
                  <a:cubicBezTo>
                    <a:pt x="59315" y="569019"/>
                    <a:pt x="62268" y="570162"/>
                    <a:pt x="65316" y="570448"/>
                  </a:cubicBezTo>
                  <a:close/>
                </a:path>
              </a:pathLst>
            </a:custGeom>
            <a:solidFill>
              <a:srgbClr val="EDF4F6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C8EF0A1-DE42-40E8-A1A1-B83680C36382}"/>
                </a:ext>
              </a:extLst>
            </p:cNvPr>
            <p:cNvSpPr/>
            <p:nvPr/>
          </p:nvSpPr>
          <p:spPr>
            <a:xfrm>
              <a:off x="642458" y="4346659"/>
              <a:ext cx="200025" cy="323850"/>
            </a:xfrm>
            <a:custGeom>
              <a:avLst/>
              <a:gdLst>
                <a:gd name="connsiteX0" fmla="*/ 0 w 200025"/>
                <a:gd name="connsiteY0" fmla="*/ 308801 h 323850"/>
                <a:gd name="connsiteX1" fmla="*/ 180118 w 200025"/>
                <a:gd name="connsiteY1" fmla="*/ 325279 h 323850"/>
                <a:gd name="connsiteX2" fmla="*/ 192976 w 200025"/>
                <a:gd name="connsiteY2" fmla="*/ 184690 h 323850"/>
                <a:gd name="connsiteX3" fmla="*/ 208407 w 200025"/>
                <a:gd name="connsiteY3" fmla="*/ 16478 h 323850"/>
                <a:gd name="connsiteX4" fmla="*/ 28289 w 200025"/>
                <a:gd name="connsiteY4" fmla="*/ 0 h 323850"/>
                <a:gd name="connsiteX5" fmla="*/ 0 w 200025"/>
                <a:gd name="connsiteY5" fmla="*/ 30880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025" h="323850">
                  <a:moveTo>
                    <a:pt x="0" y="308801"/>
                  </a:moveTo>
                  <a:lnTo>
                    <a:pt x="180118" y="325279"/>
                  </a:lnTo>
                  <a:lnTo>
                    <a:pt x="192976" y="184690"/>
                  </a:lnTo>
                  <a:lnTo>
                    <a:pt x="208407" y="16478"/>
                  </a:lnTo>
                  <a:lnTo>
                    <a:pt x="28289" y="0"/>
                  </a:lnTo>
                  <a:lnTo>
                    <a:pt x="0" y="308801"/>
                  </a:lnTo>
                  <a:close/>
                </a:path>
              </a:pathLst>
            </a:custGeom>
            <a:solidFill>
              <a:srgbClr val="EDF4F6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F013860-7EEE-4E13-8709-CB3A84DBEE71}"/>
              </a:ext>
            </a:extLst>
          </p:cNvPr>
          <p:cNvSpPr/>
          <p:nvPr/>
        </p:nvSpPr>
        <p:spPr>
          <a:xfrm>
            <a:off x="4301366" y="347617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ED345FC-28B5-40DD-83E6-12D1C049D463}"/>
              </a:ext>
            </a:extLst>
          </p:cNvPr>
          <p:cNvSpPr/>
          <p:nvPr/>
        </p:nvSpPr>
        <p:spPr>
          <a:xfrm>
            <a:off x="4301366" y="1449459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AF20AAF-F8B5-4C59-9A71-18C6B30FEC0E}"/>
              </a:ext>
            </a:extLst>
          </p:cNvPr>
          <p:cNvSpPr/>
          <p:nvPr/>
        </p:nvSpPr>
        <p:spPr>
          <a:xfrm>
            <a:off x="4301366" y="2551302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6319277-F970-44A6-96A5-8EE1BA9AEBF2}"/>
              </a:ext>
            </a:extLst>
          </p:cNvPr>
          <p:cNvSpPr/>
          <p:nvPr/>
        </p:nvSpPr>
        <p:spPr>
          <a:xfrm>
            <a:off x="4301366" y="3653144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EE53B54-DAC5-4221-AE62-FDC577B1151A}"/>
              </a:ext>
            </a:extLst>
          </p:cNvPr>
          <p:cNvSpPr/>
          <p:nvPr/>
        </p:nvSpPr>
        <p:spPr>
          <a:xfrm>
            <a:off x="4428438" y="465337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87625EB-742E-47F7-BB87-75EC1A279AE0}"/>
              </a:ext>
            </a:extLst>
          </p:cNvPr>
          <p:cNvSpPr/>
          <p:nvPr/>
        </p:nvSpPr>
        <p:spPr>
          <a:xfrm>
            <a:off x="4428438" y="1567178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DE09517-3ABE-4E7B-84D4-2172C044FB16}"/>
              </a:ext>
            </a:extLst>
          </p:cNvPr>
          <p:cNvSpPr/>
          <p:nvPr/>
        </p:nvSpPr>
        <p:spPr>
          <a:xfrm>
            <a:off x="4428438" y="2669021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710F99D-5217-431B-B42B-F6686867D9DA}"/>
              </a:ext>
            </a:extLst>
          </p:cNvPr>
          <p:cNvSpPr/>
          <p:nvPr/>
        </p:nvSpPr>
        <p:spPr>
          <a:xfrm>
            <a:off x="4428438" y="3770863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3A3055C-9921-4FC6-B563-D2BE977AD415}"/>
              </a:ext>
            </a:extLst>
          </p:cNvPr>
          <p:cNvSpPr txBox="1"/>
          <p:nvPr/>
        </p:nvSpPr>
        <p:spPr>
          <a:xfrm>
            <a:off x="5631251" y="529612"/>
            <a:ext cx="5468650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Организация деятельности обучающихся в начале учебного дня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4E613C-0D13-46A1-8BAC-4DCEDDE3B5A9}"/>
              </a:ext>
            </a:extLst>
          </p:cNvPr>
          <p:cNvSpPr txBox="1"/>
          <p:nvPr/>
        </p:nvSpPr>
        <p:spPr>
          <a:xfrm>
            <a:off x="5631250" y="1648324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Развитие ответственности обучающихся за соблюдение режима работы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8B6E60-0814-4D25-9D89-6A78FD2113DA}"/>
              </a:ext>
            </a:extLst>
          </p:cNvPr>
          <p:cNvSpPr txBox="1"/>
          <p:nvPr/>
        </p:nvSpPr>
        <p:spPr>
          <a:xfrm>
            <a:off x="5631251" y="2733297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Учитель может задать необходимые настройки доступа к документу, чтобы ученики могли редактировать документы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3728C8-99CE-4633-ACB3-AC37ED396C84}"/>
              </a:ext>
            </a:extLst>
          </p:cNvPr>
          <p:cNvSpPr txBox="1"/>
          <p:nvPr/>
        </p:nvSpPr>
        <p:spPr>
          <a:xfrm>
            <a:off x="5631251" y="3860496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Нет необходимости пересылать друг другу файлы, все данные, вносимые в таблицу, меняются и сохраняются в реальном времени.</a:t>
            </a:r>
          </a:p>
        </p:txBody>
      </p:sp>
      <p:sp>
        <p:nvSpPr>
          <p:cNvPr id="14" name="Rectangle: Rounded Corners 6">
            <a:extLst>
              <a:ext uri="{FF2B5EF4-FFF2-40B4-BE49-F238E27FC236}">
                <a16:creationId xmlns:a16="http://schemas.microsoft.com/office/drawing/2014/main" id="{1385E563-8D44-4230-869B-2ED424C9701F}"/>
              </a:ext>
            </a:extLst>
          </p:cNvPr>
          <p:cNvSpPr/>
          <p:nvPr/>
        </p:nvSpPr>
        <p:spPr>
          <a:xfrm>
            <a:off x="4301366" y="5724127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: Rounded Corners 16">
            <a:extLst>
              <a:ext uri="{FF2B5EF4-FFF2-40B4-BE49-F238E27FC236}">
                <a16:creationId xmlns:a16="http://schemas.microsoft.com/office/drawing/2014/main" id="{825CFCE6-5387-46BC-865A-FB9431247069}"/>
              </a:ext>
            </a:extLst>
          </p:cNvPr>
          <p:cNvSpPr/>
          <p:nvPr/>
        </p:nvSpPr>
        <p:spPr>
          <a:xfrm>
            <a:off x="4428438" y="5841846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00B050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-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7C81E1C-95F4-420E-9B60-3EB7AC4AE534}"/>
              </a:ext>
            </a:extLst>
          </p:cNvPr>
          <p:cNvSpPr txBox="1"/>
          <p:nvPr/>
        </p:nvSpPr>
        <p:spPr>
          <a:xfrm>
            <a:off x="5631251" y="5901569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Изменение в содержание таблиц может внести любой пользователь, у которого есть ссылка.</a:t>
            </a:r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35868334-496A-4042-BEB0-76EB71F9CB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4553" y="4643515"/>
            <a:ext cx="1371600" cy="1371600"/>
          </a:xfrm>
          <a:prstGeom prst="rect">
            <a:avLst/>
          </a:prstGeom>
        </p:spPr>
      </p:pic>
      <p:sp>
        <p:nvSpPr>
          <p:cNvPr id="71" name="Rectangle: Rounded Corners 6">
            <a:extLst>
              <a:ext uri="{FF2B5EF4-FFF2-40B4-BE49-F238E27FC236}">
                <a16:creationId xmlns:a16="http://schemas.microsoft.com/office/drawing/2014/main" id="{15766686-1BFC-47BE-BA4F-63DE913D5877}"/>
              </a:ext>
            </a:extLst>
          </p:cNvPr>
          <p:cNvSpPr/>
          <p:nvPr/>
        </p:nvSpPr>
        <p:spPr>
          <a:xfrm>
            <a:off x="4301366" y="4676499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: Rounded Corners 16">
            <a:extLst>
              <a:ext uri="{FF2B5EF4-FFF2-40B4-BE49-F238E27FC236}">
                <a16:creationId xmlns:a16="http://schemas.microsoft.com/office/drawing/2014/main" id="{33E78FBC-59CA-4384-9B45-41BC6A8240A0}"/>
              </a:ext>
            </a:extLst>
          </p:cNvPr>
          <p:cNvSpPr/>
          <p:nvPr/>
        </p:nvSpPr>
        <p:spPr>
          <a:xfrm>
            <a:off x="4428438" y="4794218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7949EFA-3E28-481F-A7FB-0B22D9082A2F}"/>
              </a:ext>
            </a:extLst>
          </p:cNvPr>
          <p:cNvSpPr txBox="1"/>
          <p:nvPr/>
        </p:nvSpPr>
        <p:spPr>
          <a:xfrm>
            <a:off x="5631250" y="4959179"/>
            <a:ext cx="6082765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Работа с любого компьютера, планшета и  телефона.</a:t>
            </a:r>
          </a:p>
        </p:txBody>
      </p:sp>
    </p:spTree>
    <p:extLst>
      <p:ext uri="{BB962C8B-B14F-4D97-AF65-F5344CB8AC3E}">
        <p14:creationId xmlns:p14="http://schemas.microsoft.com/office/powerpoint/2010/main" val="3233560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C3D389DE-932E-4A70-BA48-9FD418050C67}"/>
              </a:ext>
            </a:extLst>
          </p:cNvPr>
          <p:cNvSpPr/>
          <p:nvPr/>
        </p:nvSpPr>
        <p:spPr>
          <a:xfrm>
            <a:off x="2131365" y="160241"/>
            <a:ext cx="7924800" cy="8002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Google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Диск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Возможности применения в учебном процессе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4E8DB45-15BF-42B1-A5AB-0A441B49CD7E}"/>
              </a:ext>
            </a:extLst>
          </p:cNvPr>
          <p:cNvGrpSpPr/>
          <p:nvPr/>
        </p:nvGrpSpPr>
        <p:grpSpPr>
          <a:xfrm flipH="1">
            <a:off x="2532769" y="2590864"/>
            <a:ext cx="4356531" cy="1212983"/>
            <a:chOff x="1209676" y="-11126947"/>
            <a:chExt cx="10492578" cy="2921436"/>
          </a:xfrm>
        </p:grpSpPr>
        <p:sp>
          <p:nvSpPr>
            <p:cNvPr id="58" name="Freeform 6">
              <a:extLst>
                <a:ext uri="{FF2B5EF4-FFF2-40B4-BE49-F238E27FC236}">
                  <a16:creationId xmlns:a16="http://schemas.microsoft.com/office/drawing/2014/main" id="{B944E552-E342-43AB-924E-0EA10FA7D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676" y="-11126947"/>
              <a:ext cx="10492578" cy="1659578"/>
            </a:xfrm>
            <a:custGeom>
              <a:avLst/>
              <a:gdLst>
                <a:gd name="T0" fmla="*/ 1542 w 1542"/>
                <a:gd name="T1" fmla="*/ 29 h 244"/>
                <a:gd name="T2" fmla="*/ 1542 w 1542"/>
                <a:gd name="T3" fmla="*/ 34 h 244"/>
                <a:gd name="T4" fmla="*/ 1512 w 1542"/>
                <a:gd name="T5" fmla="*/ 63 h 244"/>
                <a:gd name="T6" fmla="*/ 608 w 1542"/>
                <a:gd name="T7" fmla="*/ 63 h 244"/>
                <a:gd name="T8" fmla="*/ 582 w 1542"/>
                <a:gd name="T9" fmla="*/ 92 h 244"/>
                <a:gd name="T10" fmla="*/ 582 w 1542"/>
                <a:gd name="T11" fmla="*/ 94 h 244"/>
                <a:gd name="T12" fmla="*/ 611 w 1542"/>
                <a:gd name="T13" fmla="*/ 123 h 244"/>
                <a:gd name="T14" fmla="*/ 1045 w 1542"/>
                <a:gd name="T15" fmla="*/ 123 h 244"/>
                <a:gd name="T16" fmla="*/ 1074 w 1542"/>
                <a:gd name="T17" fmla="*/ 152 h 244"/>
                <a:gd name="T18" fmla="*/ 1074 w 1542"/>
                <a:gd name="T19" fmla="*/ 157 h 244"/>
                <a:gd name="T20" fmla="*/ 1047 w 1542"/>
                <a:gd name="T21" fmla="*/ 186 h 244"/>
                <a:gd name="T22" fmla="*/ 1045 w 1542"/>
                <a:gd name="T23" fmla="*/ 186 h 244"/>
                <a:gd name="T24" fmla="*/ 986 w 1542"/>
                <a:gd name="T25" fmla="*/ 186 h 244"/>
                <a:gd name="T26" fmla="*/ 961 w 1542"/>
                <a:gd name="T27" fmla="*/ 214 h 244"/>
                <a:gd name="T28" fmla="*/ 961 w 1542"/>
                <a:gd name="T29" fmla="*/ 216 h 244"/>
                <a:gd name="T30" fmla="*/ 989 w 1542"/>
                <a:gd name="T31" fmla="*/ 243 h 244"/>
                <a:gd name="T32" fmla="*/ 998 w 1542"/>
                <a:gd name="T33" fmla="*/ 243 h 244"/>
                <a:gd name="T34" fmla="*/ 998 w 1542"/>
                <a:gd name="T35" fmla="*/ 244 h 244"/>
                <a:gd name="T36" fmla="*/ 415 w 1542"/>
                <a:gd name="T37" fmla="*/ 244 h 244"/>
                <a:gd name="T38" fmla="*/ 442 w 1542"/>
                <a:gd name="T39" fmla="*/ 216 h 244"/>
                <a:gd name="T40" fmla="*/ 442 w 1542"/>
                <a:gd name="T41" fmla="*/ 214 h 244"/>
                <a:gd name="T42" fmla="*/ 417 w 1542"/>
                <a:gd name="T43" fmla="*/ 186 h 244"/>
                <a:gd name="T44" fmla="*/ 79 w 1542"/>
                <a:gd name="T45" fmla="*/ 186 h 244"/>
                <a:gd name="T46" fmla="*/ 50 w 1542"/>
                <a:gd name="T47" fmla="*/ 157 h 244"/>
                <a:gd name="T48" fmla="*/ 50 w 1542"/>
                <a:gd name="T49" fmla="*/ 152 h 244"/>
                <a:gd name="T50" fmla="*/ 79 w 1542"/>
                <a:gd name="T51" fmla="*/ 123 h 244"/>
                <a:gd name="T52" fmla="*/ 150 w 1542"/>
                <a:gd name="T53" fmla="*/ 123 h 244"/>
                <a:gd name="T54" fmla="*/ 179 w 1542"/>
                <a:gd name="T55" fmla="*/ 94 h 244"/>
                <a:gd name="T56" fmla="*/ 179 w 1542"/>
                <a:gd name="T57" fmla="*/ 92 h 244"/>
                <a:gd name="T58" fmla="*/ 153 w 1542"/>
                <a:gd name="T59" fmla="*/ 63 h 244"/>
                <a:gd name="T60" fmla="*/ 29 w 1542"/>
                <a:gd name="T61" fmla="*/ 63 h 244"/>
                <a:gd name="T62" fmla="*/ 26 w 1542"/>
                <a:gd name="T63" fmla="*/ 63 h 244"/>
                <a:gd name="T64" fmla="*/ 0 w 1542"/>
                <a:gd name="T65" fmla="*/ 34 h 244"/>
                <a:gd name="T66" fmla="*/ 0 w 1542"/>
                <a:gd name="T67" fmla="*/ 29 h 244"/>
                <a:gd name="T68" fmla="*/ 29 w 1542"/>
                <a:gd name="T69" fmla="*/ 0 h 244"/>
                <a:gd name="T70" fmla="*/ 1512 w 1542"/>
                <a:gd name="T71" fmla="*/ 0 h 244"/>
                <a:gd name="T72" fmla="*/ 1542 w 1542"/>
                <a:gd name="T73" fmla="*/ 2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42" h="244">
                  <a:moveTo>
                    <a:pt x="1542" y="29"/>
                  </a:moveTo>
                  <a:cubicBezTo>
                    <a:pt x="1542" y="34"/>
                    <a:pt x="1542" y="34"/>
                    <a:pt x="1542" y="34"/>
                  </a:cubicBezTo>
                  <a:cubicBezTo>
                    <a:pt x="1542" y="50"/>
                    <a:pt x="1528" y="63"/>
                    <a:pt x="1512" y="63"/>
                  </a:cubicBezTo>
                  <a:cubicBezTo>
                    <a:pt x="608" y="63"/>
                    <a:pt x="608" y="63"/>
                    <a:pt x="608" y="63"/>
                  </a:cubicBezTo>
                  <a:cubicBezTo>
                    <a:pt x="593" y="64"/>
                    <a:pt x="582" y="77"/>
                    <a:pt x="582" y="92"/>
                  </a:cubicBezTo>
                  <a:cubicBezTo>
                    <a:pt x="582" y="94"/>
                    <a:pt x="582" y="94"/>
                    <a:pt x="582" y="94"/>
                  </a:cubicBezTo>
                  <a:cubicBezTo>
                    <a:pt x="582" y="110"/>
                    <a:pt x="595" y="123"/>
                    <a:pt x="611" y="123"/>
                  </a:cubicBezTo>
                  <a:cubicBezTo>
                    <a:pt x="1045" y="123"/>
                    <a:pt x="1045" y="123"/>
                    <a:pt x="1045" y="123"/>
                  </a:cubicBezTo>
                  <a:cubicBezTo>
                    <a:pt x="1061" y="123"/>
                    <a:pt x="1074" y="136"/>
                    <a:pt x="1074" y="152"/>
                  </a:cubicBezTo>
                  <a:cubicBezTo>
                    <a:pt x="1074" y="157"/>
                    <a:pt x="1074" y="157"/>
                    <a:pt x="1074" y="157"/>
                  </a:cubicBezTo>
                  <a:cubicBezTo>
                    <a:pt x="1074" y="173"/>
                    <a:pt x="1062" y="185"/>
                    <a:pt x="1047" y="186"/>
                  </a:cubicBezTo>
                  <a:cubicBezTo>
                    <a:pt x="1046" y="186"/>
                    <a:pt x="1046" y="186"/>
                    <a:pt x="1045" y="186"/>
                  </a:cubicBezTo>
                  <a:cubicBezTo>
                    <a:pt x="986" y="186"/>
                    <a:pt x="986" y="186"/>
                    <a:pt x="986" y="186"/>
                  </a:cubicBezTo>
                  <a:cubicBezTo>
                    <a:pt x="972" y="188"/>
                    <a:pt x="961" y="199"/>
                    <a:pt x="961" y="214"/>
                  </a:cubicBezTo>
                  <a:cubicBezTo>
                    <a:pt x="961" y="216"/>
                    <a:pt x="961" y="216"/>
                    <a:pt x="961" y="216"/>
                  </a:cubicBezTo>
                  <a:cubicBezTo>
                    <a:pt x="961" y="231"/>
                    <a:pt x="973" y="243"/>
                    <a:pt x="989" y="243"/>
                  </a:cubicBezTo>
                  <a:cubicBezTo>
                    <a:pt x="998" y="243"/>
                    <a:pt x="998" y="243"/>
                    <a:pt x="998" y="243"/>
                  </a:cubicBezTo>
                  <a:cubicBezTo>
                    <a:pt x="998" y="244"/>
                    <a:pt x="998" y="244"/>
                    <a:pt x="998" y="244"/>
                  </a:cubicBezTo>
                  <a:cubicBezTo>
                    <a:pt x="415" y="244"/>
                    <a:pt x="415" y="244"/>
                    <a:pt x="415" y="244"/>
                  </a:cubicBezTo>
                  <a:cubicBezTo>
                    <a:pt x="430" y="244"/>
                    <a:pt x="442" y="231"/>
                    <a:pt x="442" y="216"/>
                  </a:cubicBezTo>
                  <a:cubicBezTo>
                    <a:pt x="442" y="214"/>
                    <a:pt x="442" y="214"/>
                    <a:pt x="442" y="214"/>
                  </a:cubicBezTo>
                  <a:cubicBezTo>
                    <a:pt x="442" y="199"/>
                    <a:pt x="431" y="188"/>
                    <a:pt x="417" y="186"/>
                  </a:cubicBezTo>
                  <a:cubicBezTo>
                    <a:pt x="79" y="186"/>
                    <a:pt x="79" y="186"/>
                    <a:pt x="79" y="186"/>
                  </a:cubicBezTo>
                  <a:cubicBezTo>
                    <a:pt x="63" y="186"/>
                    <a:pt x="50" y="173"/>
                    <a:pt x="50" y="157"/>
                  </a:cubicBezTo>
                  <a:cubicBezTo>
                    <a:pt x="50" y="152"/>
                    <a:pt x="50" y="152"/>
                    <a:pt x="50" y="152"/>
                  </a:cubicBezTo>
                  <a:cubicBezTo>
                    <a:pt x="50" y="136"/>
                    <a:pt x="63" y="123"/>
                    <a:pt x="79" y="123"/>
                  </a:cubicBezTo>
                  <a:cubicBezTo>
                    <a:pt x="150" y="123"/>
                    <a:pt x="150" y="123"/>
                    <a:pt x="150" y="123"/>
                  </a:cubicBezTo>
                  <a:cubicBezTo>
                    <a:pt x="166" y="123"/>
                    <a:pt x="179" y="110"/>
                    <a:pt x="179" y="94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77"/>
                    <a:pt x="168" y="64"/>
                    <a:pt x="153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8" y="63"/>
                    <a:pt x="27" y="63"/>
                    <a:pt x="26" y="63"/>
                  </a:cubicBezTo>
                  <a:cubicBezTo>
                    <a:pt x="11" y="61"/>
                    <a:pt x="0" y="49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512" y="0"/>
                    <a:pt x="1512" y="0"/>
                    <a:pt x="1512" y="0"/>
                  </a:cubicBezTo>
                  <a:cubicBezTo>
                    <a:pt x="1528" y="0"/>
                    <a:pt x="1542" y="13"/>
                    <a:pt x="1542" y="29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9" name="Freeform 7">
              <a:extLst>
                <a:ext uri="{FF2B5EF4-FFF2-40B4-BE49-F238E27FC236}">
                  <a16:creationId xmlns:a16="http://schemas.microsoft.com/office/drawing/2014/main" id="{7CF02321-02EB-4952-A352-9D06FD93D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688" y="-9467369"/>
              <a:ext cx="8048408" cy="1261858"/>
            </a:xfrm>
            <a:custGeom>
              <a:avLst/>
              <a:gdLst>
                <a:gd name="T0" fmla="*/ 29 w 1183"/>
                <a:gd name="T1" fmla="*/ 0 h 186"/>
                <a:gd name="T2" fmla="*/ 1153 w 1183"/>
                <a:gd name="T3" fmla="*/ 0 h 186"/>
                <a:gd name="T4" fmla="*/ 1183 w 1183"/>
                <a:gd name="T5" fmla="*/ 29 h 186"/>
                <a:gd name="T6" fmla="*/ 1183 w 1183"/>
                <a:gd name="T7" fmla="*/ 34 h 186"/>
                <a:gd name="T8" fmla="*/ 1153 w 1183"/>
                <a:gd name="T9" fmla="*/ 63 h 186"/>
                <a:gd name="T10" fmla="*/ 710 w 1183"/>
                <a:gd name="T11" fmla="*/ 63 h 186"/>
                <a:gd name="T12" fmla="*/ 685 w 1183"/>
                <a:gd name="T13" fmla="*/ 90 h 186"/>
                <a:gd name="T14" fmla="*/ 685 w 1183"/>
                <a:gd name="T15" fmla="*/ 95 h 186"/>
                <a:gd name="T16" fmla="*/ 712 w 1183"/>
                <a:gd name="T17" fmla="*/ 123 h 186"/>
                <a:gd name="T18" fmla="*/ 716 w 1183"/>
                <a:gd name="T19" fmla="*/ 123 h 186"/>
                <a:gd name="T20" fmla="*/ 716 w 1183"/>
                <a:gd name="T21" fmla="*/ 123 h 186"/>
                <a:gd name="T22" fmla="*/ 818 w 1183"/>
                <a:gd name="T23" fmla="*/ 123 h 186"/>
                <a:gd name="T24" fmla="*/ 847 w 1183"/>
                <a:gd name="T25" fmla="*/ 152 h 186"/>
                <a:gd name="T26" fmla="*/ 847 w 1183"/>
                <a:gd name="T27" fmla="*/ 157 h 186"/>
                <a:gd name="T28" fmla="*/ 818 w 1183"/>
                <a:gd name="T29" fmla="*/ 186 h 186"/>
                <a:gd name="T30" fmla="*/ 222 w 1183"/>
                <a:gd name="T31" fmla="*/ 186 h 186"/>
                <a:gd name="T32" fmla="*/ 193 w 1183"/>
                <a:gd name="T33" fmla="*/ 157 h 186"/>
                <a:gd name="T34" fmla="*/ 193 w 1183"/>
                <a:gd name="T35" fmla="*/ 152 h 186"/>
                <a:gd name="T36" fmla="*/ 222 w 1183"/>
                <a:gd name="T37" fmla="*/ 123 h 186"/>
                <a:gd name="T38" fmla="*/ 279 w 1183"/>
                <a:gd name="T39" fmla="*/ 123 h 186"/>
                <a:gd name="T40" fmla="*/ 279 w 1183"/>
                <a:gd name="T41" fmla="*/ 123 h 186"/>
                <a:gd name="T42" fmla="*/ 293 w 1183"/>
                <a:gd name="T43" fmla="*/ 123 h 186"/>
                <a:gd name="T44" fmla="*/ 320 w 1183"/>
                <a:gd name="T45" fmla="*/ 95 h 186"/>
                <a:gd name="T46" fmla="*/ 320 w 1183"/>
                <a:gd name="T47" fmla="*/ 90 h 186"/>
                <a:gd name="T48" fmla="*/ 295 w 1183"/>
                <a:gd name="T49" fmla="*/ 63 h 186"/>
                <a:gd name="T50" fmla="*/ 29 w 1183"/>
                <a:gd name="T51" fmla="*/ 63 h 186"/>
                <a:gd name="T52" fmla="*/ 0 w 1183"/>
                <a:gd name="T53" fmla="*/ 34 h 186"/>
                <a:gd name="T54" fmla="*/ 0 w 1183"/>
                <a:gd name="T55" fmla="*/ 29 h 186"/>
                <a:gd name="T56" fmla="*/ 29 w 1183"/>
                <a:gd name="T5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3" h="186">
                  <a:moveTo>
                    <a:pt x="29" y="0"/>
                  </a:moveTo>
                  <a:cubicBezTo>
                    <a:pt x="1153" y="0"/>
                    <a:pt x="1153" y="0"/>
                    <a:pt x="1153" y="0"/>
                  </a:cubicBezTo>
                  <a:cubicBezTo>
                    <a:pt x="1169" y="0"/>
                    <a:pt x="1183" y="13"/>
                    <a:pt x="1183" y="29"/>
                  </a:cubicBezTo>
                  <a:cubicBezTo>
                    <a:pt x="1183" y="34"/>
                    <a:pt x="1183" y="34"/>
                    <a:pt x="1183" y="34"/>
                  </a:cubicBezTo>
                  <a:cubicBezTo>
                    <a:pt x="1183" y="50"/>
                    <a:pt x="1169" y="63"/>
                    <a:pt x="1153" y="63"/>
                  </a:cubicBezTo>
                  <a:cubicBezTo>
                    <a:pt x="710" y="63"/>
                    <a:pt x="710" y="63"/>
                    <a:pt x="710" y="63"/>
                  </a:cubicBezTo>
                  <a:cubicBezTo>
                    <a:pt x="696" y="64"/>
                    <a:pt x="685" y="76"/>
                    <a:pt x="685" y="90"/>
                  </a:cubicBezTo>
                  <a:cubicBezTo>
                    <a:pt x="685" y="95"/>
                    <a:pt x="685" y="95"/>
                    <a:pt x="685" y="95"/>
                  </a:cubicBezTo>
                  <a:cubicBezTo>
                    <a:pt x="685" y="110"/>
                    <a:pt x="697" y="123"/>
                    <a:pt x="712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818" y="123"/>
                    <a:pt x="818" y="123"/>
                    <a:pt x="818" y="123"/>
                  </a:cubicBezTo>
                  <a:cubicBezTo>
                    <a:pt x="834" y="123"/>
                    <a:pt x="847" y="136"/>
                    <a:pt x="847" y="152"/>
                  </a:cubicBezTo>
                  <a:cubicBezTo>
                    <a:pt x="847" y="157"/>
                    <a:pt x="847" y="157"/>
                    <a:pt x="847" y="157"/>
                  </a:cubicBezTo>
                  <a:cubicBezTo>
                    <a:pt x="847" y="173"/>
                    <a:pt x="834" y="186"/>
                    <a:pt x="818" y="186"/>
                  </a:cubicBezTo>
                  <a:cubicBezTo>
                    <a:pt x="222" y="186"/>
                    <a:pt x="222" y="186"/>
                    <a:pt x="222" y="186"/>
                  </a:cubicBezTo>
                  <a:cubicBezTo>
                    <a:pt x="206" y="186"/>
                    <a:pt x="193" y="173"/>
                    <a:pt x="193" y="157"/>
                  </a:cubicBezTo>
                  <a:cubicBezTo>
                    <a:pt x="193" y="152"/>
                    <a:pt x="193" y="152"/>
                    <a:pt x="193" y="152"/>
                  </a:cubicBezTo>
                  <a:cubicBezTo>
                    <a:pt x="193" y="136"/>
                    <a:pt x="206" y="123"/>
                    <a:pt x="222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93" y="123"/>
                    <a:pt x="293" y="123"/>
                    <a:pt x="293" y="123"/>
                  </a:cubicBezTo>
                  <a:cubicBezTo>
                    <a:pt x="308" y="123"/>
                    <a:pt x="320" y="110"/>
                    <a:pt x="320" y="95"/>
                  </a:cubicBezTo>
                  <a:cubicBezTo>
                    <a:pt x="320" y="90"/>
                    <a:pt x="320" y="90"/>
                    <a:pt x="320" y="90"/>
                  </a:cubicBezTo>
                  <a:cubicBezTo>
                    <a:pt x="320" y="76"/>
                    <a:pt x="309" y="64"/>
                    <a:pt x="295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0" name="Freeform 8">
              <a:extLst>
                <a:ext uri="{FF2B5EF4-FFF2-40B4-BE49-F238E27FC236}">
                  <a16:creationId xmlns:a16="http://schemas.microsoft.com/office/drawing/2014/main" id="{A17FAD6E-9C69-4A05-ABD3-36A1BB53F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2969" y="-10291734"/>
              <a:ext cx="1446255" cy="430262"/>
            </a:xfrm>
            <a:custGeom>
              <a:avLst/>
              <a:gdLst>
                <a:gd name="T0" fmla="*/ 184 w 213"/>
                <a:gd name="T1" fmla="*/ 63 h 63"/>
                <a:gd name="T2" fmla="*/ 30 w 213"/>
                <a:gd name="T3" fmla="*/ 63 h 63"/>
                <a:gd name="T4" fmla="*/ 0 w 213"/>
                <a:gd name="T5" fmla="*/ 34 h 63"/>
                <a:gd name="T6" fmla="*/ 0 w 213"/>
                <a:gd name="T7" fmla="*/ 29 h 63"/>
                <a:gd name="T8" fmla="*/ 30 w 213"/>
                <a:gd name="T9" fmla="*/ 0 h 63"/>
                <a:gd name="T10" fmla="*/ 184 w 213"/>
                <a:gd name="T11" fmla="*/ 0 h 63"/>
                <a:gd name="T12" fmla="*/ 213 w 213"/>
                <a:gd name="T13" fmla="*/ 29 h 63"/>
                <a:gd name="T14" fmla="*/ 213 w 213"/>
                <a:gd name="T15" fmla="*/ 34 h 63"/>
                <a:gd name="T16" fmla="*/ 184 w 213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" h="63">
                  <a:moveTo>
                    <a:pt x="184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00" y="0"/>
                    <a:pt x="213" y="13"/>
                    <a:pt x="213" y="29"/>
                  </a:cubicBezTo>
                  <a:cubicBezTo>
                    <a:pt x="213" y="34"/>
                    <a:pt x="213" y="34"/>
                    <a:pt x="213" y="34"/>
                  </a:cubicBezTo>
                  <a:cubicBezTo>
                    <a:pt x="213" y="50"/>
                    <a:pt x="200" y="63"/>
                    <a:pt x="184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1" name="Freeform 9">
              <a:extLst>
                <a:ext uri="{FF2B5EF4-FFF2-40B4-BE49-F238E27FC236}">
                  <a16:creationId xmlns:a16="http://schemas.microsoft.com/office/drawing/2014/main" id="{C08B6B22-336A-4BE6-90DC-840CD7A1C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657" y="-8632157"/>
              <a:ext cx="1442640" cy="426645"/>
            </a:xfrm>
            <a:custGeom>
              <a:avLst/>
              <a:gdLst>
                <a:gd name="T0" fmla="*/ 183 w 212"/>
                <a:gd name="T1" fmla="*/ 63 h 63"/>
                <a:gd name="T2" fmla="*/ 29 w 212"/>
                <a:gd name="T3" fmla="*/ 63 h 63"/>
                <a:gd name="T4" fmla="*/ 0 w 212"/>
                <a:gd name="T5" fmla="*/ 34 h 63"/>
                <a:gd name="T6" fmla="*/ 0 w 212"/>
                <a:gd name="T7" fmla="*/ 29 h 63"/>
                <a:gd name="T8" fmla="*/ 29 w 212"/>
                <a:gd name="T9" fmla="*/ 0 h 63"/>
                <a:gd name="T10" fmla="*/ 183 w 212"/>
                <a:gd name="T11" fmla="*/ 0 h 63"/>
                <a:gd name="T12" fmla="*/ 212 w 212"/>
                <a:gd name="T13" fmla="*/ 29 h 63"/>
                <a:gd name="T14" fmla="*/ 212 w 212"/>
                <a:gd name="T15" fmla="*/ 34 h 63"/>
                <a:gd name="T16" fmla="*/ 183 w 212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63">
                  <a:moveTo>
                    <a:pt x="183" y="63"/>
                  </a:move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99" y="0"/>
                    <a:pt x="212" y="13"/>
                    <a:pt x="212" y="29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50"/>
                    <a:pt x="199" y="63"/>
                    <a:pt x="183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24DA4C3-BB23-4CE0-8CBE-7C41D1A4FE48}"/>
              </a:ext>
            </a:extLst>
          </p:cNvPr>
          <p:cNvGrpSpPr/>
          <p:nvPr/>
        </p:nvGrpSpPr>
        <p:grpSpPr>
          <a:xfrm flipH="1">
            <a:off x="4856762" y="4513681"/>
            <a:ext cx="4356531" cy="1212983"/>
            <a:chOff x="1209676" y="-11126947"/>
            <a:chExt cx="10492578" cy="2921436"/>
          </a:xfrm>
        </p:grpSpPr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id="{61244E90-EAC6-40BD-9277-A1FB9BB8B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9676" y="-11126947"/>
              <a:ext cx="10492578" cy="1659578"/>
            </a:xfrm>
            <a:custGeom>
              <a:avLst/>
              <a:gdLst>
                <a:gd name="T0" fmla="*/ 1542 w 1542"/>
                <a:gd name="T1" fmla="*/ 29 h 244"/>
                <a:gd name="T2" fmla="*/ 1542 w 1542"/>
                <a:gd name="T3" fmla="*/ 34 h 244"/>
                <a:gd name="T4" fmla="*/ 1512 w 1542"/>
                <a:gd name="T5" fmla="*/ 63 h 244"/>
                <a:gd name="T6" fmla="*/ 608 w 1542"/>
                <a:gd name="T7" fmla="*/ 63 h 244"/>
                <a:gd name="T8" fmla="*/ 582 w 1542"/>
                <a:gd name="T9" fmla="*/ 92 h 244"/>
                <a:gd name="T10" fmla="*/ 582 w 1542"/>
                <a:gd name="T11" fmla="*/ 94 h 244"/>
                <a:gd name="T12" fmla="*/ 611 w 1542"/>
                <a:gd name="T13" fmla="*/ 123 h 244"/>
                <a:gd name="T14" fmla="*/ 1045 w 1542"/>
                <a:gd name="T15" fmla="*/ 123 h 244"/>
                <a:gd name="T16" fmla="*/ 1074 w 1542"/>
                <a:gd name="T17" fmla="*/ 152 h 244"/>
                <a:gd name="T18" fmla="*/ 1074 w 1542"/>
                <a:gd name="T19" fmla="*/ 157 h 244"/>
                <a:gd name="T20" fmla="*/ 1047 w 1542"/>
                <a:gd name="T21" fmla="*/ 186 h 244"/>
                <a:gd name="T22" fmla="*/ 1045 w 1542"/>
                <a:gd name="T23" fmla="*/ 186 h 244"/>
                <a:gd name="T24" fmla="*/ 986 w 1542"/>
                <a:gd name="T25" fmla="*/ 186 h 244"/>
                <a:gd name="T26" fmla="*/ 961 w 1542"/>
                <a:gd name="T27" fmla="*/ 214 h 244"/>
                <a:gd name="T28" fmla="*/ 961 w 1542"/>
                <a:gd name="T29" fmla="*/ 216 h 244"/>
                <a:gd name="T30" fmla="*/ 989 w 1542"/>
                <a:gd name="T31" fmla="*/ 243 h 244"/>
                <a:gd name="T32" fmla="*/ 998 w 1542"/>
                <a:gd name="T33" fmla="*/ 243 h 244"/>
                <a:gd name="T34" fmla="*/ 998 w 1542"/>
                <a:gd name="T35" fmla="*/ 244 h 244"/>
                <a:gd name="T36" fmla="*/ 415 w 1542"/>
                <a:gd name="T37" fmla="*/ 244 h 244"/>
                <a:gd name="T38" fmla="*/ 442 w 1542"/>
                <a:gd name="T39" fmla="*/ 216 h 244"/>
                <a:gd name="T40" fmla="*/ 442 w 1542"/>
                <a:gd name="T41" fmla="*/ 214 h 244"/>
                <a:gd name="T42" fmla="*/ 417 w 1542"/>
                <a:gd name="T43" fmla="*/ 186 h 244"/>
                <a:gd name="T44" fmla="*/ 79 w 1542"/>
                <a:gd name="T45" fmla="*/ 186 h 244"/>
                <a:gd name="T46" fmla="*/ 50 w 1542"/>
                <a:gd name="T47" fmla="*/ 157 h 244"/>
                <a:gd name="T48" fmla="*/ 50 w 1542"/>
                <a:gd name="T49" fmla="*/ 152 h 244"/>
                <a:gd name="T50" fmla="*/ 79 w 1542"/>
                <a:gd name="T51" fmla="*/ 123 h 244"/>
                <a:gd name="T52" fmla="*/ 150 w 1542"/>
                <a:gd name="T53" fmla="*/ 123 h 244"/>
                <a:gd name="T54" fmla="*/ 179 w 1542"/>
                <a:gd name="T55" fmla="*/ 94 h 244"/>
                <a:gd name="T56" fmla="*/ 179 w 1542"/>
                <a:gd name="T57" fmla="*/ 92 h 244"/>
                <a:gd name="T58" fmla="*/ 153 w 1542"/>
                <a:gd name="T59" fmla="*/ 63 h 244"/>
                <a:gd name="T60" fmla="*/ 29 w 1542"/>
                <a:gd name="T61" fmla="*/ 63 h 244"/>
                <a:gd name="T62" fmla="*/ 26 w 1542"/>
                <a:gd name="T63" fmla="*/ 63 h 244"/>
                <a:gd name="T64" fmla="*/ 0 w 1542"/>
                <a:gd name="T65" fmla="*/ 34 h 244"/>
                <a:gd name="T66" fmla="*/ 0 w 1542"/>
                <a:gd name="T67" fmla="*/ 29 h 244"/>
                <a:gd name="T68" fmla="*/ 29 w 1542"/>
                <a:gd name="T69" fmla="*/ 0 h 244"/>
                <a:gd name="T70" fmla="*/ 1512 w 1542"/>
                <a:gd name="T71" fmla="*/ 0 h 244"/>
                <a:gd name="T72" fmla="*/ 1542 w 1542"/>
                <a:gd name="T73" fmla="*/ 29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42" h="244">
                  <a:moveTo>
                    <a:pt x="1542" y="29"/>
                  </a:moveTo>
                  <a:cubicBezTo>
                    <a:pt x="1542" y="34"/>
                    <a:pt x="1542" y="34"/>
                    <a:pt x="1542" y="34"/>
                  </a:cubicBezTo>
                  <a:cubicBezTo>
                    <a:pt x="1542" y="50"/>
                    <a:pt x="1528" y="63"/>
                    <a:pt x="1512" y="63"/>
                  </a:cubicBezTo>
                  <a:cubicBezTo>
                    <a:pt x="608" y="63"/>
                    <a:pt x="608" y="63"/>
                    <a:pt x="608" y="63"/>
                  </a:cubicBezTo>
                  <a:cubicBezTo>
                    <a:pt x="593" y="64"/>
                    <a:pt x="582" y="77"/>
                    <a:pt x="582" y="92"/>
                  </a:cubicBezTo>
                  <a:cubicBezTo>
                    <a:pt x="582" y="94"/>
                    <a:pt x="582" y="94"/>
                    <a:pt x="582" y="94"/>
                  </a:cubicBezTo>
                  <a:cubicBezTo>
                    <a:pt x="582" y="110"/>
                    <a:pt x="595" y="123"/>
                    <a:pt x="611" y="123"/>
                  </a:cubicBezTo>
                  <a:cubicBezTo>
                    <a:pt x="1045" y="123"/>
                    <a:pt x="1045" y="123"/>
                    <a:pt x="1045" y="123"/>
                  </a:cubicBezTo>
                  <a:cubicBezTo>
                    <a:pt x="1061" y="123"/>
                    <a:pt x="1074" y="136"/>
                    <a:pt x="1074" y="152"/>
                  </a:cubicBezTo>
                  <a:cubicBezTo>
                    <a:pt x="1074" y="157"/>
                    <a:pt x="1074" y="157"/>
                    <a:pt x="1074" y="157"/>
                  </a:cubicBezTo>
                  <a:cubicBezTo>
                    <a:pt x="1074" y="173"/>
                    <a:pt x="1062" y="185"/>
                    <a:pt x="1047" y="186"/>
                  </a:cubicBezTo>
                  <a:cubicBezTo>
                    <a:pt x="1046" y="186"/>
                    <a:pt x="1046" y="186"/>
                    <a:pt x="1045" y="186"/>
                  </a:cubicBezTo>
                  <a:cubicBezTo>
                    <a:pt x="986" y="186"/>
                    <a:pt x="986" y="186"/>
                    <a:pt x="986" y="186"/>
                  </a:cubicBezTo>
                  <a:cubicBezTo>
                    <a:pt x="972" y="188"/>
                    <a:pt x="961" y="199"/>
                    <a:pt x="961" y="214"/>
                  </a:cubicBezTo>
                  <a:cubicBezTo>
                    <a:pt x="961" y="216"/>
                    <a:pt x="961" y="216"/>
                    <a:pt x="961" y="216"/>
                  </a:cubicBezTo>
                  <a:cubicBezTo>
                    <a:pt x="961" y="231"/>
                    <a:pt x="973" y="243"/>
                    <a:pt x="989" y="243"/>
                  </a:cubicBezTo>
                  <a:cubicBezTo>
                    <a:pt x="998" y="243"/>
                    <a:pt x="998" y="243"/>
                    <a:pt x="998" y="243"/>
                  </a:cubicBezTo>
                  <a:cubicBezTo>
                    <a:pt x="998" y="244"/>
                    <a:pt x="998" y="244"/>
                    <a:pt x="998" y="244"/>
                  </a:cubicBezTo>
                  <a:cubicBezTo>
                    <a:pt x="415" y="244"/>
                    <a:pt x="415" y="244"/>
                    <a:pt x="415" y="244"/>
                  </a:cubicBezTo>
                  <a:cubicBezTo>
                    <a:pt x="430" y="244"/>
                    <a:pt x="442" y="231"/>
                    <a:pt x="442" y="216"/>
                  </a:cubicBezTo>
                  <a:cubicBezTo>
                    <a:pt x="442" y="214"/>
                    <a:pt x="442" y="214"/>
                    <a:pt x="442" y="214"/>
                  </a:cubicBezTo>
                  <a:cubicBezTo>
                    <a:pt x="442" y="199"/>
                    <a:pt x="431" y="188"/>
                    <a:pt x="417" y="186"/>
                  </a:cubicBezTo>
                  <a:cubicBezTo>
                    <a:pt x="79" y="186"/>
                    <a:pt x="79" y="186"/>
                    <a:pt x="79" y="186"/>
                  </a:cubicBezTo>
                  <a:cubicBezTo>
                    <a:pt x="63" y="186"/>
                    <a:pt x="50" y="173"/>
                    <a:pt x="50" y="157"/>
                  </a:cubicBezTo>
                  <a:cubicBezTo>
                    <a:pt x="50" y="152"/>
                    <a:pt x="50" y="152"/>
                    <a:pt x="50" y="152"/>
                  </a:cubicBezTo>
                  <a:cubicBezTo>
                    <a:pt x="50" y="136"/>
                    <a:pt x="63" y="123"/>
                    <a:pt x="79" y="123"/>
                  </a:cubicBezTo>
                  <a:cubicBezTo>
                    <a:pt x="150" y="123"/>
                    <a:pt x="150" y="123"/>
                    <a:pt x="150" y="123"/>
                  </a:cubicBezTo>
                  <a:cubicBezTo>
                    <a:pt x="166" y="123"/>
                    <a:pt x="179" y="110"/>
                    <a:pt x="179" y="94"/>
                  </a:cubicBezTo>
                  <a:cubicBezTo>
                    <a:pt x="179" y="92"/>
                    <a:pt x="179" y="92"/>
                    <a:pt x="179" y="92"/>
                  </a:cubicBezTo>
                  <a:cubicBezTo>
                    <a:pt x="179" y="77"/>
                    <a:pt x="168" y="64"/>
                    <a:pt x="153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8" y="63"/>
                    <a:pt x="27" y="63"/>
                    <a:pt x="26" y="63"/>
                  </a:cubicBezTo>
                  <a:cubicBezTo>
                    <a:pt x="11" y="61"/>
                    <a:pt x="0" y="49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512" y="0"/>
                    <a:pt x="1512" y="0"/>
                    <a:pt x="1512" y="0"/>
                  </a:cubicBezTo>
                  <a:cubicBezTo>
                    <a:pt x="1528" y="0"/>
                    <a:pt x="1542" y="13"/>
                    <a:pt x="1542" y="29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7DC12752-E422-46F1-8E02-A75818B9A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688" y="-9467369"/>
              <a:ext cx="8048408" cy="1261858"/>
            </a:xfrm>
            <a:custGeom>
              <a:avLst/>
              <a:gdLst>
                <a:gd name="T0" fmla="*/ 29 w 1183"/>
                <a:gd name="T1" fmla="*/ 0 h 186"/>
                <a:gd name="T2" fmla="*/ 1153 w 1183"/>
                <a:gd name="T3" fmla="*/ 0 h 186"/>
                <a:gd name="T4" fmla="*/ 1183 w 1183"/>
                <a:gd name="T5" fmla="*/ 29 h 186"/>
                <a:gd name="T6" fmla="*/ 1183 w 1183"/>
                <a:gd name="T7" fmla="*/ 34 h 186"/>
                <a:gd name="T8" fmla="*/ 1153 w 1183"/>
                <a:gd name="T9" fmla="*/ 63 h 186"/>
                <a:gd name="T10" fmla="*/ 710 w 1183"/>
                <a:gd name="T11" fmla="*/ 63 h 186"/>
                <a:gd name="T12" fmla="*/ 685 w 1183"/>
                <a:gd name="T13" fmla="*/ 90 h 186"/>
                <a:gd name="T14" fmla="*/ 685 w 1183"/>
                <a:gd name="T15" fmla="*/ 95 h 186"/>
                <a:gd name="T16" fmla="*/ 712 w 1183"/>
                <a:gd name="T17" fmla="*/ 123 h 186"/>
                <a:gd name="T18" fmla="*/ 716 w 1183"/>
                <a:gd name="T19" fmla="*/ 123 h 186"/>
                <a:gd name="T20" fmla="*/ 716 w 1183"/>
                <a:gd name="T21" fmla="*/ 123 h 186"/>
                <a:gd name="T22" fmla="*/ 818 w 1183"/>
                <a:gd name="T23" fmla="*/ 123 h 186"/>
                <a:gd name="T24" fmla="*/ 847 w 1183"/>
                <a:gd name="T25" fmla="*/ 152 h 186"/>
                <a:gd name="T26" fmla="*/ 847 w 1183"/>
                <a:gd name="T27" fmla="*/ 157 h 186"/>
                <a:gd name="T28" fmla="*/ 818 w 1183"/>
                <a:gd name="T29" fmla="*/ 186 h 186"/>
                <a:gd name="T30" fmla="*/ 222 w 1183"/>
                <a:gd name="T31" fmla="*/ 186 h 186"/>
                <a:gd name="T32" fmla="*/ 193 w 1183"/>
                <a:gd name="T33" fmla="*/ 157 h 186"/>
                <a:gd name="T34" fmla="*/ 193 w 1183"/>
                <a:gd name="T35" fmla="*/ 152 h 186"/>
                <a:gd name="T36" fmla="*/ 222 w 1183"/>
                <a:gd name="T37" fmla="*/ 123 h 186"/>
                <a:gd name="T38" fmla="*/ 279 w 1183"/>
                <a:gd name="T39" fmla="*/ 123 h 186"/>
                <a:gd name="T40" fmla="*/ 279 w 1183"/>
                <a:gd name="T41" fmla="*/ 123 h 186"/>
                <a:gd name="T42" fmla="*/ 293 w 1183"/>
                <a:gd name="T43" fmla="*/ 123 h 186"/>
                <a:gd name="T44" fmla="*/ 320 w 1183"/>
                <a:gd name="T45" fmla="*/ 95 h 186"/>
                <a:gd name="T46" fmla="*/ 320 w 1183"/>
                <a:gd name="T47" fmla="*/ 90 h 186"/>
                <a:gd name="T48" fmla="*/ 295 w 1183"/>
                <a:gd name="T49" fmla="*/ 63 h 186"/>
                <a:gd name="T50" fmla="*/ 29 w 1183"/>
                <a:gd name="T51" fmla="*/ 63 h 186"/>
                <a:gd name="T52" fmla="*/ 0 w 1183"/>
                <a:gd name="T53" fmla="*/ 34 h 186"/>
                <a:gd name="T54" fmla="*/ 0 w 1183"/>
                <a:gd name="T55" fmla="*/ 29 h 186"/>
                <a:gd name="T56" fmla="*/ 29 w 1183"/>
                <a:gd name="T57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3" h="186">
                  <a:moveTo>
                    <a:pt x="29" y="0"/>
                  </a:moveTo>
                  <a:cubicBezTo>
                    <a:pt x="1153" y="0"/>
                    <a:pt x="1153" y="0"/>
                    <a:pt x="1153" y="0"/>
                  </a:cubicBezTo>
                  <a:cubicBezTo>
                    <a:pt x="1169" y="0"/>
                    <a:pt x="1183" y="13"/>
                    <a:pt x="1183" y="29"/>
                  </a:cubicBezTo>
                  <a:cubicBezTo>
                    <a:pt x="1183" y="34"/>
                    <a:pt x="1183" y="34"/>
                    <a:pt x="1183" y="34"/>
                  </a:cubicBezTo>
                  <a:cubicBezTo>
                    <a:pt x="1183" y="50"/>
                    <a:pt x="1169" y="63"/>
                    <a:pt x="1153" y="63"/>
                  </a:cubicBezTo>
                  <a:cubicBezTo>
                    <a:pt x="710" y="63"/>
                    <a:pt x="710" y="63"/>
                    <a:pt x="710" y="63"/>
                  </a:cubicBezTo>
                  <a:cubicBezTo>
                    <a:pt x="696" y="64"/>
                    <a:pt x="685" y="76"/>
                    <a:pt x="685" y="90"/>
                  </a:cubicBezTo>
                  <a:cubicBezTo>
                    <a:pt x="685" y="95"/>
                    <a:pt x="685" y="95"/>
                    <a:pt x="685" y="95"/>
                  </a:cubicBezTo>
                  <a:cubicBezTo>
                    <a:pt x="685" y="110"/>
                    <a:pt x="697" y="123"/>
                    <a:pt x="712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716" y="123"/>
                    <a:pt x="716" y="123"/>
                    <a:pt x="716" y="123"/>
                  </a:cubicBezTo>
                  <a:cubicBezTo>
                    <a:pt x="818" y="123"/>
                    <a:pt x="818" y="123"/>
                    <a:pt x="818" y="123"/>
                  </a:cubicBezTo>
                  <a:cubicBezTo>
                    <a:pt x="834" y="123"/>
                    <a:pt x="847" y="136"/>
                    <a:pt x="847" y="152"/>
                  </a:cubicBezTo>
                  <a:cubicBezTo>
                    <a:pt x="847" y="157"/>
                    <a:pt x="847" y="157"/>
                    <a:pt x="847" y="157"/>
                  </a:cubicBezTo>
                  <a:cubicBezTo>
                    <a:pt x="847" y="173"/>
                    <a:pt x="834" y="186"/>
                    <a:pt x="818" y="186"/>
                  </a:cubicBezTo>
                  <a:cubicBezTo>
                    <a:pt x="222" y="186"/>
                    <a:pt x="222" y="186"/>
                    <a:pt x="222" y="186"/>
                  </a:cubicBezTo>
                  <a:cubicBezTo>
                    <a:pt x="206" y="186"/>
                    <a:pt x="193" y="173"/>
                    <a:pt x="193" y="157"/>
                  </a:cubicBezTo>
                  <a:cubicBezTo>
                    <a:pt x="193" y="152"/>
                    <a:pt x="193" y="152"/>
                    <a:pt x="193" y="152"/>
                  </a:cubicBezTo>
                  <a:cubicBezTo>
                    <a:pt x="193" y="136"/>
                    <a:pt x="206" y="123"/>
                    <a:pt x="222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93" y="123"/>
                    <a:pt x="293" y="123"/>
                    <a:pt x="293" y="123"/>
                  </a:cubicBezTo>
                  <a:cubicBezTo>
                    <a:pt x="308" y="123"/>
                    <a:pt x="320" y="110"/>
                    <a:pt x="320" y="95"/>
                  </a:cubicBezTo>
                  <a:cubicBezTo>
                    <a:pt x="320" y="90"/>
                    <a:pt x="320" y="90"/>
                    <a:pt x="320" y="90"/>
                  </a:cubicBezTo>
                  <a:cubicBezTo>
                    <a:pt x="320" y="76"/>
                    <a:pt x="309" y="64"/>
                    <a:pt x="295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3CB4EC3E-533F-4676-8A58-B65F7ABBF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2969" y="-10291734"/>
              <a:ext cx="1446255" cy="430262"/>
            </a:xfrm>
            <a:custGeom>
              <a:avLst/>
              <a:gdLst>
                <a:gd name="T0" fmla="*/ 184 w 213"/>
                <a:gd name="T1" fmla="*/ 63 h 63"/>
                <a:gd name="T2" fmla="*/ 30 w 213"/>
                <a:gd name="T3" fmla="*/ 63 h 63"/>
                <a:gd name="T4" fmla="*/ 0 w 213"/>
                <a:gd name="T5" fmla="*/ 34 h 63"/>
                <a:gd name="T6" fmla="*/ 0 w 213"/>
                <a:gd name="T7" fmla="*/ 29 h 63"/>
                <a:gd name="T8" fmla="*/ 30 w 213"/>
                <a:gd name="T9" fmla="*/ 0 h 63"/>
                <a:gd name="T10" fmla="*/ 184 w 213"/>
                <a:gd name="T11" fmla="*/ 0 h 63"/>
                <a:gd name="T12" fmla="*/ 213 w 213"/>
                <a:gd name="T13" fmla="*/ 29 h 63"/>
                <a:gd name="T14" fmla="*/ 213 w 213"/>
                <a:gd name="T15" fmla="*/ 34 h 63"/>
                <a:gd name="T16" fmla="*/ 184 w 213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3" h="63">
                  <a:moveTo>
                    <a:pt x="184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00" y="0"/>
                    <a:pt x="213" y="13"/>
                    <a:pt x="213" y="29"/>
                  </a:cubicBezTo>
                  <a:cubicBezTo>
                    <a:pt x="213" y="34"/>
                    <a:pt x="213" y="34"/>
                    <a:pt x="213" y="34"/>
                  </a:cubicBezTo>
                  <a:cubicBezTo>
                    <a:pt x="213" y="50"/>
                    <a:pt x="200" y="63"/>
                    <a:pt x="184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734C838C-F2F6-43B5-985F-5F07B0B80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7657" y="-8632157"/>
              <a:ext cx="1442640" cy="426645"/>
            </a:xfrm>
            <a:custGeom>
              <a:avLst/>
              <a:gdLst>
                <a:gd name="T0" fmla="*/ 183 w 212"/>
                <a:gd name="T1" fmla="*/ 63 h 63"/>
                <a:gd name="T2" fmla="*/ 29 w 212"/>
                <a:gd name="T3" fmla="*/ 63 h 63"/>
                <a:gd name="T4" fmla="*/ 0 w 212"/>
                <a:gd name="T5" fmla="*/ 34 h 63"/>
                <a:gd name="T6" fmla="*/ 0 w 212"/>
                <a:gd name="T7" fmla="*/ 29 h 63"/>
                <a:gd name="T8" fmla="*/ 29 w 212"/>
                <a:gd name="T9" fmla="*/ 0 h 63"/>
                <a:gd name="T10" fmla="*/ 183 w 212"/>
                <a:gd name="T11" fmla="*/ 0 h 63"/>
                <a:gd name="T12" fmla="*/ 212 w 212"/>
                <a:gd name="T13" fmla="*/ 29 h 63"/>
                <a:gd name="T14" fmla="*/ 212 w 212"/>
                <a:gd name="T15" fmla="*/ 34 h 63"/>
                <a:gd name="T16" fmla="*/ 183 w 212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63">
                  <a:moveTo>
                    <a:pt x="183" y="63"/>
                  </a:moveTo>
                  <a:cubicBezTo>
                    <a:pt x="29" y="63"/>
                    <a:pt x="29" y="63"/>
                    <a:pt x="29" y="63"/>
                  </a:cubicBezTo>
                  <a:cubicBezTo>
                    <a:pt x="13" y="63"/>
                    <a:pt x="0" y="50"/>
                    <a:pt x="0" y="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99" y="0"/>
                    <a:pt x="212" y="13"/>
                    <a:pt x="212" y="29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2" y="50"/>
                    <a:pt x="199" y="63"/>
                    <a:pt x="183" y="63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46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215" name="Freeform: Shape 214">
            <a:extLst>
              <a:ext uri="{FF2B5EF4-FFF2-40B4-BE49-F238E27FC236}">
                <a16:creationId xmlns:a16="http://schemas.microsoft.com/office/drawing/2014/main" id="{C35E906F-45E1-45EA-93A8-CE89E7C15A4F}"/>
              </a:ext>
            </a:extLst>
          </p:cNvPr>
          <p:cNvSpPr>
            <a:spLocks/>
          </p:cNvSpPr>
          <p:nvPr/>
        </p:nvSpPr>
        <p:spPr bwMode="auto">
          <a:xfrm flipV="1">
            <a:off x="3650193" y="3195608"/>
            <a:ext cx="4887606" cy="2515355"/>
          </a:xfrm>
          <a:custGeom>
            <a:avLst/>
            <a:gdLst>
              <a:gd name="connsiteX0" fmla="*/ 101363 w 4887606"/>
              <a:gd name="connsiteY0" fmla="*/ 2515355 h 2515355"/>
              <a:gd name="connsiteX1" fmla="*/ 4786243 w 4887606"/>
              <a:gd name="connsiteY1" fmla="*/ 2515355 h 2515355"/>
              <a:gd name="connsiteX2" fmla="*/ 4887606 w 4887606"/>
              <a:gd name="connsiteY2" fmla="*/ 2414444 h 2515355"/>
              <a:gd name="connsiteX3" fmla="*/ 4786243 w 4887606"/>
              <a:gd name="connsiteY3" fmla="*/ 2316686 h 2515355"/>
              <a:gd name="connsiteX4" fmla="*/ 4777093 w 4887606"/>
              <a:gd name="connsiteY4" fmla="*/ 2316686 h 2515355"/>
              <a:gd name="connsiteX5" fmla="*/ 4764700 w 4887606"/>
              <a:gd name="connsiteY5" fmla="*/ 2316686 h 2515355"/>
              <a:gd name="connsiteX6" fmla="*/ 4764700 w 4887606"/>
              <a:gd name="connsiteY6" fmla="*/ 2304009 h 2515355"/>
              <a:gd name="connsiteX7" fmla="*/ 2442119 w 4887606"/>
              <a:gd name="connsiteY7" fmla="*/ 0 h 2515355"/>
              <a:gd name="connsiteX8" fmla="*/ 119538 w 4887606"/>
              <a:gd name="connsiteY8" fmla="*/ 2304009 h 2515355"/>
              <a:gd name="connsiteX9" fmla="*/ 119538 w 4887606"/>
              <a:gd name="connsiteY9" fmla="*/ 2316686 h 2515355"/>
              <a:gd name="connsiteX10" fmla="*/ 101363 w 4887606"/>
              <a:gd name="connsiteY10" fmla="*/ 2316686 h 2515355"/>
              <a:gd name="connsiteX11" fmla="*/ 0 w 4887606"/>
              <a:gd name="connsiteY11" fmla="*/ 2414444 h 2515355"/>
              <a:gd name="connsiteX12" fmla="*/ 101363 w 4887606"/>
              <a:gd name="connsiteY12" fmla="*/ 2515355 h 251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87606" h="2515355">
                <a:moveTo>
                  <a:pt x="101363" y="2515355"/>
                </a:moveTo>
                <a:cubicBezTo>
                  <a:pt x="101363" y="2515355"/>
                  <a:pt x="101363" y="2515355"/>
                  <a:pt x="4786243" y="2515355"/>
                </a:cubicBezTo>
                <a:cubicBezTo>
                  <a:pt x="4840092" y="2515355"/>
                  <a:pt x="4887606" y="2471206"/>
                  <a:pt x="4887606" y="2414444"/>
                </a:cubicBezTo>
                <a:cubicBezTo>
                  <a:pt x="4887606" y="2360835"/>
                  <a:pt x="4840092" y="2316686"/>
                  <a:pt x="4786243" y="2316686"/>
                </a:cubicBezTo>
                <a:cubicBezTo>
                  <a:pt x="4786243" y="2316686"/>
                  <a:pt x="4786243" y="2316686"/>
                  <a:pt x="4777093" y="2316686"/>
                </a:cubicBezTo>
                <a:lnTo>
                  <a:pt x="4764700" y="2316686"/>
                </a:lnTo>
                <a:cubicBezTo>
                  <a:pt x="4764700" y="2316686"/>
                  <a:pt x="4764700" y="2316686"/>
                  <a:pt x="4764700" y="2304009"/>
                </a:cubicBezTo>
                <a:cubicBezTo>
                  <a:pt x="4764700" y="1033160"/>
                  <a:pt x="3725401" y="0"/>
                  <a:pt x="2442119" y="0"/>
                </a:cubicBezTo>
                <a:cubicBezTo>
                  <a:pt x="1158838" y="0"/>
                  <a:pt x="119538" y="1033160"/>
                  <a:pt x="119538" y="2304009"/>
                </a:cubicBezTo>
                <a:cubicBezTo>
                  <a:pt x="119538" y="2304009"/>
                  <a:pt x="119538" y="2304009"/>
                  <a:pt x="119538" y="2316686"/>
                </a:cubicBezTo>
                <a:lnTo>
                  <a:pt x="101363" y="2316686"/>
                </a:lnTo>
                <a:cubicBezTo>
                  <a:pt x="44346" y="2316686"/>
                  <a:pt x="0" y="2360835"/>
                  <a:pt x="0" y="2414444"/>
                </a:cubicBezTo>
                <a:cubicBezTo>
                  <a:pt x="0" y="2471206"/>
                  <a:pt x="44346" y="2515355"/>
                  <a:pt x="101363" y="2515355"/>
                </a:cubicBezTo>
                <a:close/>
              </a:path>
            </a:pathLst>
          </a:custGeom>
          <a:gradFill>
            <a:gsLst>
              <a:gs pos="50000">
                <a:schemeClr val="accent2"/>
              </a:gs>
              <a:gs pos="0">
                <a:srgbClr val="3B40A3"/>
              </a:gs>
              <a:gs pos="100000">
                <a:srgbClr val="6F35A1"/>
              </a:gs>
            </a:gsLst>
            <a:lin ang="2700000" scaled="0"/>
          </a:gra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18" name="Freeform: Shape 617">
            <a:extLst>
              <a:ext uri="{FF2B5EF4-FFF2-40B4-BE49-F238E27FC236}">
                <a16:creationId xmlns:a16="http://schemas.microsoft.com/office/drawing/2014/main" id="{7C42A87E-90A7-492A-BB27-68AD9C613E57}"/>
              </a:ext>
            </a:extLst>
          </p:cNvPr>
          <p:cNvSpPr>
            <a:spLocks/>
          </p:cNvSpPr>
          <p:nvPr/>
        </p:nvSpPr>
        <p:spPr bwMode="auto">
          <a:xfrm flipV="1">
            <a:off x="3650193" y="3195608"/>
            <a:ext cx="4490166" cy="2081738"/>
          </a:xfrm>
          <a:custGeom>
            <a:avLst/>
            <a:gdLst>
              <a:gd name="connsiteX0" fmla="*/ 108446 w 4803915"/>
              <a:gd name="connsiteY0" fmla="*/ 2227201 h 2227201"/>
              <a:gd name="connsiteX1" fmla="*/ 4665315 w 4803915"/>
              <a:gd name="connsiteY1" fmla="*/ 2227201 h 2227201"/>
              <a:gd name="connsiteX2" fmla="*/ 4803915 w 4803915"/>
              <a:gd name="connsiteY2" fmla="*/ 2227201 h 2227201"/>
              <a:gd name="connsiteX3" fmla="*/ 4803205 w 4803915"/>
              <a:gd name="connsiteY3" fmla="*/ 2213258 h 2227201"/>
              <a:gd name="connsiteX4" fmla="*/ 2331157 w 4803915"/>
              <a:gd name="connsiteY4" fmla="*/ 0 h 2227201"/>
              <a:gd name="connsiteX5" fmla="*/ 413518 w 4803915"/>
              <a:gd name="connsiteY5" fmla="*/ 897752 h 2227201"/>
              <a:gd name="connsiteX6" fmla="*/ 356596 w 4803915"/>
              <a:gd name="connsiteY6" fmla="*/ 973300 h 2227201"/>
              <a:gd name="connsiteX7" fmla="*/ 323081 w 4803915"/>
              <a:gd name="connsiteY7" fmla="*/ 1042328 h 2227201"/>
              <a:gd name="connsiteX8" fmla="*/ 127891 w 4803915"/>
              <a:gd name="connsiteY8" fmla="*/ 2001088 h 2227201"/>
              <a:gd name="connsiteX9" fmla="*/ 127891 w 4803915"/>
              <a:gd name="connsiteY9" fmla="*/ 2014650 h 2227201"/>
              <a:gd name="connsiteX10" fmla="*/ 108446 w 4803915"/>
              <a:gd name="connsiteY10" fmla="*/ 2014650 h 2227201"/>
              <a:gd name="connsiteX11" fmla="*/ 0 w 4803915"/>
              <a:gd name="connsiteY11" fmla="*/ 2119239 h 2227201"/>
              <a:gd name="connsiteX12" fmla="*/ 108446 w 4803915"/>
              <a:gd name="connsiteY12" fmla="*/ 2227201 h 2227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3915" h="2227201">
                <a:moveTo>
                  <a:pt x="108446" y="2227201"/>
                </a:moveTo>
                <a:cubicBezTo>
                  <a:pt x="108446" y="2227201"/>
                  <a:pt x="108446" y="2227201"/>
                  <a:pt x="4665315" y="2227201"/>
                </a:cubicBezTo>
                <a:lnTo>
                  <a:pt x="4803915" y="2227201"/>
                </a:lnTo>
                <a:lnTo>
                  <a:pt x="4803205" y="2213258"/>
                </a:lnTo>
                <a:cubicBezTo>
                  <a:pt x="4676018" y="971502"/>
                  <a:pt x="3618298" y="0"/>
                  <a:pt x="2331157" y="0"/>
                </a:cubicBezTo>
                <a:cubicBezTo>
                  <a:pt x="1558872" y="0"/>
                  <a:pt x="869179" y="349741"/>
                  <a:pt x="413518" y="897752"/>
                </a:cubicBezTo>
                <a:lnTo>
                  <a:pt x="356596" y="973300"/>
                </a:lnTo>
                <a:lnTo>
                  <a:pt x="323081" y="1042328"/>
                </a:lnTo>
                <a:cubicBezTo>
                  <a:pt x="197386" y="1337156"/>
                  <a:pt x="127891" y="1661175"/>
                  <a:pt x="127891" y="2001088"/>
                </a:cubicBezTo>
                <a:cubicBezTo>
                  <a:pt x="127891" y="2001088"/>
                  <a:pt x="127891" y="2001088"/>
                  <a:pt x="127891" y="2014650"/>
                </a:cubicBezTo>
                <a:lnTo>
                  <a:pt x="108446" y="2014650"/>
                </a:lnTo>
                <a:cubicBezTo>
                  <a:pt x="47445" y="2014650"/>
                  <a:pt x="0" y="2061884"/>
                  <a:pt x="0" y="2119239"/>
                </a:cubicBezTo>
                <a:cubicBezTo>
                  <a:pt x="0" y="2179968"/>
                  <a:pt x="47445" y="2227201"/>
                  <a:pt x="108446" y="2227201"/>
                </a:cubicBezTo>
                <a:close/>
              </a:path>
            </a:pathLst>
          </a:custGeom>
          <a:solidFill>
            <a:schemeClr val="accent2">
              <a:lumMod val="50000"/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38" name="Group 737">
            <a:extLst>
              <a:ext uri="{FF2B5EF4-FFF2-40B4-BE49-F238E27FC236}">
                <a16:creationId xmlns:a16="http://schemas.microsoft.com/office/drawing/2014/main" id="{D0AB1BC9-464C-47B1-901A-7748FFEEDCFB}"/>
              </a:ext>
            </a:extLst>
          </p:cNvPr>
          <p:cNvGrpSpPr/>
          <p:nvPr/>
        </p:nvGrpSpPr>
        <p:grpSpPr>
          <a:xfrm>
            <a:off x="3543743" y="1601845"/>
            <a:ext cx="4591915" cy="3571600"/>
            <a:chOff x="3543743" y="1684677"/>
            <a:chExt cx="4591915" cy="3571600"/>
          </a:xfrm>
        </p:grpSpPr>
        <p:grpSp>
          <p:nvGrpSpPr>
            <p:cNvPr id="510" name="Group 509">
              <a:extLst>
                <a:ext uri="{FF2B5EF4-FFF2-40B4-BE49-F238E27FC236}">
                  <a16:creationId xmlns:a16="http://schemas.microsoft.com/office/drawing/2014/main" id="{DC053A91-5356-45FA-AFC0-2277A2D9705F}"/>
                </a:ext>
              </a:extLst>
            </p:cNvPr>
            <p:cNvGrpSpPr/>
            <p:nvPr/>
          </p:nvGrpSpPr>
          <p:grpSpPr>
            <a:xfrm flipH="1">
              <a:off x="5638235" y="1684677"/>
              <a:ext cx="2497423" cy="1665740"/>
              <a:chOff x="-8774112" y="9498970"/>
              <a:chExt cx="4995863" cy="3332162"/>
            </a:xfrm>
          </p:grpSpPr>
          <p:grpSp>
            <p:nvGrpSpPr>
              <p:cNvPr id="511" name="Group 510">
                <a:extLst>
                  <a:ext uri="{FF2B5EF4-FFF2-40B4-BE49-F238E27FC236}">
                    <a16:creationId xmlns:a16="http://schemas.microsoft.com/office/drawing/2014/main" id="{4939101C-35B4-4A9A-8645-E49A75031DD6}"/>
                  </a:ext>
                </a:extLst>
              </p:cNvPr>
              <p:cNvGrpSpPr/>
              <p:nvPr/>
            </p:nvGrpSpPr>
            <p:grpSpPr>
              <a:xfrm>
                <a:off x="-6958012" y="9586283"/>
                <a:ext cx="339726" cy="1454149"/>
                <a:chOff x="-6958012" y="9586283"/>
                <a:chExt cx="339726" cy="1454149"/>
              </a:xfrm>
              <a:solidFill>
                <a:schemeClr val="accent4">
                  <a:lumMod val="50000"/>
                </a:schemeClr>
              </a:solidFill>
            </p:grpSpPr>
            <p:sp>
              <p:nvSpPr>
                <p:cNvPr id="586" name="Freeform 19">
                  <a:extLst>
                    <a:ext uri="{FF2B5EF4-FFF2-40B4-BE49-F238E27FC236}">
                      <a16:creationId xmlns:a16="http://schemas.microsoft.com/office/drawing/2014/main" id="{3A01AEE3-D848-4257-8910-26F7D5FFD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880224" y="9586283"/>
                  <a:ext cx="111125" cy="209550"/>
                </a:xfrm>
                <a:custGeom>
                  <a:avLst/>
                  <a:gdLst>
                    <a:gd name="T0" fmla="*/ 28 w 46"/>
                    <a:gd name="T1" fmla="*/ 86 h 86"/>
                    <a:gd name="T2" fmla="*/ 2 w 46"/>
                    <a:gd name="T3" fmla="*/ 34 h 86"/>
                    <a:gd name="T4" fmla="*/ 19 w 46"/>
                    <a:gd name="T5" fmla="*/ 1 h 86"/>
                    <a:gd name="T6" fmla="*/ 43 w 46"/>
                    <a:gd name="T7" fmla="*/ 29 h 86"/>
                    <a:gd name="T8" fmla="*/ 28 w 46"/>
                    <a:gd name="T9" fmla="*/ 86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6" h="86">
                      <a:moveTo>
                        <a:pt x="28" y="86"/>
                      </a:moveTo>
                      <a:cubicBezTo>
                        <a:pt x="28" y="86"/>
                        <a:pt x="5" y="64"/>
                        <a:pt x="2" y="34"/>
                      </a:cubicBezTo>
                      <a:cubicBezTo>
                        <a:pt x="0" y="22"/>
                        <a:pt x="8" y="2"/>
                        <a:pt x="19" y="1"/>
                      </a:cubicBezTo>
                      <a:cubicBezTo>
                        <a:pt x="30" y="0"/>
                        <a:pt x="41" y="13"/>
                        <a:pt x="43" y="29"/>
                      </a:cubicBezTo>
                      <a:cubicBezTo>
                        <a:pt x="46" y="59"/>
                        <a:pt x="28" y="86"/>
                        <a:pt x="28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7" name="Freeform 20">
                  <a:extLst>
                    <a:ext uri="{FF2B5EF4-FFF2-40B4-BE49-F238E27FC236}">
                      <a16:creationId xmlns:a16="http://schemas.microsoft.com/office/drawing/2014/main" id="{FFFDF4DC-A4CE-43C5-AE51-4CCEDA1CC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88149" y="9768845"/>
                  <a:ext cx="138113" cy="149225"/>
                </a:xfrm>
                <a:custGeom>
                  <a:avLst/>
                  <a:gdLst>
                    <a:gd name="T0" fmla="*/ 0 w 57"/>
                    <a:gd name="T1" fmla="*/ 62 h 62"/>
                    <a:gd name="T2" fmla="*/ 18 w 57"/>
                    <a:gd name="T3" fmla="*/ 14 h 62"/>
                    <a:gd name="T4" fmla="*/ 49 w 57"/>
                    <a:gd name="T5" fmla="*/ 7 h 62"/>
                    <a:gd name="T6" fmla="*/ 45 w 57"/>
                    <a:gd name="T7" fmla="*/ 38 h 62"/>
                    <a:gd name="T8" fmla="*/ 0 w 57"/>
                    <a:gd name="T9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62">
                      <a:moveTo>
                        <a:pt x="0" y="62"/>
                      </a:moveTo>
                      <a:cubicBezTo>
                        <a:pt x="0" y="62"/>
                        <a:pt x="0" y="33"/>
                        <a:pt x="18" y="14"/>
                      </a:cubicBezTo>
                      <a:cubicBezTo>
                        <a:pt x="24" y="6"/>
                        <a:pt x="41" y="0"/>
                        <a:pt x="49" y="7"/>
                      </a:cubicBezTo>
                      <a:cubicBezTo>
                        <a:pt x="57" y="13"/>
                        <a:pt x="55" y="28"/>
                        <a:pt x="45" y="38"/>
                      </a:cubicBezTo>
                      <a:cubicBezTo>
                        <a:pt x="28" y="58"/>
                        <a:pt x="0" y="62"/>
                        <a:pt x="0" y="6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8" name="Freeform 21">
                  <a:extLst>
                    <a:ext uri="{FF2B5EF4-FFF2-40B4-BE49-F238E27FC236}">
                      <a16:creationId xmlns:a16="http://schemas.microsoft.com/office/drawing/2014/main" id="{21B6E8C6-869A-4AAA-A006-91A583A09E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91324" y="9964108"/>
                  <a:ext cx="173038" cy="117475"/>
                </a:xfrm>
                <a:custGeom>
                  <a:avLst/>
                  <a:gdLst>
                    <a:gd name="T0" fmla="*/ 0 w 71"/>
                    <a:gd name="T1" fmla="*/ 40 h 48"/>
                    <a:gd name="T2" fmla="*/ 36 w 71"/>
                    <a:gd name="T3" fmla="*/ 4 h 48"/>
                    <a:gd name="T4" fmla="*/ 67 w 71"/>
                    <a:gd name="T5" fmla="*/ 10 h 48"/>
                    <a:gd name="T6" fmla="*/ 51 w 71"/>
                    <a:gd name="T7" fmla="*/ 38 h 48"/>
                    <a:gd name="T8" fmla="*/ 0 w 71"/>
                    <a:gd name="T9" fmla="*/ 4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1" h="48">
                      <a:moveTo>
                        <a:pt x="0" y="40"/>
                      </a:moveTo>
                      <a:cubicBezTo>
                        <a:pt x="0" y="40"/>
                        <a:pt x="12" y="15"/>
                        <a:pt x="36" y="4"/>
                      </a:cubicBezTo>
                      <a:cubicBezTo>
                        <a:pt x="45" y="0"/>
                        <a:pt x="63" y="1"/>
                        <a:pt x="67" y="10"/>
                      </a:cubicBezTo>
                      <a:cubicBezTo>
                        <a:pt x="71" y="20"/>
                        <a:pt x="64" y="32"/>
                        <a:pt x="51" y="38"/>
                      </a:cubicBezTo>
                      <a:cubicBezTo>
                        <a:pt x="27" y="48"/>
                        <a:pt x="0" y="40"/>
                        <a:pt x="0" y="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9" name="Freeform 22">
                  <a:extLst>
                    <a:ext uri="{FF2B5EF4-FFF2-40B4-BE49-F238E27FC236}">
                      <a16:creationId xmlns:a16="http://schemas.microsoft.com/office/drawing/2014/main" id="{FE814CE9-83BA-42A1-99AB-0969D82DE9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58012" y="9814883"/>
                  <a:ext cx="166688" cy="114300"/>
                </a:xfrm>
                <a:custGeom>
                  <a:avLst/>
                  <a:gdLst>
                    <a:gd name="T0" fmla="*/ 69 w 69"/>
                    <a:gd name="T1" fmla="*/ 44 h 47"/>
                    <a:gd name="T2" fmla="*/ 20 w 69"/>
                    <a:gd name="T3" fmla="*/ 34 h 47"/>
                    <a:gd name="T4" fmla="*/ 5 w 69"/>
                    <a:gd name="T5" fmla="*/ 8 h 47"/>
                    <a:gd name="T6" fmla="*/ 35 w 69"/>
                    <a:gd name="T7" fmla="*/ 7 h 47"/>
                    <a:gd name="T8" fmla="*/ 69 w 69"/>
                    <a:gd name="T9" fmla="*/ 44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47">
                      <a:moveTo>
                        <a:pt x="69" y="44"/>
                      </a:moveTo>
                      <a:cubicBezTo>
                        <a:pt x="69" y="44"/>
                        <a:pt x="43" y="47"/>
                        <a:pt x="20" y="34"/>
                      </a:cubicBezTo>
                      <a:cubicBezTo>
                        <a:pt x="11" y="29"/>
                        <a:pt x="0" y="15"/>
                        <a:pt x="5" y="8"/>
                      </a:cubicBezTo>
                      <a:cubicBezTo>
                        <a:pt x="9" y="0"/>
                        <a:pt x="23" y="0"/>
                        <a:pt x="35" y="7"/>
                      </a:cubicBezTo>
                      <a:cubicBezTo>
                        <a:pt x="58" y="20"/>
                        <a:pt x="69" y="44"/>
                        <a:pt x="69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0" name="Freeform 23">
                  <a:extLst>
                    <a:ext uri="{FF2B5EF4-FFF2-40B4-BE49-F238E27FC236}">
                      <a16:creationId xmlns:a16="http://schemas.microsoft.com/office/drawing/2014/main" id="{04A3F82F-9804-4332-A526-D76C5F9E9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48487" y="9954583"/>
                  <a:ext cx="165100" cy="117475"/>
                </a:xfrm>
                <a:custGeom>
                  <a:avLst/>
                  <a:gdLst>
                    <a:gd name="T0" fmla="*/ 68 w 68"/>
                    <a:gd name="T1" fmla="*/ 44 h 48"/>
                    <a:gd name="T2" fmla="*/ 19 w 68"/>
                    <a:gd name="T3" fmla="*/ 35 h 48"/>
                    <a:gd name="T4" fmla="*/ 4 w 68"/>
                    <a:gd name="T5" fmla="*/ 8 h 48"/>
                    <a:gd name="T6" fmla="*/ 35 w 68"/>
                    <a:gd name="T7" fmla="*/ 7 h 48"/>
                    <a:gd name="T8" fmla="*/ 68 w 68"/>
                    <a:gd name="T9" fmla="*/ 44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48">
                      <a:moveTo>
                        <a:pt x="68" y="44"/>
                      </a:moveTo>
                      <a:cubicBezTo>
                        <a:pt x="68" y="44"/>
                        <a:pt x="42" y="48"/>
                        <a:pt x="19" y="35"/>
                      </a:cubicBezTo>
                      <a:cubicBezTo>
                        <a:pt x="11" y="30"/>
                        <a:pt x="0" y="15"/>
                        <a:pt x="4" y="8"/>
                      </a:cubicBezTo>
                      <a:cubicBezTo>
                        <a:pt x="9" y="0"/>
                        <a:pt x="23" y="0"/>
                        <a:pt x="35" y="7"/>
                      </a:cubicBezTo>
                      <a:cubicBezTo>
                        <a:pt x="58" y="20"/>
                        <a:pt x="68" y="44"/>
                        <a:pt x="68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1" name="Freeform 24">
                  <a:extLst>
                    <a:ext uri="{FF2B5EF4-FFF2-40B4-BE49-F238E27FC236}">
                      <a16:creationId xmlns:a16="http://schemas.microsoft.com/office/drawing/2014/main" id="{D58106B7-99EA-4F04-BF70-F554331958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935787" y="10165720"/>
                  <a:ext cx="130175" cy="104775"/>
                </a:xfrm>
                <a:custGeom>
                  <a:avLst/>
                  <a:gdLst>
                    <a:gd name="T0" fmla="*/ 54 w 54"/>
                    <a:gd name="T1" fmla="*/ 37 h 43"/>
                    <a:gd name="T2" fmla="*/ 14 w 54"/>
                    <a:gd name="T3" fmla="*/ 33 h 43"/>
                    <a:gd name="T4" fmla="*/ 5 w 54"/>
                    <a:gd name="T5" fmla="*/ 9 h 43"/>
                    <a:gd name="T6" fmla="*/ 30 w 54"/>
                    <a:gd name="T7" fmla="*/ 5 h 43"/>
                    <a:gd name="T8" fmla="*/ 54 w 54"/>
                    <a:gd name="T9" fmla="*/ 37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" h="43">
                      <a:moveTo>
                        <a:pt x="54" y="37"/>
                      </a:moveTo>
                      <a:cubicBezTo>
                        <a:pt x="54" y="37"/>
                        <a:pt x="32" y="43"/>
                        <a:pt x="14" y="33"/>
                      </a:cubicBezTo>
                      <a:cubicBezTo>
                        <a:pt x="8" y="29"/>
                        <a:pt x="0" y="17"/>
                        <a:pt x="5" y="9"/>
                      </a:cubicBezTo>
                      <a:cubicBezTo>
                        <a:pt x="9" y="1"/>
                        <a:pt x="21" y="0"/>
                        <a:pt x="30" y="5"/>
                      </a:cubicBezTo>
                      <a:cubicBezTo>
                        <a:pt x="48" y="15"/>
                        <a:pt x="54" y="37"/>
                        <a:pt x="54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2" name="Freeform 25">
                  <a:extLst>
                    <a:ext uri="{FF2B5EF4-FFF2-40B4-BE49-F238E27FC236}">
                      <a16:creationId xmlns:a16="http://schemas.microsoft.com/office/drawing/2014/main" id="{03B46727-6D10-40E6-9299-D8D3EB8D7A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797674" y="10160958"/>
                  <a:ext cx="133350" cy="100012"/>
                </a:xfrm>
                <a:custGeom>
                  <a:avLst/>
                  <a:gdLst>
                    <a:gd name="T0" fmla="*/ 0 w 55"/>
                    <a:gd name="T1" fmla="*/ 39 h 41"/>
                    <a:gd name="T2" fmla="*/ 26 w 55"/>
                    <a:gd name="T3" fmla="*/ 7 h 41"/>
                    <a:gd name="T4" fmla="*/ 51 w 55"/>
                    <a:gd name="T5" fmla="*/ 7 h 41"/>
                    <a:gd name="T6" fmla="*/ 40 w 55"/>
                    <a:gd name="T7" fmla="*/ 29 h 41"/>
                    <a:gd name="T8" fmla="*/ 0 w 55"/>
                    <a:gd name="T9" fmla="*/ 39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5" h="41">
                      <a:moveTo>
                        <a:pt x="0" y="39"/>
                      </a:moveTo>
                      <a:cubicBezTo>
                        <a:pt x="0" y="39"/>
                        <a:pt x="8" y="18"/>
                        <a:pt x="26" y="7"/>
                      </a:cubicBezTo>
                      <a:cubicBezTo>
                        <a:pt x="32" y="3"/>
                        <a:pt x="47" y="0"/>
                        <a:pt x="51" y="7"/>
                      </a:cubicBezTo>
                      <a:cubicBezTo>
                        <a:pt x="55" y="13"/>
                        <a:pt x="49" y="23"/>
                        <a:pt x="40" y="29"/>
                      </a:cubicBezTo>
                      <a:cubicBezTo>
                        <a:pt x="22" y="41"/>
                        <a:pt x="0" y="39"/>
                        <a:pt x="0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93" name="Freeform 26">
                  <a:extLst>
                    <a:ext uri="{FF2B5EF4-FFF2-40B4-BE49-F238E27FC236}">
                      <a16:creationId xmlns:a16="http://schemas.microsoft.com/office/drawing/2014/main" id="{94BCB61E-0EA6-43F7-959B-ED4BCDE463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6892924" y="9759320"/>
                  <a:ext cx="192088" cy="1281112"/>
                </a:xfrm>
                <a:custGeom>
                  <a:avLst/>
                  <a:gdLst>
                    <a:gd name="T0" fmla="*/ 67 w 79"/>
                    <a:gd name="T1" fmla="*/ 527 h 529"/>
                    <a:gd name="T2" fmla="*/ 79 w 79"/>
                    <a:gd name="T3" fmla="*/ 528 h 529"/>
                    <a:gd name="T4" fmla="*/ 78 w 79"/>
                    <a:gd name="T5" fmla="*/ 523 h 529"/>
                    <a:gd name="T6" fmla="*/ 78 w 79"/>
                    <a:gd name="T7" fmla="*/ 526 h 529"/>
                    <a:gd name="T8" fmla="*/ 78 w 79"/>
                    <a:gd name="T9" fmla="*/ 523 h 529"/>
                    <a:gd name="T10" fmla="*/ 52 w 79"/>
                    <a:gd name="T11" fmla="*/ 512 h 529"/>
                    <a:gd name="T12" fmla="*/ 24 w 79"/>
                    <a:gd name="T13" fmla="*/ 434 h 529"/>
                    <a:gd name="T14" fmla="*/ 37 w 79"/>
                    <a:gd name="T15" fmla="*/ 222 h 529"/>
                    <a:gd name="T16" fmla="*/ 37 w 79"/>
                    <a:gd name="T17" fmla="*/ 25 h 529"/>
                    <a:gd name="T18" fmla="*/ 34 w 79"/>
                    <a:gd name="T19" fmla="*/ 0 h 529"/>
                    <a:gd name="T20" fmla="*/ 28 w 79"/>
                    <a:gd name="T21" fmla="*/ 0 h 529"/>
                    <a:gd name="T22" fmla="*/ 32 w 79"/>
                    <a:gd name="T23" fmla="*/ 26 h 529"/>
                    <a:gd name="T24" fmla="*/ 32 w 79"/>
                    <a:gd name="T25" fmla="*/ 221 h 529"/>
                    <a:gd name="T26" fmla="*/ 49 w 79"/>
                    <a:gd name="T27" fmla="*/ 516 h 529"/>
                    <a:gd name="T28" fmla="*/ 67 w 79"/>
                    <a:gd name="T29" fmla="*/ 527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9" h="529">
                      <a:moveTo>
                        <a:pt x="67" y="527"/>
                      </a:moveTo>
                      <a:cubicBezTo>
                        <a:pt x="74" y="529"/>
                        <a:pt x="78" y="528"/>
                        <a:pt x="79" y="528"/>
                      </a:cubicBezTo>
                      <a:cubicBezTo>
                        <a:pt x="78" y="523"/>
                        <a:pt x="78" y="523"/>
                        <a:pt x="78" y="523"/>
                      </a:cubicBezTo>
                      <a:cubicBezTo>
                        <a:pt x="78" y="526"/>
                        <a:pt x="78" y="526"/>
                        <a:pt x="78" y="526"/>
                      </a:cubicBezTo>
                      <a:cubicBezTo>
                        <a:pt x="78" y="523"/>
                        <a:pt x="78" y="523"/>
                        <a:pt x="78" y="523"/>
                      </a:cubicBezTo>
                      <a:cubicBezTo>
                        <a:pt x="77" y="523"/>
                        <a:pt x="65" y="525"/>
                        <a:pt x="52" y="512"/>
                      </a:cubicBezTo>
                      <a:cubicBezTo>
                        <a:pt x="38" y="498"/>
                        <a:pt x="29" y="471"/>
                        <a:pt x="24" y="434"/>
                      </a:cubicBezTo>
                      <a:cubicBezTo>
                        <a:pt x="18" y="382"/>
                        <a:pt x="23" y="311"/>
                        <a:pt x="37" y="222"/>
                      </a:cubicBezTo>
                      <a:cubicBezTo>
                        <a:pt x="54" y="118"/>
                        <a:pt x="44" y="62"/>
                        <a:pt x="37" y="25"/>
                      </a:cubicBezTo>
                      <a:cubicBezTo>
                        <a:pt x="36" y="15"/>
                        <a:pt x="34" y="7"/>
                        <a:pt x="34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9" y="8"/>
                        <a:pt x="30" y="16"/>
                        <a:pt x="32" y="26"/>
                      </a:cubicBezTo>
                      <a:cubicBezTo>
                        <a:pt x="39" y="63"/>
                        <a:pt x="49" y="118"/>
                        <a:pt x="32" y="221"/>
                      </a:cubicBezTo>
                      <a:cubicBezTo>
                        <a:pt x="0" y="419"/>
                        <a:pt x="23" y="491"/>
                        <a:pt x="49" y="516"/>
                      </a:cubicBezTo>
                      <a:cubicBezTo>
                        <a:pt x="56" y="523"/>
                        <a:pt x="62" y="526"/>
                        <a:pt x="67" y="52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12" name="Freeform 39">
                <a:extLst>
                  <a:ext uri="{FF2B5EF4-FFF2-40B4-BE49-F238E27FC236}">
                    <a16:creationId xmlns:a16="http://schemas.microsoft.com/office/drawing/2014/main" id="{AAB8358D-9C8B-419D-865D-86497B39D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774112" y="11537320"/>
                <a:ext cx="2605088" cy="1165225"/>
              </a:xfrm>
              <a:custGeom>
                <a:avLst/>
                <a:gdLst>
                  <a:gd name="T0" fmla="*/ 1019 w 1076"/>
                  <a:gd name="T1" fmla="*/ 433 h 481"/>
                  <a:gd name="T2" fmla="*/ 596 w 1076"/>
                  <a:gd name="T3" fmla="*/ 49 h 481"/>
                  <a:gd name="T4" fmla="*/ 737 w 1076"/>
                  <a:gd name="T5" fmla="*/ 305 h 481"/>
                  <a:gd name="T6" fmla="*/ 531 w 1076"/>
                  <a:gd name="T7" fmla="*/ 165 h 481"/>
                  <a:gd name="T8" fmla="*/ 469 w 1076"/>
                  <a:gd name="T9" fmla="*/ 307 h 481"/>
                  <a:gd name="T10" fmla="*/ 382 w 1076"/>
                  <a:gd name="T11" fmla="*/ 234 h 481"/>
                  <a:gd name="T12" fmla="*/ 277 w 1076"/>
                  <a:gd name="T13" fmla="*/ 320 h 481"/>
                  <a:gd name="T14" fmla="*/ 579 w 1076"/>
                  <a:gd name="T15" fmla="*/ 375 h 481"/>
                  <a:gd name="T16" fmla="*/ 100 w 1076"/>
                  <a:gd name="T17" fmla="*/ 344 h 481"/>
                  <a:gd name="T18" fmla="*/ 1019 w 1076"/>
                  <a:gd name="T19" fmla="*/ 433 h 4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6" h="481">
                    <a:moveTo>
                      <a:pt x="1019" y="433"/>
                    </a:moveTo>
                    <a:cubicBezTo>
                      <a:pt x="1076" y="425"/>
                      <a:pt x="721" y="0"/>
                      <a:pt x="596" y="49"/>
                    </a:cubicBezTo>
                    <a:cubicBezTo>
                      <a:pt x="427" y="115"/>
                      <a:pt x="588" y="238"/>
                      <a:pt x="737" y="305"/>
                    </a:cubicBezTo>
                    <a:cubicBezTo>
                      <a:pt x="885" y="373"/>
                      <a:pt x="569" y="186"/>
                      <a:pt x="531" y="165"/>
                    </a:cubicBezTo>
                    <a:cubicBezTo>
                      <a:pt x="398" y="91"/>
                      <a:pt x="229" y="234"/>
                      <a:pt x="469" y="307"/>
                    </a:cubicBezTo>
                    <a:cubicBezTo>
                      <a:pt x="709" y="380"/>
                      <a:pt x="495" y="257"/>
                      <a:pt x="382" y="234"/>
                    </a:cubicBezTo>
                    <a:cubicBezTo>
                      <a:pt x="269" y="211"/>
                      <a:pt x="31" y="221"/>
                      <a:pt x="277" y="320"/>
                    </a:cubicBezTo>
                    <a:cubicBezTo>
                      <a:pt x="523" y="420"/>
                      <a:pt x="646" y="409"/>
                      <a:pt x="579" y="375"/>
                    </a:cubicBezTo>
                    <a:cubicBezTo>
                      <a:pt x="513" y="342"/>
                      <a:pt x="0" y="232"/>
                      <a:pt x="100" y="344"/>
                    </a:cubicBezTo>
                    <a:cubicBezTo>
                      <a:pt x="199" y="457"/>
                      <a:pt x="679" y="481"/>
                      <a:pt x="1019" y="433"/>
                    </a:cubicBez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3" name="Freeform 72">
                <a:extLst>
                  <a:ext uri="{FF2B5EF4-FFF2-40B4-BE49-F238E27FC236}">
                    <a16:creationId xmlns:a16="http://schemas.microsoft.com/office/drawing/2014/main" id="{BCADAAD8-7216-477A-96EF-0BD88F4B3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70737" y="10684833"/>
                <a:ext cx="3392488" cy="1279525"/>
              </a:xfrm>
              <a:custGeom>
                <a:avLst/>
                <a:gdLst>
                  <a:gd name="T0" fmla="*/ 1361 w 1401"/>
                  <a:gd name="T1" fmla="*/ 528 h 528"/>
                  <a:gd name="T2" fmla="*/ 1267 w 1401"/>
                  <a:gd name="T3" fmla="*/ 457 h 528"/>
                  <a:gd name="T4" fmla="*/ 991 w 1401"/>
                  <a:gd name="T5" fmla="*/ 461 h 528"/>
                  <a:gd name="T6" fmla="*/ 1203 w 1401"/>
                  <a:gd name="T7" fmla="*/ 236 h 528"/>
                  <a:gd name="T8" fmla="*/ 938 w 1401"/>
                  <a:gd name="T9" fmla="*/ 300 h 528"/>
                  <a:gd name="T10" fmla="*/ 1056 w 1401"/>
                  <a:gd name="T11" fmla="*/ 114 h 528"/>
                  <a:gd name="T12" fmla="*/ 705 w 1401"/>
                  <a:gd name="T13" fmla="*/ 271 h 528"/>
                  <a:gd name="T14" fmla="*/ 804 w 1401"/>
                  <a:gd name="T15" fmla="*/ 76 h 528"/>
                  <a:gd name="T16" fmla="*/ 634 w 1401"/>
                  <a:gd name="T17" fmla="*/ 137 h 528"/>
                  <a:gd name="T18" fmla="*/ 564 w 1401"/>
                  <a:gd name="T19" fmla="*/ 54 h 528"/>
                  <a:gd name="T20" fmla="*/ 442 w 1401"/>
                  <a:gd name="T21" fmla="*/ 195 h 528"/>
                  <a:gd name="T22" fmla="*/ 150 w 1401"/>
                  <a:gd name="T23" fmla="*/ 32 h 528"/>
                  <a:gd name="T24" fmla="*/ 172 w 1401"/>
                  <a:gd name="T25" fmla="*/ 491 h 528"/>
                  <a:gd name="T26" fmla="*/ 1361 w 1401"/>
                  <a:gd name="T27" fmla="*/ 528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01" h="528">
                    <a:moveTo>
                      <a:pt x="1361" y="528"/>
                    </a:moveTo>
                    <a:cubicBezTo>
                      <a:pt x="1382" y="499"/>
                      <a:pt x="1358" y="473"/>
                      <a:pt x="1267" y="457"/>
                    </a:cubicBezTo>
                    <a:cubicBezTo>
                      <a:pt x="1167" y="439"/>
                      <a:pt x="1070" y="446"/>
                      <a:pt x="991" y="461"/>
                    </a:cubicBezTo>
                    <a:cubicBezTo>
                      <a:pt x="1180" y="377"/>
                      <a:pt x="1401" y="257"/>
                      <a:pt x="1203" y="236"/>
                    </a:cubicBezTo>
                    <a:cubicBezTo>
                      <a:pt x="1142" y="230"/>
                      <a:pt x="1046" y="257"/>
                      <a:pt x="938" y="300"/>
                    </a:cubicBezTo>
                    <a:cubicBezTo>
                      <a:pt x="1059" y="208"/>
                      <a:pt x="1127" y="131"/>
                      <a:pt x="1056" y="114"/>
                    </a:cubicBezTo>
                    <a:cubicBezTo>
                      <a:pt x="990" y="98"/>
                      <a:pt x="852" y="172"/>
                      <a:pt x="705" y="271"/>
                    </a:cubicBezTo>
                    <a:cubicBezTo>
                      <a:pt x="790" y="187"/>
                      <a:pt x="840" y="113"/>
                      <a:pt x="804" y="76"/>
                    </a:cubicBezTo>
                    <a:cubicBezTo>
                      <a:pt x="775" y="46"/>
                      <a:pt x="710" y="77"/>
                      <a:pt x="634" y="137"/>
                    </a:cubicBezTo>
                    <a:cubicBezTo>
                      <a:pt x="639" y="82"/>
                      <a:pt x="617" y="49"/>
                      <a:pt x="564" y="54"/>
                    </a:cubicBezTo>
                    <a:cubicBezTo>
                      <a:pt x="515" y="58"/>
                      <a:pt x="473" y="120"/>
                      <a:pt x="442" y="195"/>
                    </a:cubicBezTo>
                    <a:cubicBezTo>
                      <a:pt x="399" y="76"/>
                      <a:pt x="276" y="0"/>
                      <a:pt x="150" y="32"/>
                    </a:cubicBezTo>
                    <a:cubicBezTo>
                      <a:pt x="0" y="69"/>
                      <a:pt x="110" y="355"/>
                      <a:pt x="172" y="491"/>
                    </a:cubicBezTo>
                    <a:lnTo>
                      <a:pt x="1361" y="528"/>
                    </a:lnTo>
                    <a:close/>
                  </a:path>
                </a:pathLst>
              </a:custGeom>
              <a:solidFill>
                <a:srgbClr val="2805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4" name="Freeform 73">
                <a:extLst>
                  <a:ext uri="{FF2B5EF4-FFF2-40B4-BE49-F238E27FC236}">
                    <a16:creationId xmlns:a16="http://schemas.microsoft.com/office/drawing/2014/main" id="{EEB33CB4-24DC-415D-9204-997FA2901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304212" y="10521320"/>
                <a:ext cx="2160588" cy="2066925"/>
              </a:xfrm>
              <a:custGeom>
                <a:avLst/>
                <a:gdLst>
                  <a:gd name="T0" fmla="*/ 844 w 892"/>
                  <a:gd name="T1" fmla="*/ 853 h 853"/>
                  <a:gd name="T2" fmla="*/ 836 w 892"/>
                  <a:gd name="T3" fmla="*/ 575 h 853"/>
                  <a:gd name="T4" fmla="*/ 802 w 892"/>
                  <a:gd name="T5" fmla="*/ 472 h 853"/>
                  <a:gd name="T6" fmla="*/ 715 w 892"/>
                  <a:gd name="T7" fmla="*/ 433 h 853"/>
                  <a:gd name="T8" fmla="*/ 540 w 892"/>
                  <a:gd name="T9" fmla="*/ 230 h 853"/>
                  <a:gd name="T10" fmla="*/ 441 w 892"/>
                  <a:gd name="T11" fmla="*/ 204 h 853"/>
                  <a:gd name="T12" fmla="*/ 341 w 892"/>
                  <a:gd name="T13" fmla="*/ 98 h 853"/>
                  <a:gd name="T14" fmla="*/ 232 w 892"/>
                  <a:gd name="T15" fmla="*/ 124 h 853"/>
                  <a:gd name="T16" fmla="*/ 145 w 892"/>
                  <a:gd name="T17" fmla="*/ 22 h 853"/>
                  <a:gd name="T18" fmla="*/ 108 w 892"/>
                  <a:gd name="T19" fmla="*/ 169 h 853"/>
                  <a:gd name="T20" fmla="*/ 101 w 892"/>
                  <a:gd name="T21" fmla="*/ 295 h 853"/>
                  <a:gd name="T22" fmla="*/ 80 w 892"/>
                  <a:gd name="T23" fmla="*/ 388 h 853"/>
                  <a:gd name="T24" fmla="*/ 207 w 892"/>
                  <a:gd name="T25" fmla="*/ 511 h 853"/>
                  <a:gd name="T26" fmla="*/ 244 w 892"/>
                  <a:gd name="T27" fmla="*/ 621 h 853"/>
                  <a:gd name="T28" fmla="*/ 373 w 892"/>
                  <a:gd name="T29" fmla="*/ 662 h 853"/>
                  <a:gd name="T30" fmla="*/ 422 w 892"/>
                  <a:gd name="T31" fmla="*/ 765 h 853"/>
                  <a:gd name="T32" fmla="*/ 844 w 892"/>
                  <a:gd name="T33" fmla="*/ 853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92" h="853">
                    <a:moveTo>
                      <a:pt x="844" y="853"/>
                    </a:moveTo>
                    <a:cubicBezTo>
                      <a:pt x="839" y="833"/>
                      <a:pt x="765" y="677"/>
                      <a:pt x="836" y="575"/>
                    </a:cubicBezTo>
                    <a:cubicBezTo>
                      <a:pt x="892" y="495"/>
                      <a:pt x="846" y="474"/>
                      <a:pt x="802" y="472"/>
                    </a:cubicBezTo>
                    <a:cubicBezTo>
                      <a:pt x="758" y="470"/>
                      <a:pt x="716" y="488"/>
                      <a:pt x="715" y="433"/>
                    </a:cubicBezTo>
                    <a:cubicBezTo>
                      <a:pt x="709" y="251"/>
                      <a:pt x="589" y="116"/>
                      <a:pt x="540" y="230"/>
                    </a:cubicBezTo>
                    <a:cubicBezTo>
                      <a:pt x="514" y="291"/>
                      <a:pt x="443" y="250"/>
                      <a:pt x="441" y="204"/>
                    </a:cubicBezTo>
                    <a:cubicBezTo>
                      <a:pt x="436" y="106"/>
                      <a:pt x="388" y="43"/>
                      <a:pt x="341" y="98"/>
                    </a:cubicBezTo>
                    <a:cubicBezTo>
                      <a:pt x="294" y="152"/>
                      <a:pt x="249" y="164"/>
                      <a:pt x="232" y="124"/>
                    </a:cubicBezTo>
                    <a:cubicBezTo>
                      <a:pt x="215" y="84"/>
                      <a:pt x="225" y="0"/>
                      <a:pt x="145" y="22"/>
                    </a:cubicBezTo>
                    <a:cubicBezTo>
                      <a:pt x="113" y="30"/>
                      <a:pt x="82" y="107"/>
                      <a:pt x="108" y="169"/>
                    </a:cubicBezTo>
                    <a:cubicBezTo>
                      <a:pt x="123" y="205"/>
                      <a:pt x="198" y="302"/>
                      <a:pt x="101" y="295"/>
                    </a:cubicBezTo>
                    <a:cubicBezTo>
                      <a:pt x="0" y="288"/>
                      <a:pt x="30" y="364"/>
                      <a:pt x="80" y="388"/>
                    </a:cubicBezTo>
                    <a:cubicBezTo>
                      <a:pt x="99" y="396"/>
                      <a:pt x="267" y="491"/>
                      <a:pt x="207" y="511"/>
                    </a:cubicBezTo>
                    <a:cubicBezTo>
                      <a:pt x="136" y="534"/>
                      <a:pt x="152" y="598"/>
                      <a:pt x="244" y="621"/>
                    </a:cubicBezTo>
                    <a:cubicBezTo>
                      <a:pt x="287" y="631"/>
                      <a:pt x="385" y="626"/>
                      <a:pt x="373" y="662"/>
                    </a:cubicBezTo>
                    <a:cubicBezTo>
                      <a:pt x="362" y="697"/>
                      <a:pt x="357" y="750"/>
                      <a:pt x="422" y="765"/>
                    </a:cubicBezTo>
                    <a:cubicBezTo>
                      <a:pt x="534" y="791"/>
                      <a:pt x="835" y="811"/>
                      <a:pt x="844" y="853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5" name="Freeform 74">
                <a:extLst>
                  <a:ext uri="{FF2B5EF4-FFF2-40B4-BE49-F238E27FC236}">
                    <a16:creationId xmlns:a16="http://schemas.microsoft.com/office/drawing/2014/main" id="{A3C2D114-F961-4015-941F-450373006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75599" y="10718170"/>
                <a:ext cx="1935163" cy="2112962"/>
              </a:xfrm>
              <a:custGeom>
                <a:avLst/>
                <a:gdLst>
                  <a:gd name="T0" fmla="*/ 0 w 799"/>
                  <a:gd name="T1" fmla="*/ 0 h 872"/>
                  <a:gd name="T2" fmla="*/ 322 w 799"/>
                  <a:gd name="T3" fmla="*/ 459 h 872"/>
                  <a:gd name="T4" fmla="*/ 799 w 799"/>
                  <a:gd name="T5" fmla="*/ 872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99" h="872">
                    <a:moveTo>
                      <a:pt x="0" y="0"/>
                    </a:moveTo>
                    <a:cubicBezTo>
                      <a:pt x="0" y="0"/>
                      <a:pt x="74" y="265"/>
                      <a:pt x="322" y="459"/>
                    </a:cubicBezTo>
                    <a:cubicBezTo>
                      <a:pt x="570" y="653"/>
                      <a:pt x="681" y="720"/>
                      <a:pt x="799" y="872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6" name="Freeform 75">
                <a:extLst>
                  <a:ext uri="{FF2B5EF4-FFF2-40B4-BE49-F238E27FC236}">
                    <a16:creationId xmlns:a16="http://schemas.microsoft.com/office/drawing/2014/main" id="{5BF2DEE7-E5E5-459C-934F-0E556B14D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588249" y="10970583"/>
                <a:ext cx="133350" cy="579437"/>
              </a:xfrm>
              <a:custGeom>
                <a:avLst/>
                <a:gdLst>
                  <a:gd name="T0" fmla="*/ 55 w 55"/>
                  <a:gd name="T1" fmla="*/ 0 h 239"/>
                  <a:gd name="T2" fmla="*/ 39 w 55"/>
                  <a:gd name="T3" fmla="*/ 2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5" h="239">
                    <a:moveTo>
                      <a:pt x="55" y="0"/>
                    </a:moveTo>
                    <a:cubicBezTo>
                      <a:pt x="55" y="0"/>
                      <a:pt x="0" y="141"/>
                      <a:pt x="39" y="239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7" name="Freeform 76">
                <a:extLst>
                  <a:ext uri="{FF2B5EF4-FFF2-40B4-BE49-F238E27FC236}">
                    <a16:creationId xmlns:a16="http://schemas.microsoft.com/office/drawing/2014/main" id="{307A0475-C098-4364-8DCD-5B1D366818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72437" y="11362695"/>
                <a:ext cx="620713" cy="230187"/>
              </a:xfrm>
              <a:custGeom>
                <a:avLst/>
                <a:gdLst>
                  <a:gd name="T0" fmla="*/ 0 w 256"/>
                  <a:gd name="T1" fmla="*/ 0 h 95"/>
                  <a:gd name="T2" fmla="*/ 256 w 256"/>
                  <a:gd name="T3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56" h="95">
                    <a:moveTo>
                      <a:pt x="0" y="0"/>
                    </a:moveTo>
                    <a:cubicBezTo>
                      <a:pt x="0" y="0"/>
                      <a:pt x="146" y="11"/>
                      <a:pt x="256" y="95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8" name="Freeform 77">
                <a:extLst>
                  <a:ext uri="{FF2B5EF4-FFF2-40B4-BE49-F238E27FC236}">
                    <a16:creationId xmlns:a16="http://schemas.microsoft.com/office/drawing/2014/main" id="{66B380EA-E601-4685-8DB4-DBD91E8AD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965949" y="11186483"/>
                <a:ext cx="131763" cy="819150"/>
              </a:xfrm>
              <a:custGeom>
                <a:avLst/>
                <a:gdLst>
                  <a:gd name="T0" fmla="*/ 36 w 54"/>
                  <a:gd name="T1" fmla="*/ 0 h 338"/>
                  <a:gd name="T2" fmla="*/ 0 w 54"/>
                  <a:gd name="T3" fmla="*/ 338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4" h="338">
                    <a:moveTo>
                      <a:pt x="36" y="0"/>
                    </a:moveTo>
                    <a:cubicBezTo>
                      <a:pt x="36" y="0"/>
                      <a:pt x="54" y="70"/>
                      <a:pt x="0" y="338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19" name="Freeform 78">
                <a:extLst>
                  <a:ext uri="{FF2B5EF4-FFF2-40B4-BE49-F238E27FC236}">
                    <a16:creationId xmlns:a16="http://schemas.microsoft.com/office/drawing/2014/main" id="{F54A4AEC-6360-493B-BC7B-D65709FB8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827962" y="11831008"/>
                <a:ext cx="681038" cy="52387"/>
              </a:xfrm>
              <a:custGeom>
                <a:avLst/>
                <a:gdLst>
                  <a:gd name="T0" fmla="*/ 0 w 281"/>
                  <a:gd name="T1" fmla="*/ 22 h 22"/>
                  <a:gd name="T2" fmla="*/ 281 w 281"/>
                  <a:gd name="T3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81" h="22">
                    <a:moveTo>
                      <a:pt x="0" y="22"/>
                    </a:moveTo>
                    <a:cubicBezTo>
                      <a:pt x="0" y="22"/>
                      <a:pt x="227" y="0"/>
                      <a:pt x="281" y="15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0" name="Freeform 79">
                <a:extLst>
                  <a:ext uri="{FF2B5EF4-FFF2-40B4-BE49-F238E27FC236}">
                    <a16:creationId xmlns:a16="http://schemas.microsoft.com/office/drawing/2014/main" id="{12E60AD7-E47A-4835-9E8E-D7CE1176F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312024" y="12162795"/>
                <a:ext cx="704850" cy="120650"/>
              </a:xfrm>
              <a:custGeom>
                <a:avLst/>
                <a:gdLst>
                  <a:gd name="T0" fmla="*/ 0 w 291"/>
                  <a:gd name="T1" fmla="*/ 40 h 50"/>
                  <a:gd name="T2" fmla="*/ 291 w 291"/>
                  <a:gd name="T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91" h="50">
                    <a:moveTo>
                      <a:pt x="0" y="40"/>
                    </a:moveTo>
                    <a:cubicBezTo>
                      <a:pt x="0" y="40"/>
                      <a:pt x="183" y="0"/>
                      <a:pt x="291" y="50"/>
                    </a:cubicBezTo>
                  </a:path>
                </a:pathLst>
              </a:cu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1" name="Freeform 96">
                <a:extLst>
                  <a:ext uri="{FF2B5EF4-FFF2-40B4-BE49-F238E27FC236}">
                    <a16:creationId xmlns:a16="http://schemas.microsoft.com/office/drawing/2014/main" id="{DC9834F5-5C28-492A-A003-5CA2B5CE8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61212" y="11294433"/>
                <a:ext cx="160338" cy="127000"/>
              </a:xfrm>
              <a:custGeom>
                <a:avLst/>
                <a:gdLst>
                  <a:gd name="T0" fmla="*/ 66 w 66"/>
                  <a:gd name="T1" fmla="*/ 52 h 52"/>
                  <a:gd name="T2" fmla="*/ 40 w 66"/>
                  <a:gd name="T3" fmla="*/ 12 h 52"/>
                  <a:gd name="T4" fmla="*/ 7 w 66"/>
                  <a:gd name="T5" fmla="*/ 5 h 52"/>
                  <a:gd name="T6" fmla="*/ 15 w 66"/>
                  <a:gd name="T7" fmla="*/ 31 h 52"/>
                  <a:gd name="T8" fmla="*/ 66 w 66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2">
                    <a:moveTo>
                      <a:pt x="66" y="52"/>
                    </a:moveTo>
                    <a:cubicBezTo>
                      <a:pt x="66" y="52"/>
                      <a:pt x="61" y="29"/>
                      <a:pt x="40" y="12"/>
                    </a:cubicBezTo>
                    <a:cubicBezTo>
                      <a:pt x="32" y="6"/>
                      <a:pt x="13" y="0"/>
                      <a:pt x="7" y="5"/>
                    </a:cubicBezTo>
                    <a:cubicBezTo>
                      <a:pt x="0" y="10"/>
                      <a:pt x="4" y="22"/>
                      <a:pt x="15" y="31"/>
                    </a:cubicBezTo>
                    <a:cubicBezTo>
                      <a:pt x="36" y="48"/>
                      <a:pt x="66" y="52"/>
                      <a:pt x="66" y="52"/>
                    </a:cubicBezTo>
                    <a:close/>
                  </a:path>
                </a:pathLst>
              </a:custGeom>
              <a:solidFill>
                <a:srgbClr val="B0B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2" name="Freeform 99">
                <a:extLst>
                  <a:ext uri="{FF2B5EF4-FFF2-40B4-BE49-F238E27FC236}">
                    <a16:creationId xmlns:a16="http://schemas.microsoft.com/office/drawing/2014/main" id="{C2365945-0D65-44C3-AD7E-AAFC90EF2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00874" y="11288083"/>
                <a:ext cx="158750" cy="139700"/>
              </a:xfrm>
              <a:custGeom>
                <a:avLst/>
                <a:gdLst>
                  <a:gd name="T0" fmla="*/ 1 w 66"/>
                  <a:gd name="T1" fmla="*/ 58 h 58"/>
                  <a:gd name="T2" fmla="*/ 54 w 66"/>
                  <a:gd name="T3" fmla="*/ 30 h 58"/>
                  <a:gd name="T4" fmla="*/ 56 w 66"/>
                  <a:gd name="T5" fmla="*/ 4 h 58"/>
                  <a:gd name="T6" fmla="*/ 20 w 66"/>
                  <a:gd name="T7" fmla="*/ 16 h 58"/>
                  <a:gd name="T8" fmla="*/ 1 w 66"/>
                  <a:gd name="T9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58">
                    <a:moveTo>
                      <a:pt x="1" y="58"/>
                    </a:moveTo>
                    <a:cubicBezTo>
                      <a:pt x="1" y="58"/>
                      <a:pt x="34" y="49"/>
                      <a:pt x="54" y="30"/>
                    </a:cubicBezTo>
                    <a:cubicBezTo>
                      <a:pt x="61" y="23"/>
                      <a:pt x="66" y="8"/>
                      <a:pt x="56" y="4"/>
                    </a:cubicBezTo>
                    <a:cubicBezTo>
                      <a:pt x="47" y="0"/>
                      <a:pt x="31" y="6"/>
                      <a:pt x="20" y="16"/>
                    </a:cubicBezTo>
                    <a:cubicBezTo>
                      <a:pt x="0" y="36"/>
                      <a:pt x="1" y="58"/>
                      <a:pt x="1" y="58"/>
                    </a:cubicBezTo>
                    <a:close/>
                  </a:path>
                </a:pathLst>
              </a:custGeom>
              <a:solidFill>
                <a:srgbClr val="B0BF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grpSp>
            <p:nvGrpSpPr>
              <p:cNvPr id="523" name="Group 522">
                <a:extLst>
                  <a:ext uri="{FF2B5EF4-FFF2-40B4-BE49-F238E27FC236}">
                    <a16:creationId xmlns:a16="http://schemas.microsoft.com/office/drawing/2014/main" id="{7F8B2795-3836-4230-B1A4-F1CA2FDE1756}"/>
                  </a:ext>
                </a:extLst>
              </p:cNvPr>
              <p:cNvGrpSpPr/>
              <p:nvPr/>
            </p:nvGrpSpPr>
            <p:grpSpPr>
              <a:xfrm>
                <a:off x="-8054974" y="9498970"/>
                <a:ext cx="1189037" cy="2079625"/>
                <a:chOff x="-8054974" y="9498970"/>
                <a:chExt cx="1189037" cy="2079625"/>
              </a:xfrm>
            </p:grpSpPr>
            <p:sp>
              <p:nvSpPr>
                <p:cNvPr id="566" name="Freeform 80">
                  <a:extLst>
                    <a:ext uri="{FF2B5EF4-FFF2-40B4-BE49-F238E27FC236}">
                      <a16:creationId xmlns:a16="http://schemas.microsoft.com/office/drawing/2014/main" id="{84837665-AB58-4D77-8214-AEA2E551CE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61262" y="9635495"/>
                  <a:ext cx="671513" cy="1943100"/>
                </a:xfrm>
                <a:custGeom>
                  <a:avLst/>
                  <a:gdLst>
                    <a:gd name="T0" fmla="*/ 233 w 277"/>
                    <a:gd name="T1" fmla="*/ 802 h 802"/>
                    <a:gd name="T2" fmla="*/ 7 w 277"/>
                    <a:gd name="T3" fmla="*/ 0 h 802"/>
                    <a:gd name="T4" fmla="*/ 0 w 277"/>
                    <a:gd name="T5" fmla="*/ 6 h 802"/>
                    <a:gd name="T6" fmla="*/ 224 w 277"/>
                    <a:gd name="T7" fmla="*/ 801 h 802"/>
                    <a:gd name="T8" fmla="*/ 233 w 277"/>
                    <a:gd name="T9" fmla="*/ 802 h 8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7" h="802">
                      <a:moveTo>
                        <a:pt x="233" y="802"/>
                      </a:moveTo>
                      <a:cubicBezTo>
                        <a:pt x="277" y="315"/>
                        <a:pt x="10" y="3"/>
                        <a:pt x="7" y="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3" y="9"/>
                        <a:pt x="267" y="319"/>
                        <a:pt x="224" y="801"/>
                      </a:cubicBezTo>
                      <a:lnTo>
                        <a:pt x="233" y="802"/>
                      </a:ln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7" name="Freeform 81">
                  <a:extLst>
                    <a:ext uri="{FF2B5EF4-FFF2-40B4-BE49-F238E27FC236}">
                      <a16:creationId xmlns:a16="http://schemas.microsoft.com/office/drawing/2014/main" id="{6A7199C8-EC36-4B8B-B9BF-A0F82D2C32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85087" y="9498970"/>
                  <a:ext cx="155575" cy="165100"/>
                </a:xfrm>
                <a:custGeom>
                  <a:avLst/>
                  <a:gdLst>
                    <a:gd name="T0" fmla="*/ 64 w 64"/>
                    <a:gd name="T1" fmla="*/ 68 h 68"/>
                    <a:gd name="T2" fmla="*/ 40 w 64"/>
                    <a:gd name="T3" fmla="*/ 16 h 68"/>
                    <a:gd name="T4" fmla="*/ 7 w 64"/>
                    <a:gd name="T5" fmla="*/ 7 h 68"/>
                    <a:gd name="T6" fmla="*/ 14 w 64"/>
                    <a:gd name="T7" fmla="*/ 41 h 68"/>
                    <a:gd name="T8" fmla="*/ 64 w 64"/>
                    <a:gd name="T9" fmla="*/ 6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8">
                      <a:moveTo>
                        <a:pt x="64" y="68"/>
                      </a:moveTo>
                      <a:cubicBezTo>
                        <a:pt x="64" y="68"/>
                        <a:pt x="60" y="38"/>
                        <a:pt x="40" y="16"/>
                      </a:cubicBezTo>
                      <a:cubicBezTo>
                        <a:pt x="33" y="8"/>
                        <a:pt x="14" y="0"/>
                        <a:pt x="7" y="7"/>
                      </a:cubicBezTo>
                      <a:cubicBezTo>
                        <a:pt x="0" y="14"/>
                        <a:pt x="3" y="30"/>
                        <a:pt x="14" y="41"/>
                      </a:cubicBezTo>
                      <a:cubicBezTo>
                        <a:pt x="34" y="62"/>
                        <a:pt x="64" y="68"/>
                        <a:pt x="64" y="6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8" name="Freeform 82">
                  <a:extLst>
                    <a:ext uri="{FF2B5EF4-FFF2-40B4-BE49-F238E27FC236}">
                      <a16:creationId xmlns:a16="http://schemas.microsoft.com/office/drawing/2014/main" id="{2758B35C-F395-4704-9B37-EDCC96EEA6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643812" y="9698995"/>
                  <a:ext cx="182563" cy="93662"/>
                </a:xfrm>
                <a:custGeom>
                  <a:avLst/>
                  <a:gdLst>
                    <a:gd name="T0" fmla="*/ 75 w 75"/>
                    <a:gd name="T1" fmla="*/ 28 h 39"/>
                    <a:gd name="T2" fmla="*/ 31 w 75"/>
                    <a:gd name="T3" fmla="*/ 3 h 39"/>
                    <a:gd name="T4" fmla="*/ 2 w 75"/>
                    <a:gd name="T5" fmla="*/ 12 h 39"/>
                    <a:gd name="T6" fmla="*/ 24 w 75"/>
                    <a:gd name="T7" fmla="*/ 33 h 39"/>
                    <a:gd name="T8" fmla="*/ 75 w 75"/>
                    <a:gd name="T9" fmla="*/ 28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" h="39">
                      <a:moveTo>
                        <a:pt x="75" y="28"/>
                      </a:moveTo>
                      <a:cubicBezTo>
                        <a:pt x="75" y="28"/>
                        <a:pt x="57" y="8"/>
                        <a:pt x="31" y="3"/>
                      </a:cubicBezTo>
                      <a:cubicBezTo>
                        <a:pt x="21" y="0"/>
                        <a:pt x="4" y="4"/>
                        <a:pt x="2" y="12"/>
                      </a:cubicBezTo>
                      <a:cubicBezTo>
                        <a:pt x="0" y="20"/>
                        <a:pt x="11" y="30"/>
                        <a:pt x="24" y="33"/>
                      </a:cubicBezTo>
                      <a:cubicBezTo>
                        <a:pt x="51" y="39"/>
                        <a:pt x="75" y="28"/>
                        <a:pt x="75" y="2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69" name="Freeform 83">
                  <a:extLst>
                    <a:ext uri="{FF2B5EF4-FFF2-40B4-BE49-F238E27FC236}">
                      <a16:creationId xmlns:a16="http://schemas.microsoft.com/office/drawing/2014/main" id="{BA202A7D-518D-49D3-9AE3-473DC00B33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15224" y="9906958"/>
                  <a:ext cx="155575" cy="82550"/>
                </a:xfrm>
                <a:custGeom>
                  <a:avLst/>
                  <a:gdLst>
                    <a:gd name="T0" fmla="*/ 64 w 64"/>
                    <a:gd name="T1" fmla="*/ 18 h 34"/>
                    <a:gd name="T2" fmla="*/ 24 w 64"/>
                    <a:gd name="T3" fmla="*/ 0 h 34"/>
                    <a:gd name="T4" fmla="*/ 1 w 64"/>
                    <a:gd name="T5" fmla="*/ 15 h 34"/>
                    <a:gd name="T6" fmla="*/ 22 w 64"/>
                    <a:gd name="T7" fmla="*/ 33 h 34"/>
                    <a:gd name="T8" fmla="*/ 64 w 64"/>
                    <a:gd name="T9" fmla="*/ 18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34">
                      <a:moveTo>
                        <a:pt x="64" y="18"/>
                      </a:moveTo>
                      <a:cubicBezTo>
                        <a:pt x="64" y="18"/>
                        <a:pt x="47" y="1"/>
                        <a:pt x="24" y="0"/>
                      </a:cubicBezTo>
                      <a:cubicBezTo>
                        <a:pt x="16" y="0"/>
                        <a:pt x="1" y="6"/>
                        <a:pt x="1" y="15"/>
                      </a:cubicBezTo>
                      <a:cubicBezTo>
                        <a:pt x="0" y="24"/>
                        <a:pt x="10" y="32"/>
                        <a:pt x="22" y="33"/>
                      </a:cubicBezTo>
                      <a:cubicBezTo>
                        <a:pt x="45" y="34"/>
                        <a:pt x="64" y="18"/>
                        <a:pt x="64" y="1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0" name="Freeform 84">
                  <a:extLst>
                    <a:ext uri="{FF2B5EF4-FFF2-40B4-BE49-F238E27FC236}">
                      <a16:creationId xmlns:a16="http://schemas.microsoft.com/office/drawing/2014/main" id="{6AD327E9-E5B1-41C4-A3D2-D18D813D62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488237" y="9616445"/>
                  <a:ext cx="101600" cy="147637"/>
                </a:xfrm>
                <a:custGeom>
                  <a:avLst/>
                  <a:gdLst>
                    <a:gd name="T0" fmla="*/ 7 w 42"/>
                    <a:gd name="T1" fmla="*/ 61 h 61"/>
                    <a:gd name="T2" fmla="*/ 39 w 42"/>
                    <a:gd name="T3" fmla="*/ 31 h 61"/>
                    <a:gd name="T4" fmla="*/ 34 w 42"/>
                    <a:gd name="T5" fmla="*/ 4 h 61"/>
                    <a:gd name="T6" fmla="*/ 9 w 42"/>
                    <a:gd name="T7" fmla="*/ 17 h 61"/>
                    <a:gd name="T8" fmla="*/ 7 w 42"/>
                    <a:gd name="T9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2" h="61">
                      <a:moveTo>
                        <a:pt x="7" y="61"/>
                      </a:moveTo>
                      <a:cubicBezTo>
                        <a:pt x="7" y="61"/>
                        <a:pt x="29" y="51"/>
                        <a:pt x="39" y="31"/>
                      </a:cubicBezTo>
                      <a:cubicBezTo>
                        <a:pt x="42" y="23"/>
                        <a:pt x="42" y="7"/>
                        <a:pt x="34" y="4"/>
                      </a:cubicBezTo>
                      <a:cubicBezTo>
                        <a:pt x="25" y="0"/>
                        <a:pt x="14" y="6"/>
                        <a:pt x="9" y="17"/>
                      </a:cubicBezTo>
                      <a:cubicBezTo>
                        <a:pt x="0" y="38"/>
                        <a:pt x="7" y="61"/>
                        <a:pt x="7" y="61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1" name="Freeform 85">
                  <a:extLst>
                    <a:ext uri="{FF2B5EF4-FFF2-40B4-BE49-F238E27FC236}">
                      <a16:creationId xmlns:a16="http://schemas.microsoft.com/office/drawing/2014/main" id="{BD9D9471-FBF7-4601-A54D-D799687124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08812" y="10878508"/>
                  <a:ext cx="138113" cy="125412"/>
                </a:xfrm>
                <a:custGeom>
                  <a:avLst/>
                  <a:gdLst>
                    <a:gd name="T0" fmla="*/ 0 w 57"/>
                    <a:gd name="T1" fmla="*/ 52 h 52"/>
                    <a:gd name="T2" fmla="*/ 43 w 57"/>
                    <a:gd name="T3" fmla="*/ 33 h 52"/>
                    <a:gd name="T4" fmla="*/ 51 w 57"/>
                    <a:gd name="T5" fmla="*/ 6 h 52"/>
                    <a:gd name="T6" fmla="*/ 23 w 57"/>
                    <a:gd name="T7" fmla="*/ 11 h 52"/>
                    <a:gd name="T8" fmla="*/ 0 w 57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2">
                      <a:moveTo>
                        <a:pt x="0" y="52"/>
                      </a:moveTo>
                      <a:cubicBezTo>
                        <a:pt x="0" y="52"/>
                        <a:pt x="25" y="50"/>
                        <a:pt x="43" y="33"/>
                      </a:cubicBezTo>
                      <a:cubicBezTo>
                        <a:pt x="50" y="27"/>
                        <a:pt x="57" y="12"/>
                        <a:pt x="51" y="6"/>
                      </a:cubicBezTo>
                      <a:cubicBezTo>
                        <a:pt x="46" y="0"/>
                        <a:pt x="33" y="2"/>
                        <a:pt x="23" y="11"/>
                      </a:cubicBezTo>
                      <a:cubicBezTo>
                        <a:pt x="5" y="27"/>
                        <a:pt x="0" y="52"/>
                        <a:pt x="0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2" name="Freeform 86">
                  <a:extLst>
                    <a:ext uri="{FF2B5EF4-FFF2-40B4-BE49-F238E27FC236}">
                      <a16:creationId xmlns:a16="http://schemas.microsoft.com/office/drawing/2014/main" id="{E94F0186-8405-456C-A1D7-825DC59FA2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62824" y="9764083"/>
                  <a:ext cx="114300" cy="180975"/>
                </a:xfrm>
                <a:custGeom>
                  <a:avLst/>
                  <a:gdLst>
                    <a:gd name="T0" fmla="*/ 6 w 47"/>
                    <a:gd name="T1" fmla="*/ 75 h 75"/>
                    <a:gd name="T2" fmla="*/ 42 w 47"/>
                    <a:gd name="T3" fmla="*/ 36 h 75"/>
                    <a:gd name="T4" fmla="*/ 38 w 47"/>
                    <a:gd name="T5" fmla="*/ 4 h 75"/>
                    <a:gd name="T6" fmla="*/ 12 w 47"/>
                    <a:gd name="T7" fmla="*/ 22 h 75"/>
                    <a:gd name="T8" fmla="*/ 6 w 47"/>
                    <a:gd name="T9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7" h="75">
                      <a:moveTo>
                        <a:pt x="6" y="75"/>
                      </a:moveTo>
                      <a:cubicBezTo>
                        <a:pt x="6" y="75"/>
                        <a:pt x="31" y="61"/>
                        <a:pt x="42" y="36"/>
                      </a:cubicBezTo>
                      <a:cubicBezTo>
                        <a:pt x="46" y="27"/>
                        <a:pt x="47" y="8"/>
                        <a:pt x="38" y="4"/>
                      </a:cubicBezTo>
                      <a:cubicBezTo>
                        <a:pt x="30" y="0"/>
                        <a:pt x="18" y="9"/>
                        <a:pt x="12" y="22"/>
                      </a:cubicBezTo>
                      <a:cubicBezTo>
                        <a:pt x="0" y="47"/>
                        <a:pt x="6" y="75"/>
                        <a:pt x="6" y="75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3" name="Freeform 87">
                  <a:extLst>
                    <a:ext uri="{FF2B5EF4-FFF2-40B4-BE49-F238E27FC236}">
                      <a16:creationId xmlns:a16="http://schemas.microsoft.com/office/drawing/2014/main" id="{E9C1D94E-92B0-4D83-8AE7-37E639A936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62812" y="9981570"/>
                  <a:ext cx="119063" cy="161925"/>
                </a:xfrm>
                <a:custGeom>
                  <a:avLst/>
                  <a:gdLst>
                    <a:gd name="T0" fmla="*/ 9 w 49"/>
                    <a:gd name="T1" fmla="*/ 67 h 67"/>
                    <a:gd name="T2" fmla="*/ 46 w 49"/>
                    <a:gd name="T3" fmla="*/ 35 h 67"/>
                    <a:gd name="T4" fmla="*/ 38 w 49"/>
                    <a:gd name="T5" fmla="*/ 5 h 67"/>
                    <a:gd name="T6" fmla="*/ 10 w 49"/>
                    <a:gd name="T7" fmla="*/ 18 h 67"/>
                    <a:gd name="T8" fmla="*/ 9 w 49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67">
                      <a:moveTo>
                        <a:pt x="9" y="67"/>
                      </a:moveTo>
                      <a:cubicBezTo>
                        <a:pt x="9" y="67"/>
                        <a:pt x="36" y="57"/>
                        <a:pt x="46" y="35"/>
                      </a:cubicBezTo>
                      <a:cubicBezTo>
                        <a:pt x="49" y="27"/>
                        <a:pt x="48" y="10"/>
                        <a:pt x="38" y="5"/>
                      </a:cubicBezTo>
                      <a:cubicBezTo>
                        <a:pt x="28" y="0"/>
                        <a:pt x="15" y="7"/>
                        <a:pt x="10" y="18"/>
                      </a:cubicBezTo>
                      <a:cubicBezTo>
                        <a:pt x="0" y="40"/>
                        <a:pt x="9" y="67"/>
                        <a:pt x="9" y="67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4" name="Freeform 88">
                  <a:extLst>
                    <a:ext uri="{FF2B5EF4-FFF2-40B4-BE49-F238E27FC236}">
                      <a16:creationId xmlns:a16="http://schemas.microsoft.com/office/drawing/2014/main" id="{74C38AB0-D9B4-4C17-BEB9-7967C8A65D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427912" y="10073645"/>
                  <a:ext cx="169863" cy="106362"/>
                </a:xfrm>
                <a:custGeom>
                  <a:avLst/>
                  <a:gdLst>
                    <a:gd name="T0" fmla="*/ 70 w 70"/>
                    <a:gd name="T1" fmla="*/ 30 h 44"/>
                    <a:gd name="T2" fmla="*/ 30 w 70"/>
                    <a:gd name="T3" fmla="*/ 2 h 44"/>
                    <a:gd name="T4" fmla="*/ 2 w 70"/>
                    <a:gd name="T5" fmla="*/ 15 h 44"/>
                    <a:gd name="T6" fmla="*/ 23 w 70"/>
                    <a:gd name="T7" fmla="*/ 39 h 44"/>
                    <a:gd name="T8" fmla="*/ 70 w 70"/>
                    <a:gd name="T9" fmla="*/ 3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0" h="44">
                      <a:moveTo>
                        <a:pt x="70" y="30"/>
                      </a:moveTo>
                      <a:cubicBezTo>
                        <a:pt x="70" y="30"/>
                        <a:pt x="55" y="7"/>
                        <a:pt x="30" y="2"/>
                      </a:cubicBezTo>
                      <a:cubicBezTo>
                        <a:pt x="22" y="0"/>
                        <a:pt x="5" y="5"/>
                        <a:pt x="2" y="15"/>
                      </a:cubicBezTo>
                      <a:cubicBezTo>
                        <a:pt x="0" y="26"/>
                        <a:pt x="10" y="36"/>
                        <a:pt x="23" y="39"/>
                      </a:cubicBezTo>
                      <a:cubicBezTo>
                        <a:pt x="47" y="44"/>
                        <a:pt x="70" y="30"/>
                        <a:pt x="70" y="3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5" name="Freeform 89">
                  <a:extLst>
                    <a:ext uri="{FF2B5EF4-FFF2-40B4-BE49-F238E27FC236}">
                      <a16:creationId xmlns:a16="http://schemas.microsoft.com/office/drawing/2014/main" id="{D5B57273-2D54-4118-9DE8-8ABE24D5F0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73912" y="10888033"/>
                  <a:ext cx="157163" cy="125412"/>
                </a:xfrm>
                <a:custGeom>
                  <a:avLst/>
                  <a:gdLst>
                    <a:gd name="T0" fmla="*/ 65 w 65"/>
                    <a:gd name="T1" fmla="*/ 52 h 52"/>
                    <a:gd name="T2" fmla="*/ 40 w 65"/>
                    <a:gd name="T3" fmla="*/ 12 h 52"/>
                    <a:gd name="T4" fmla="*/ 6 w 65"/>
                    <a:gd name="T5" fmla="*/ 5 h 52"/>
                    <a:gd name="T6" fmla="*/ 15 w 65"/>
                    <a:gd name="T7" fmla="*/ 31 h 52"/>
                    <a:gd name="T8" fmla="*/ 65 w 65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52">
                      <a:moveTo>
                        <a:pt x="65" y="52"/>
                      </a:moveTo>
                      <a:cubicBezTo>
                        <a:pt x="65" y="52"/>
                        <a:pt x="61" y="29"/>
                        <a:pt x="40" y="12"/>
                      </a:cubicBezTo>
                      <a:cubicBezTo>
                        <a:pt x="32" y="6"/>
                        <a:pt x="13" y="0"/>
                        <a:pt x="6" y="5"/>
                      </a:cubicBezTo>
                      <a:cubicBezTo>
                        <a:pt x="0" y="10"/>
                        <a:pt x="4" y="22"/>
                        <a:pt x="15" y="31"/>
                      </a:cubicBezTo>
                      <a:cubicBezTo>
                        <a:pt x="36" y="48"/>
                        <a:pt x="65" y="52"/>
                        <a:pt x="65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6" name="Freeform 90">
                  <a:extLst>
                    <a:ext uri="{FF2B5EF4-FFF2-40B4-BE49-F238E27FC236}">
                      <a16:creationId xmlns:a16="http://schemas.microsoft.com/office/drawing/2014/main" id="{32B63A02-9F38-4A5B-B888-CCA2C38D64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265987" y="10524495"/>
                  <a:ext cx="168275" cy="55562"/>
                </a:xfrm>
                <a:custGeom>
                  <a:avLst/>
                  <a:gdLst>
                    <a:gd name="T0" fmla="*/ 69 w 69"/>
                    <a:gd name="T1" fmla="*/ 12 h 23"/>
                    <a:gd name="T2" fmla="*/ 32 w 69"/>
                    <a:gd name="T3" fmla="*/ 1 h 23"/>
                    <a:gd name="T4" fmla="*/ 3 w 69"/>
                    <a:gd name="T5" fmla="*/ 12 h 23"/>
                    <a:gd name="T6" fmla="*/ 21 w 69"/>
                    <a:gd name="T7" fmla="*/ 23 h 23"/>
                    <a:gd name="T8" fmla="*/ 69 w 69"/>
                    <a:gd name="T9" fmla="*/ 1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23">
                      <a:moveTo>
                        <a:pt x="69" y="12"/>
                      </a:moveTo>
                      <a:cubicBezTo>
                        <a:pt x="69" y="12"/>
                        <a:pt x="55" y="1"/>
                        <a:pt x="32" y="1"/>
                      </a:cubicBezTo>
                      <a:cubicBezTo>
                        <a:pt x="23" y="0"/>
                        <a:pt x="6" y="5"/>
                        <a:pt x="3" y="12"/>
                      </a:cubicBezTo>
                      <a:cubicBezTo>
                        <a:pt x="0" y="18"/>
                        <a:pt x="9" y="23"/>
                        <a:pt x="21" y="23"/>
                      </a:cubicBezTo>
                      <a:cubicBezTo>
                        <a:pt x="45" y="23"/>
                        <a:pt x="69" y="12"/>
                        <a:pt x="69" y="1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7" name="Freeform 91">
                  <a:extLst>
                    <a:ext uri="{FF2B5EF4-FFF2-40B4-BE49-F238E27FC236}">
                      <a16:creationId xmlns:a16="http://schemas.microsoft.com/office/drawing/2014/main" id="{38ED5E6C-214F-4427-9376-572FCA4BC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61212" y="10211758"/>
                  <a:ext cx="68263" cy="146050"/>
                </a:xfrm>
                <a:custGeom>
                  <a:avLst/>
                  <a:gdLst>
                    <a:gd name="T0" fmla="*/ 4 w 28"/>
                    <a:gd name="T1" fmla="*/ 60 h 60"/>
                    <a:gd name="T2" fmla="*/ 25 w 28"/>
                    <a:gd name="T3" fmla="*/ 32 h 60"/>
                    <a:gd name="T4" fmla="*/ 23 w 28"/>
                    <a:gd name="T5" fmla="*/ 5 h 60"/>
                    <a:gd name="T6" fmla="*/ 7 w 28"/>
                    <a:gd name="T7" fmla="*/ 16 h 60"/>
                    <a:gd name="T8" fmla="*/ 4 w 28"/>
                    <a:gd name="T9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60">
                      <a:moveTo>
                        <a:pt x="4" y="60"/>
                      </a:moveTo>
                      <a:cubicBezTo>
                        <a:pt x="4" y="60"/>
                        <a:pt x="18" y="52"/>
                        <a:pt x="25" y="32"/>
                      </a:cubicBezTo>
                      <a:cubicBezTo>
                        <a:pt x="28" y="25"/>
                        <a:pt x="28" y="9"/>
                        <a:pt x="23" y="5"/>
                      </a:cubicBezTo>
                      <a:cubicBezTo>
                        <a:pt x="18" y="0"/>
                        <a:pt x="11" y="6"/>
                        <a:pt x="7" y="16"/>
                      </a:cubicBezTo>
                      <a:cubicBezTo>
                        <a:pt x="0" y="36"/>
                        <a:pt x="4" y="60"/>
                        <a:pt x="4" y="6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8" name="Freeform 92">
                  <a:extLst>
                    <a:ext uri="{FF2B5EF4-FFF2-40B4-BE49-F238E27FC236}">
                      <a16:creationId xmlns:a16="http://schemas.microsoft.com/office/drawing/2014/main" id="{32A0724D-E988-482D-A683-70FBE970EE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65974" y="10675308"/>
                  <a:ext cx="115888" cy="130175"/>
                </a:xfrm>
                <a:custGeom>
                  <a:avLst/>
                  <a:gdLst>
                    <a:gd name="T0" fmla="*/ 48 w 48"/>
                    <a:gd name="T1" fmla="*/ 50 h 54"/>
                    <a:gd name="T2" fmla="*/ 25 w 48"/>
                    <a:gd name="T3" fmla="*/ 7 h 54"/>
                    <a:gd name="T4" fmla="*/ 3 w 48"/>
                    <a:gd name="T5" fmla="*/ 9 h 54"/>
                    <a:gd name="T6" fmla="*/ 14 w 48"/>
                    <a:gd name="T7" fmla="*/ 40 h 54"/>
                    <a:gd name="T8" fmla="*/ 48 w 48"/>
                    <a:gd name="T9" fmla="*/ 5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54">
                      <a:moveTo>
                        <a:pt x="48" y="50"/>
                      </a:moveTo>
                      <a:cubicBezTo>
                        <a:pt x="48" y="50"/>
                        <a:pt x="41" y="22"/>
                        <a:pt x="25" y="7"/>
                      </a:cubicBezTo>
                      <a:cubicBezTo>
                        <a:pt x="19" y="2"/>
                        <a:pt x="6" y="0"/>
                        <a:pt x="3" y="9"/>
                      </a:cubicBezTo>
                      <a:cubicBezTo>
                        <a:pt x="0" y="18"/>
                        <a:pt x="5" y="32"/>
                        <a:pt x="14" y="40"/>
                      </a:cubicBezTo>
                      <a:cubicBezTo>
                        <a:pt x="30" y="54"/>
                        <a:pt x="48" y="50"/>
                        <a:pt x="48" y="50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79" name="Freeform 93">
                  <a:extLst>
                    <a:ext uri="{FF2B5EF4-FFF2-40B4-BE49-F238E27FC236}">
                      <a16:creationId xmlns:a16="http://schemas.microsoft.com/office/drawing/2014/main" id="{1CF29C99-76CF-415E-A8A4-B597CE7EB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08824" y="10413370"/>
                  <a:ext cx="147638" cy="149225"/>
                </a:xfrm>
                <a:custGeom>
                  <a:avLst/>
                  <a:gdLst>
                    <a:gd name="T0" fmla="*/ 3 w 61"/>
                    <a:gd name="T1" fmla="*/ 62 h 62"/>
                    <a:gd name="T2" fmla="*/ 52 w 61"/>
                    <a:gd name="T3" fmla="*/ 28 h 62"/>
                    <a:gd name="T4" fmla="*/ 51 w 61"/>
                    <a:gd name="T5" fmla="*/ 2 h 62"/>
                    <a:gd name="T6" fmla="*/ 17 w 61"/>
                    <a:gd name="T7" fmla="*/ 19 h 62"/>
                    <a:gd name="T8" fmla="*/ 3 w 61"/>
                    <a:gd name="T9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2">
                      <a:moveTo>
                        <a:pt x="3" y="62"/>
                      </a:moveTo>
                      <a:cubicBezTo>
                        <a:pt x="3" y="62"/>
                        <a:pt x="35" y="49"/>
                        <a:pt x="52" y="28"/>
                      </a:cubicBezTo>
                      <a:cubicBezTo>
                        <a:pt x="58" y="20"/>
                        <a:pt x="61" y="4"/>
                        <a:pt x="51" y="2"/>
                      </a:cubicBezTo>
                      <a:cubicBezTo>
                        <a:pt x="41" y="0"/>
                        <a:pt x="26" y="8"/>
                        <a:pt x="17" y="19"/>
                      </a:cubicBezTo>
                      <a:cubicBezTo>
                        <a:pt x="0" y="40"/>
                        <a:pt x="3" y="62"/>
                        <a:pt x="3" y="6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0" name="Freeform 94">
                  <a:extLst>
                    <a:ext uri="{FF2B5EF4-FFF2-40B4-BE49-F238E27FC236}">
                      <a16:creationId xmlns:a16="http://schemas.microsoft.com/office/drawing/2014/main" id="{8812382D-9DAA-4FEB-833F-ADD9FB2A3E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51674" y="10659433"/>
                  <a:ext cx="136525" cy="144462"/>
                </a:xfrm>
                <a:custGeom>
                  <a:avLst/>
                  <a:gdLst>
                    <a:gd name="T0" fmla="*/ 6 w 57"/>
                    <a:gd name="T1" fmla="*/ 59 h 59"/>
                    <a:gd name="T2" fmla="*/ 50 w 57"/>
                    <a:gd name="T3" fmla="*/ 26 h 59"/>
                    <a:gd name="T4" fmla="*/ 47 w 57"/>
                    <a:gd name="T5" fmla="*/ 3 h 59"/>
                    <a:gd name="T6" fmla="*/ 14 w 57"/>
                    <a:gd name="T7" fmla="*/ 19 h 59"/>
                    <a:gd name="T8" fmla="*/ 6 w 57"/>
                    <a:gd name="T9" fmla="*/ 59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9">
                      <a:moveTo>
                        <a:pt x="6" y="59"/>
                      </a:moveTo>
                      <a:cubicBezTo>
                        <a:pt x="6" y="59"/>
                        <a:pt x="35" y="46"/>
                        <a:pt x="50" y="26"/>
                      </a:cubicBezTo>
                      <a:cubicBezTo>
                        <a:pt x="55" y="19"/>
                        <a:pt x="57" y="5"/>
                        <a:pt x="47" y="3"/>
                      </a:cubicBezTo>
                      <a:cubicBezTo>
                        <a:pt x="37" y="0"/>
                        <a:pt x="22" y="8"/>
                        <a:pt x="14" y="19"/>
                      </a:cubicBezTo>
                      <a:cubicBezTo>
                        <a:pt x="0" y="39"/>
                        <a:pt x="6" y="59"/>
                        <a:pt x="6" y="59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1" name="Freeform 95">
                  <a:extLst>
                    <a:ext uri="{FF2B5EF4-FFF2-40B4-BE49-F238E27FC236}">
                      <a16:creationId xmlns:a16="http://schemas.microsoft.com/office/drawing/2014/main" id="{47D1F5B1-F1F1-434A-8D2A-97AA317AF8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8054974" y="9994270"/>
                  <a:ext cx="138113" cy="125412"/>
                </a:xfrm>
                <a:custGeom>
                  <a:avLst/>
                  <a:gdLst>
                    <a:gd name="T0" fmla="*/ 0 w 57"/>
                    <a:gd name="T1" fmla="*/ 52 h 52"/>
                    <a:gd name="T2" fmla="*/ 43 w 57"/>
                    <a:gd name="T3" fmla="*/ 33 h 52"/>
                    <a:gd name="T4" fmla="*/ 52 w 57"/>
                    <a:gd name="T5" fmla="*/ 6 h 52"/>
                    <a:gd name="T6" fmla="*/ 23 w 57"/>
                    <a:gd name="T7" fmla="*/ 11 h 52"/>
                    <a:gd name="T8" fmla="*/ 0 w 57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2">
                      <a:moveTo>
                        <a:pt x="0" y="52"/>
                      </a:moveTo>
                      <a:cubicBezTo>
                        <a:pt x="0" y="52"/>
                        <a:pt x="25" y="50"/>
                        <a:pt x="43" y="33"/>
                      </a:cubicBezTo>
                      <a:cubicBezTo>
                        <a:pt x="50" y="27"/>
                        <a:pt x="57" y="12"/>
                        <a:pt x="52" y="6"/>
                      </a:cubicBezTo>
                      <a:cubicBezTo>
                        <a:pt x="46" y="0"/>
                        <a:pt x="33" y="2"/>
                        <a:pt x="23" y="11"/>
                      </a:cubicBezTo>
                      <a:cubicBezTo>
                        <a:pt x="5" y="27"/>
                        <a:pt x="0" y="52"/>
                        <a:pt x="0" y="52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2" name="Freeform 97">
                  <a:extLst>
                    <a:ext uri="{FF2B5EF4-FFF2-40B4-BE49-F238E27FC236}">
                      <a16:creationId xmlns:a16="http://schemas.microsoft.com/office/drawing/2014/main" id="{389C700B-809B-4560-93FF-987D097A9F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146924" y="11126158"/>
                  <a:ext cx="150813" cy="92075"/>
                </a:xfrm>
                <a:custGeom>
                  <a:avLst/>
                  <a:gdLst>
                    <a:gd name="T0" fmla="*/ 62 w 62"/>
                    <a:gd name="T1" fmla="*/ 38 h 38"/>
                    <a:gd name="T2" fmla="*/ 36 w 62"/>
                    <a:gd name="T3" fmla="*/ 9 h 38"/>
                    <a:gd name="T4" fmla="*/ 5 w 62"/>
                    <a:gd name="T5" fmla="*/ 4 h 38"/>
                    <a:gd name="T6" fmla="*/ 15 w 62"/>
                    <a:gd name="T7" fmla="*/ 23 h 38"/>
                    <a:gd name="T8" fmla="*/ 62 w 62"/>
                    <a:gd name="T9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38">
                      <a:moveTo>
                        <a:pt x="62" y="38"/>
                      </a:moveTo>
                      <a:cubicBezTo>
                        <a:pt x="62" y="38"/>
                        <a:pt x="56" y="21"/>
                        <a:pt x="36" y="9"/>
                      </a:cubicBezTo>
                      <a:cubicBezTo>
                        <a:pt x="28" y="4"/>
                        <a:pt x="11" y="0"/>
                        <a:pt x="5" y="4"/>
                      </a:cubicBezTo>
                      <a:cubicBezTo>
                        <a:pt x="0" y="7"/>
                        <a:pt x="4" y="16"/>
                        <a:pt x="15" y="23"/>
                      </a:cubicBezTo>
                      <a:cubicBezTo>
                        <a:pt x="35" y="35"/>
                        <a:pt x="62" y="38"/>
                        <a:pt x="62" y="38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3" name="Freeform 98">
                  <a:extLst>
                    <a:ext uri="{FF2B5EF4-FFF2-40B4-BE49-F238E27FC236}">
                      <a16:creationId xmlns:a16="http://schemas.microsoft.com/office/drawing/2014/main" id="{AE7EA035-F542-4832-A25C-86EA93A73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543799" y="10326058"/>
                  <a:ext cx="133350" cy="98425"/>
                </a:xfrm>
                <a:custGeom>
                  <a:avLst/>
                  <a:gdLst>
                    <a:gd name="T0" fmla="*/ 55 w 55"/>
                    <a:gd name="T1" fmla="*/ 34 h 41"/>
                    <a:gd name="T2" fmla="*/ 19 w 55"/>
                    <a:gd name="T3" fmla="*/ 3 h 41"/>
                    <a:gd name="T4" fmla="*/ 0 w 55"/>
                    <a:gd name="T5" fmla="*/ 10 h 41"/>
                    <a:gd name="T6" fmla="*/ 20 w 55"/>
                    <a:gd name="T7" fmla="*/ 33 h 41"/>
                    <a:gd name="T8" fmla="*/ 55 w 55"/>
                    <a:gd name="T9" fmla="*/ 34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5" h="41">
                      <a:moveTo>
                        <a:pt x="55" y="34"/>
                      </a:moveTo>
                      <a:cubicBezTo>
                        <a:pt x="55" y="34"/>
                        <a:pt x="39" y="12"/>
                        <a:pt x="19" y="3"/>
                      </a:cubicBezTo>
                      <a:cubicBezTo>
                        <a:pt x="12" y="0"/>
                        <a:pt x="0" y="2"/>
                        <a:pt x="0" y="10"/>
                      </a:cubicBezTo>
                      <a:cubicBezTo>
                        <a:pt x="0" y="18"/>
                        <a:pt x="9" y="29"/>
                        <a:pt x="20" y="33"/>
                      </a:cubicBezTo>
                      <a:cubicBezTo>
                        <a:pt x="40" y="41"/>
                        <a:pt x="55" y="34"/>
                        <a:pt x="55" y="34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4" name="Freeform 100">
                  <a:extLst>
                    <a:ext uri="{FF2B5EF4-FFF2-40B4-BE49-F238E27FC236}">
                      <a16:creationId xmlns:a16="http://schemas.microsoft.com/office/drawing/2014/main" id="{48F900CB-EE73-4FF3-9ED1-D49C6C622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005637" y="11099170"/>
                  <a:ext cx="139700" cy="123825"/>
                </a:xfrm>
                <a:custGeom>
                  <a:avLst/>
                  <a:gdLst>
                    <a:gd name="T0" fmla="*/ 5 w 58"/>
                    <a:gd name="T1" fmla="*/ 51 h 51"/>
                    <a:gd name="T2" fmla="*/ 50 w 58"/>
                    <a:gd name="T3" fmla="*/ 25 h 51"/>
                    <a:gd name="T4" fmla="*/ 48 w 58"/>
                    <a:gd name="T5" fmla="*/ 3 h 51"/>
                    <a:gd name="T6" fmla="*/ 16 w 58"/>
                    <a:gd name="T7" fmla="*/ 14 h 51"/>
                    <a:gd name="T8" fmla="*/ 5 w 58"/>
                    <a:gd name="T9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" h="51">
                      <a:moveTo>
                        <a:pt x="5" y="51"/>
                      </a:moveTo>
                      <a:cubicBezTo>
                        <a:pt x="5" y="51"/>
                        <a:pt x="35" y="43"/>
                        <a:pt x="50" y="25"/>
                      </a:cubicBezTo>
                      <a:cubicBezTo>
                        <a:pt x="56" y="19"/>
                        <a:pt x="58" y="6"/>
                        <a:pt x="48" y="3"/>
                      </a:cubicBezTo>
                      <a:cubicBezTo>
                        <a:pt x="39" y="0"/>
                        <a:pt x="24" y="5"/>
                        <a:pt x="16" y="14"/>
                      </a:cubicBezTo>
                      <a:cubicBezTo>
                        <a:pt x="0" y="31"/>
                        <a:pt x="5" y="51"/>
                        <a:pt x="5" y="51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585" name="Freeform 101">
                  <a:extLst>
                    <a:ext uri="{FF2B5EF4-FFF2-40B4-BE49-F238E27FC236}">
                      <a16:creationId xmlns:a16="http://schemas.microsoft.com/office/drawing/2014/main" id="{7D37152A-3F54-4846-9EC8-E6F496A9BA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50124" y="10291133"/>
                  <a:ext cx="195263" cy="87312"/>
                </a:xfrm>
                <a:custGeom>
                  <a:avLst/>
                  <a:gdLst>
                    <a:gd name="T0" fmla="*/ 81 w 81"/>
                    <a:gd name="T1" fmla="*/ 34 h 36"/>
                    <a:gd name="T2" fmla="*/ 40 w 81"/>
                    <a:gd name="T3" fmla="*/ 5 h 36"/>
                    <a:gd name="T4" fmla="*/ 5 w 81"/>
                    <a:gd name="T5" fmla="*/ 6 h 36"/>
                    <a:gd name="T6" fmla="*/ 23 w 81"/>
                    <a:gd name="T7" fmla="*/ 26 h 36"/>
                    <a:gd name="T8" fmla="*/ 81 w 81"/>
                    <a:gd name="T9" fmla="*/ 34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1" h="36">
                      <a:moveTo>
                        <a:pt x="81" y="34"/>
                      </a:moveTo>
                      <a:cubicBezTo>
                        <a:pt x="81" y="34"/>
                        <a:pt x="67" y="15"/>
                        <a:pt x="40" y="5"/>
                      </a:cubicBezTo>
                      <a:cubicBezTo>
                        <a:pt x="30" y="1"/>
                        <a:pt x="9" y="0"/>
                        <a:pt x="5" y="6"/>
                      </a:cubicBezTo>
                      <a:cubicBezTo>
                        <a:pt x="0" y="11"/>
                        <a:pt x="9" y="21"/>
                        <a:pt x="23" y="26"/>
                      </a:cubicBezTo>
                      <a:cubicBezTo>
                        <a:pt x="50" y="36"/>
                        <a:pt x="81" y="34"/>
                        <a:pt x="81" y="34"/>
                      </a:cubicBezTo>
                      <a:close/>
                    </a:path>
                  </a:pathLst>
                </a:custGeom>
                <a:solidFill>
                  <a:srgbClr val="63A6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24" name="Freeform 102">
                <a:extLst>
                  <a:ext uri="{FF2B5EF4-FFF2-40B4-BE49-F238E27FC236}">
                    <a16:creationId xmlns:a16="http://schemas.microsoft.com/office/drawing/2014/main" id="{6D314DB7-D0E2-46B7-8151-9F8963168E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73874" y="9952995"/>
                <a:ext cx="1366838" cy="2463800"/>
              </a:xfrm>
              <a:custGeom>
                <a:avLst/>
                <a:gdLst>
                  <a:gd name="T0" fmla="*/ 158 w 564"/>
                  <a:gd name="T1" fmla="*/ 626 h 1017"/>
                  <a:gd name="T2" fmla="*/ 184 w 564"/>
                  <a:gd name="T3" fmla="*/ 625 h 1017"/>
                  <a:gd name="T4" fmla="*/ 104 w 564"/>
                  <a:gd name="T5" fmla="*/ 578 h 1017"/>
                  <a:gd name="T6" fmla="*/ 66 w 564"/>
                  <a:gd name="T7" fmla="*/ 538 h 1017"/>
                  <a:gd name="T8" fmla="*/ 74 w 564"/>
                  <a:gd name="T9" fmla="*/ 524 h 1017"/>
                  <a:gd name="T10" fmla="*/ 94 w 564"/>
                  <a:gd name="T11" fmla="*/ 491 h 1017"/>
                  <a:gd name="T12" fmla="*/ 152 w 564"/>
                  <a:gd name="T13" fmla="*/ 538 h 1017"/>
                  <a:gd name="T14" fmla="*/ 104 w 564"/>
                  <a:gd name="T15" fmla="*/ 471 h 1017"/>
                  <a:gd name="T16" fmla="*/ 183 w 564"/>
                  <a:gd name="T17" fmla="*/ 307 h 1017"/>
                  <a:gd name="T18" fmla="*/ 267 w 564"/>
                  <a:gd name="T19" fmla="*/ 358 h 1017"/>
                  <a:gd name="T20" fmla="*/ 276 w 564"/>
                  <a:gd name="T21" fmla="*/ 358 h 1017"/>
                  <a:gd name="T22" fmla="*/ 196 w 564"/>
                  <a:gd name="T23" fmla="*/ 282 h 1017"/>
                  <a:gd name="T24" fmla="*/ 198 w 564"/>
                  <a:gd name="T25" fmla="*/ 279 h 1017"/>
                  <a:gd name="T26" fmla="*/ 236 w 564"/>
                  <a:gd name="T27" fmla="*/ 207 h 1017"/>
                  <a:gd name="T28" fmla="*/ 259 w 564"/>
                  <a:gd name="T29" fmla="*/ 213 h 1017"/>
                  <a:gd name="T30" fmla="*/ 239 w 564"/>
                  <a:gd name="T31" fmla="*/ 200 h 1017"/>
                  <a:gd name="T32" fmla="*/ 273 w 564"/>
                  <a:gd name="T33" fmla="*/ 136 h 1017"/>
                  <a:gd name="T34" fmla="*/ 364 w 564"/>
                  <a:gd name="T35" fmla="*/ 206 h 1017"/>
                  <a:gd name="T36" fmla="*/ 295 w 564"/>
                  <a:gd name="T37" fmla="*/ 99 h 1017"/>
                  <a:gd name="T38" fmla="*/ 312 w 564"/>
                  <a:gd name="T39" fmla="*/ 78 h 1017"/>
                  <a:gd name="T40" fmla="*/ 465 w 564"/>
                  <a:gd name="T41" fmla="*/ 9 h 1017"/>
                  <a:gd name="T42" fmla="*/ 534 w 564"/>
                  <a:gd name="T43" fmla="*/ 138 h 1017"/>
                  <a:gd name="T44" fmla="*/ 554 w 564"/>
                  <a:gd name="T45" fmla="*/ 205 h 1017"/>
                  <a:gd name="T46" fmla="*/ 454 w 564"/>
                  <a:gd name="T47" fmla="*/ 236 h 1017"/>
                  <a:gd name="T48" fmla="*/ 502 w 564"/>
                  <a:gd name="T49" fmla="*/ 247 h 1017"/>
                  <a:gd name="T50" fmla="*/ 560 w 564"/>
                  <a:gd name="T51" fmla="*/ 243 h 1017"/>
                  <a:gd name="T52" fmla="*/ 562 w 564"/>
                  <a:gd name="T53" fmla="*/ 345 h 1017"/>
                  <a:gd name="T54" fmla="*/ 492 w 564"/>
                  <a:gd name="T55" fmla="*/ 357 h 1017"/>
                  <a:gd name="T56" fmla="*/ 479 w 564"/>
                  <a:gd name="T57" fmla="*/ 356 h 1017"/>
                  <a:gd name="T58" fmla="*/ 542 w 564"/>
                  <a:gd name="T59" fmla="*/ 377 h 1017"/>
                  <a:gd name="T60" fmla="*/ 559 w 564"/>
                  <a:gd name="T61" fmla="*/ 378 h 1017"/>
                  <a:gd name="T62" fmla="*/ 548 w 564"/>
                  <a:gd name="T63" fmla="*/ 446 h 1017"/>
                  <a:gd name="T64" fmla="*/ 527 w 564"/>
                  <a:gd name="T65" fmla="*/ 515 h 1017"/>
                  <a:gd name="T66" fmla="*/ 523 w 564"/>
                  <a:gd name="T67" fmla="*/ 512 h 1017"/>
                  <a:gd name="T68" fmla="*/ 499 w 564"/>
                  <a:gd name="T69" fmla="*/ 500 h 1017"/>
                  <a:gd name="T70" fmla="*/ 522 w 564"/>
                  <a:gd name="T71" fmla="*/ 526 h 1017"/>
                  <a:gd name="T72" fmla="*/ 490 w 564"/>
                  <a:gd name="T73" fmla="*/ 594 h 1017"/>
                  <a:gd name="T74" fmla="*/ 415 w 564"/>
                  <a:gd name="T75" fmla="*/ 571 h 1017"/>
                  <a:gd name="T76" fmla="*/ 477 w 564"/>
                  <a:gd name="T77" fmla="*/ 618 h 1017"/>
                  <a:gd name="T78" fmla="*/ 429 w 564"/>
                  <a:gd name="T79" fmla="*/ 705 h 1017"/>
                  <a:gd name="T80" fmla="*/ 378 w 564"/>
                  <a:gd name="T81" fmla="*/ 664 h 1017"/>
                  <a:gd name="T82" fmla="*/ 419 w 564"/>
                  <a:gd name="T83" fmla="*/ 722 h 1017"/>
                  <a:gd name="T84" fmla="*/ 343 w 564"/>
                  <a:gd name="T85" fmla="*/ 844 h 1017"/>
                  <a:gd name="T86" fmla="*/ 294 w 564"/>
                  <a:gd name="T87" fmla="*/ 793 h 1017"/>
                  <a:gd name="T88" fmla="*/ 332 w 564"/>
                  <a:gd name="T89" fmla="*/ 861 h 1017"/>
                  <a:gd name="T90" fmla="*/ 319 w 564"/>
                  <a:gd name="T91" fmla="*/ 882 h 1017"/>
                  <a:gd name="T92" fmla="*/ 94 w 564"/>
                  <a:gd name="T93" fmla="*/ 922 h 1017"/>
                  <a:gd name="T94" fmla="*/ 4 w 564"/>
                  <a:gd name="T95" fmla="*/ 731 h 1017"/>
                  <a:gd name="T96" fmla="*/ 59 w 564"/>
                  <a:gd name="T97" fmla="*/ 551 h 1017"/>
                  <a:gd name="T98" fmla="*/ 158 w 564"/>
                  <a:gd name="T99" fmla="*/ 626 h 10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64" h="1017">
                    <a:moveTo>
                      <a:pt x="158" y="626"/>
                    </a:moveTo>
                    <a:cubicBezTo>
                      <a:pt x="167" y="627"/>
                      <a:pt x="176" y="626"/>
                      <a:pt x="184" y="625"/>
                    </a:cubicBezTo>
                    <a:cubicBezTo>
                      <a:pt x="157" y="616"/>
                      <a:pt x="130" y="600"/>
                      <a:pt x="104" y="578"/>
                    </a:cubicBezTo>
                    <a:cubicBezTo>
                      <a:pt x="90" y="566"/>
                      <a:pt x="77" y="553"/>
                      <a:pt x="66" y="538"/>
                    </a:cubicBezTo>
                    <a:cubicBezTo>
                      <a:pt x="69" y="533"/>
                      <a:pt x="72" y="529"/>
                      <a:pt x="74" y="524"/>
                    </a:cubicBezTo>
                    <a:cubicBezTo>
                      <a:pt x="80" y="516"/>
                      <a:pt x="87" y="504"/>
                      <a:pt x="94" y="491"/>
                    </a:cubicBezTo>
                    <a:cubicBezTo>
                      <a:pt x="110" y="513"/>
                      <a:pt x="130" y="529"/>
                      <a:pt x="152" y="538"/>
                    </a:cubicBezTo>
                    <a:cubicBezTo>
                      <a:pt x="132" y="522"/>
                      <a:pt x="116" y="499"/>
                      <a:pt x="104" y="471"/>
                    </a:cubicBezTo>
                    <a:cubicBezTo>
                      <a:pt x="130" y="420"/>
                      <a:pt x="160" y="352"/>
                      <a:pt x="183" y="307"/>
                    </a:cubicBezTo>
                    <a:cubicBezTo>
                      <a:pt x="205" y="336"/>
                      <a:pt x="234" y="355"/>
                      <a:pt x="267" y="358"/>
                    </a:cubicBezTo>
                    <a:cubicBezTo>
                      <a:pt x="270" y="358"/>
                      <a:pt x="273" y="358"/>
                      <a:pt x="276" y="358"/>
                    </a:cubicBezTo>
                    <a:cubicBezTo>
                      <a:pt x="242" y="347"/>
                      <a:pt x="214" y="319"/>
                      <a:pt x="196" y="282"/>
                    </a:cubicBezTo>
                    <a:cubicBezTo>
                      <a:pt x="197" y="281"/>
                      <a:pt x="197" y="280"/>
                      <a:pt x="198" y="279"/>
                    </a:cubicBezTo>
                    <a:cubicBezTo>
                      <a:pt x="209" y="260"/>
                      <a:pt x="222" y="234"/>
                      <a:pt x="236" y="207"/>
                    </a:cubicBezTo>
                    <a:cubicBezTo>
                      <a:pt x="244" y="208"/>
                      <a:pt x="252" y="210"/>
                      <a:pt x="259" y="213"/>
                    </a:cubicBezTo>
                    <a:cubicBezTo>
                      <a:pt x="253" y="208"/>
                      <a:pt x="246" y="204"/>
                      <a:pt x="239" y="200"/>
                    </a:cubicBezTo>
                    <a:cubicBezTo>
                      <a:pt x="250" y="178"/>
                      <a:pt x="262" y="156"/>
                      <a:pt x="273" y="136"/>
                    </a:cubicBezTo>
                    <a:cubicBezTo>
                      <a:pt x="294" y="174"/>
                      <a:pt x="326" y="200"/>
                      <a:pt x="364" y="206"/>
                    </a:cubicBezTo>
                    <a:cubicBezTo>
                      <a:pt x="331" y="184"/>
                      <a:pt x="306" y="145"/>
                      <a:pt x="295" y="99"/>
                    </a:cubicBezTo>
                    <a:cubicBezTo>
                      <a:pt x="301" y="91"/>
                      <a:pt x="306" y="83"/>
                      <a:pt x="312" y="78"/>
                    </a:cubicBezTo>
                    <a:cubicBezTo>
                      <a:pt x="347" y="39"/>
                      <a:pt x="464" y="0"/>
                      <a:pt x="465" y="9"/>
                    </a:cubicBezTo>
                    <a:cubicBezTo>
                      <a:pt x="469" y="31"/>
                      <a:pt x="494" y="40"/>
                      <a:pt x="534" y="138"/>
                    </a:cubicBezTo>
                    <a:cubicBezTo>
                      <a:pt x="542" y="160"/>
                      <a:pt x="549" y="182"/>
                      <a:pt x="554" y="205"/>
                    </a:cubicBezTo>
                    <a:cubicBezTo>
                      <a:pt x="528" y="225"/>
                      <a:pt x="493" y="237"/>
                      <a:pt x="454" y="236"/>
                    </a:cubicBezTo>
                    <a:cubicBezTo>
                      <a:pt x="469" y="242"/>
                      <a:pt x="485" y="246"/>
                      <a:pt x="502" y="247"/>
                    </a:cubicBezTo>
                    <a:cubicBezTo>
                      <a:pt x="522" y="249"/>
                      <a:pt x="542" y="247"/>
                      <a:pt x="560" y="243"/>
                    </a:cubicBezTo>
                    <a:cubicBezTo>
                      <a:pt x="564" y="277"/>
                      <a:pt x="564" y="311"/>
                      <a:pt x="562" y="345"/>
                    </a:cubicBezTo>
                    <a:cubicBezTo>
                      <a:pt x="542" y="355"/>
                      <a:pt x="518" y="360"/>
                      <a:pt x="492" y="357"/>
                    </a:cubicBezTo>
                    <a:cubicBezTo>
                      <a:pt x="487" y="357"/>
                      <a:pt x="483" y="356"/>
                      <a:pt x="479" y="356"/>
                    </a:cubicBezTo>
                    <a:cubicBezTo>
                      <a:pt x="497" y="367"/>
                      <a:pt x="519" y="375"/>
                      <a:pt x="542" y="377"/>
                    </a:cubicBezTo>
                    <a:cubicBezTo>
                      <a:pt x="548" y="378"/>
                      <a:pt x="553" y="378"/>
                      <a:pt x="559" y="378"/>
                    </a:cubicBezTo>
                    <a:cubicBezTo>
                      <a:pt x="556" y="401"/>
                      <a:pt x="552" y="424"/>
                      <a:pt x="548" y="446"/>
                    </a:cubicBezTo>
                    <a:cubicBezTo>
                      <a:pt x="544" y="466"/>
                      <a:pt x="537" y="489"/>
                      <a:pt x="527" y="515"/>
                    </a:cubicBezTo>
                    <a:cubicBezTo>
                      <a:pt x="525" y="514"/>
                      <a:pt x="524" y="513"/>
                      <a:pt x="523" y="512"/>
                    </a:cubicBezTo>
                    <a:cubicBezTo>
                      <a:pt x="515" y="508"/>
                      <a:pt x="507" y="504"/>
                      <a:pt x="499" y="500"/>
                    </a:cubicBezTo>
                    <a:cubicBezTo>
                      <a:pt x="508" y="509"/>
                      <a:pt x="516" y="518"/>
                      <a:pt x="522" y="526"/>
                    </a:cubicBezTo>
                    <a:cubicBezTo>
                      <a:pt x="513" y="548"/>
                      <a:pt x="502" y="570"/>
                      <a:pt x="490" y="594"/>
                    </a:cubicBezTo>
                    <a:cubicBezTo>
                      <a:pt x="469" y="592"/>
                      <a:pt x="443" y="585"/>
                      <a:pt x="415" y="571"/>
                    </a:cubicBezTo>
                    <a:cubicBezTo>
                      <a:pt x="431" y="588"/>
                      <a:pt x="453" y="604"/>
                      <a:pt x="477" y="618"/>
                    </a:cubicBezTo>
                    <a:cubicBezTo>
                      <a:pt x="462" y="647"/>
                      <a:pt x="446" y="676"/>
                      <a:pt x="429" y="705"/>
                    </a:cubicBezTo>
                    <a:cubicBezTo>
                      <a:pt x="410" y="692"/>
                      <a:pt x="392" y="678"/>
                      <a:pt x="378" y="664"/>
                    </a:cubicBezTo>
                    <a:cubicBezTo>
                      <a:pt x="384" y="681"/>
                      <a:pt x="398" y="702"/>
                      <a:pt x="419" y="722"/>
                    </a:cubicBezTo>
                    <a:cubicBezTo>
                      <a:pt x="394" y="764"/>
                      <a:pt x="368" y="806"/>
                      <a:pt x="343" y="844"/>
                    </a:cubicBezTo>
                    <a:cubicBezTo>
                      <a:pt x="322" y="827"/>
                      <a:pt x="305" y="809"/>
                      <a:pt x="294" y="793"/>
                    </a:cubicBezTo>
                    <a:cubicBezTo>
                      <a:pt x="292" y="811"/>
                      <a:pt x="307" y="836"/>
                      <a:pt x="332" y="861"/>
                    </a:cubicBezTo>
                    <a:cubicBezTo>
                      <a:pt x="328" y="868"/>
                      <a:pt x="324" y="875"/>
                      <a:pt x="319" y="882"/>
                    </a:cubicBezTo>
                    <a:cubicBezTo>
                      <a:pt x="231" y="1017"/>
                      <a:pt x="94" y="922"/>
                      <a:pt x="94" y="922"/>
                    </a:cubicBezTo>
                    <a:cubicBezTo>
                      <a:pt x="94" y="922"/>
                      <a:pt x="13" y="784"/>
                      <a:pt x="4" y="731"/>
                    </a:cubicBezTo>
                    <a:cubicBezTo>
                      <a:pt x="0" y="700"/>
                      <a:pt x="30" y="608"/>
                      <a:pt x="59" y="551"/>
                    </a:cubicBezTo>
                    <a:cubicBezTo>
                      <a:pt x="81" y="593"/>
                      <a:pt x="117" y="622"/>
                      <a:pt x="158" y="626"/>
                    </a:cubicBez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5" name="Freeform 103">
                <a:extLst>
                  <a:ext uri="{FF2B5EF4-FFF2-40B4-BE49-F238E27FC236}">
                    <a16:creationId xmlns:a16="http://schemas.microsoft.com/office/drawing/2014/main" id="{1074F0C0-B232-4C5B-A872-1D2F6C715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73874" y="9962520"/>
                <a:ext cx="1123950" cy="2228850"/>
              </a:xfrm>
              <a:custGeom>
                <a:avLst/>
                <a:gdLst>
                  <a:gd name="T0" fmla="*/ 94 w 464"/>
                  <a:gd name="T1" fmla="*/ 918 h 920"/>
                  <a:gd name="T2" fmla="*/ 4 w 464"/>
                  <a:gd name="T3" fmla="*/ 727 h 920"/>
                  <a:gd name="T4" fmla="*/ 59 w 464"/>
                  <a:gd name="T5" fmla="*/ 547 h 920"/>
                  <a:gd name="T6" fmla="*/ 158 w 464"/>
                  <a:gd name="T7" fmla="*/ 622 h 920"/>
                  <a:gd name="T8" fmla="*/ 184 w 464"/>
                  <a:gd name="T9" fmla="*/ 621 h 920"/>
                  <a:gd name="T10" fmla="*/ 104 w 464"/>
                  <a:gd name="T11" fmla="*/ 574 h 920"/>
                  <a:gd name="T12" fmla="*/ 66 w 464"/>
                  <a:gd name="T13" fmla="*/ 534 h 920"/>
                  <a:gd name="T14" fmla="*/ 74 w 464"/>
                  <a:gd name="T15" fmla="*/ 520 h 920"/>
                  <a:gd name="T16" fmla="*/ 94 w 464"/>
                  <a:gd name="T17" fmla="*/ 487 h 920"/>
                  <a:gd name="T18" fmla="*/ 152 w 464"/>
                  <a:gd name="T19" fmla="*/ 534 h 920"/>
                  <a:gd name="T20" fmla="*/ 104 w 464"/>
                  <a:gd name="T21" fmla="*/ 467 h 920"/>
                  <a:gd name="T22" fmla="*/ 183 w 464"/>
                  <a:gd name="T23" fmla="*/ 303 h 920"/>
                  <a:gd name="T24" fmla="*/ 267 w 464"/>
                  <a:gd name="T25" fmla="*/ 354 h 920"/>
                  <a:gd name="T26" fmla="*/ 276 w 464"/>
                  <a:gd name="T27" fmla="*/ 354 h 920"/>
                  <a:gd name="T28" fmla="*/ 196 w 464"/>
                  <a:gd name="T29" fmla="*/ 278 h 920"/>
                  <a:gd name="T30" fmla="*/ 198 w 464"/>
                  <a:gd name="T31" fmla="*/ 275 h 920"/>
                  <a:gd name="T32" fmla="*/ 236 w 464"/>
                  <a:gd name="T33" fmla="*/ 203 h 920"/>
                  <a:gd name="T34" fmla="*/ 259 w 464"/>
                  <a:gd name="T35" fmla="*/ 209 h 920"/>
                  <a:gd name="T36" fmla="*/ 239 w 464"/>
                  <a:gd name="T37" fmla="*/ 196 h 920"/>
                  <a:gd name="T38" fmla="*/ 273 w 464"/>
                  <a:gd name="T39" fmla="*/ 132 h 920"/>
                  <a:gd name="T40" fmla="*/ 364 w 464"/>
                  <a:gd name="T41" fmla="*/ 202 h 920"/>
                  <a:gd name="T42" fmla="*/ 295 w 464"/>
                  <a:gd name="T43" fmla="*/ 95 h 920"/>
                  <a:gd name="T44" fmla="*/ 312 w 464"/>
                  <a:gd name="T45" fmla="*/ 74 h 920"/>
                  <a:gd name="T46" fmla="*/ 464 w 464"/>
                  <a:gd name="T47" fmla="*/ 4 h 920"/>
                  <a:gd name="T48" fmla="*/ 97 w 464"/>
                  <a:gd name="T49" fmla="*/ 920 h 920"/>
                  <a:gd name="T50" fmla="*/ 94 w 464"/>
                  <a:gd name="T51" fmla="*/ 918 h 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64" h="920">
                    <a:moveTo>
                      <a:pt x="94" y="918"/>
                    </a:moveTo>
                    <a:cubicBezTo>
                      <a:pt x="94" y="918"/>
                      <a:pt x="13" y="780"/>
                      <a:pt x="4" y="727"/>
                    </a:cubicBezTo>
                    <a:cubicBezTo>
                      <a:pt x="0" y="696"/>
                      <a:pt x="30" y="604"/>
                      <a:pt x="59" y="547"/>
                    </a:cubicBezTo>
                    <a:cubicBezTo>
                      <a:pt x="81" y="589"/>
                      <a:pt x="117" y="618"/>
                      <a:pt x="158" y="622"/>
                    </a:cubicBezTo>
                    <a:cubicBezTo>
                      <a:pt x="167" y="623"/>
                      <a:pt x="176" y="622"/>
                      <a:pt x="184" y="621"/>
                    </a:cubicBezTo>
                    <a:cubicBezTo>
                      <a:pt x="157" y="612"/>
                      <a:pt x="130" y="596"/>
                      <a:pt x="104" y="574"/>
                    </a:cubicBezTo>
                    <a:cubicBezTo>
                      <a:pt x="90" y="562"/>
                      <a:pt x="77" y="549"/>
                      <a:pt x="66" y="534"/>
                    </a:cubicBezTo>
                    <a:cubicBezTo>
                      <a:pt x="69" y="529"/>
                      <a:pt x="72" y="525"/>
                      <a:pt x="74" y="520"/>
                    </a:cubicBezTo>
                    <a:cubicBezTo>
                      <a:pt x="80" y="512"/>
                      <a:pt x="87" y="500"/>
                      <a:pt x="94" y="487"/>
                    </a:cubicBezTo>
                    <a:cubicBezTo>
                      <a:pt x="110" y="509"/>
                      <a:pt x="130" y="525"/>
                      <a:pt x="152" y="534"/>
                    </a:cubicBezTo>
                    <a:cubicBezTo>
                      <a:pt x="132" y="518"/>
                      <a:pt x="116" y="495"/>
                      <a:pt x="104" y="467"/>
                    </a:cubicBezTo>
                    <a:cubicBezTo>
                      <a:pt x="130" y="416"/>
                      <a:pt x="160" y="348"/>
                      <a:pt x="183" y="303"/>
                    </a:cubicBezTo>
                    <a:cubicBezTo>
                      <a:pt x="205" y="332"/>
                      <a:pt x="234" y="351"/>
                      <a:pt x="267" y="354"/>
                    </a:cubicBezTo>
                    <a:cubicBezTo>
                      <a:pt x="270" y="354"/>
                      <a:pt x="273" y="354"/>
                      <a:pt x="276" y="354"/>
                    </a:cubicBezTo>
                    <a:cubicBezTo>
                      <a:pt x="242" y="343"/>
                      <a:pt x="214" y="315"/>
                      <a:pt x="196" y="278"/>
                    </a:cubicBezTo>
                    <a:cubicBezTo>
                      <a:pt x="197" y="277"/>
                      <a:pt x="197" y="276"/>
                      <a:pt x="198" y="275"/>
                    </a:cubicBezTo>
                    <a:cubicBezTo>
                      <a:pt x="209" y="256"/>
                      <a:pt x="222" y="230"/>
                      <a:pt x="236" y="203"/>
                    </a:cubicBezTo>
                    <a:cubicBezTo>
                      <a:pt x="244" y="204"/>
                      <a:pt x="252" y="206"/>
                      <a:pt x="259" y="209"/>
                    </a:cubicBezTo>
                    <a:cubicBezTo>
                      <a:pt x="253" y="204"/>
                      <a:pt x="246" y="200"/>
                      <a:pt x="239" y="196"/>
                    </a:cubicBezTo>
                    <a:cubicBezTo>
                      <a:pt x="250" y="174"/>
                      <a:pt x="262" y="152"/>
                      <a:pt x="273" y="132"/>
                    </a:cubicBezTo>
                    <a:cubicBezTo>
                      <a:pt x="294" y="170"/>
                      <a:pt x="326" y="196"/>
                      <a:pt x="364" y="202"/>
                    </a:cubicBezTo>
                    <a:cubicBezTo>
                      <a:pt x="331" y="180"/>
                      <a:pt x="306" y="141"/>
                      <a:pt x="295" y="95"/>
                    </a:cubicBezTo>
                    <a:cubicBezTo>
                      <a:pt x="301" y="87"/>
                      <a:pt x="306" y="79"/>
                      <a:pt x="312" y="74"/>
                    </a:cubicBezTo>
                    <a:cubicBezTo>
                      <a:pt x="345" y="37"/>
                      <a:pt x="452" y="0"/>
                      <a:pt x="464" y="4"/>
                    </a:cubicBezTo>
                    <a:cubicBezTo>
                      <a:pt x="394" y="386"/>
                      <a:pt x="263" y="708"/>
                      <a:pt x="97" y="920"/>
                    </a:cubicBezTo>
                    <a:cubicBezTo>
                      <a:pt x="95" y="919"/>
                      <a:pt x="94" y="918"/>
                      <a:pt x="94" y="918"/>
                    </a:cubicBezTo>
                    <a:close/>
                  </a:path>
                </a:pathLst>
              </a:cu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6" name="Freeform 104">
                <a:extLst>
                  <a:ext uri="{FF2B5EF4-FFF2-40B4-BE49-F238E27FC236}">
                    <a16:creationId xmlns:a16="http://schemas.microsoft.com/office/drawing/2014/main" id="{CC4095E9-1653-4F54-BE62-248E3A2B0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011987" y="10573708"/>
                <a:ext cx="1003300" cy="1758950"/>
              </a:xfrm>
              <a:custGeom>
                <a:avLst/>
                <a:gdLst>
                  <a:gd name="T0" fmla="*/ 41 w 414"/>
                  <a:gd name="T1" fmla="*/ 408 h 726"/>
                  <a:gd name="T2" fmla="*/ 305 w 414"/>
                  <a:gd name="T3" fmla="*/ 726 h 726"/>
                  <a:gd name="T4" fmla="*/ 374 w 414"/>
                  <a:gd name="T5" fmla="*/ 318 h 726"/>
                  <a:gd name="T6" fmla="*/ 109 w 414"/>
                  <a:gd name="T7" fmla="*/ 0 h 726"/>
                  <a:gd name="T8" fmla="*/ 41 w 414"/>
                  <a:gd name="T9" fmla="*/ 408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4" h="726">
                    <a:moveTo>
                      <a:pt x="41" y="408"/>
                    </a:moveTo>
                    <a:cubicBezTo>
                      <a:pt x="82" y="558"/>
                      <a:pt x="183" y="674"/>
                      <a:pt x="305" y="726"/>
                    </a:cubicBezTo>
                    <a:cubicBezTo>
                      <a:pt x="384" y="619"/>
                      <a:pt x="414" y="469"/>
                      <a:pt x="374" y="318"/>
                    </a:cubicBezTo>
                    <a:cubicBezTo>
                      <a:pt x="333" y="168"/>
                      <a:pt x="232" y="53"/>
                      <a:pt x="109" y="0"/>
                    </a:cubicBezTo>
                    <a:cubicBezTo>
                      <a:pt x="30" y="107"/>
                      <a:pt x="0" y="257"/>
                      <a:pt x="41" y="408"/>
                    </a:cubicBezTo>
                    <a:close/>
                  </a:path>
                </a:pathLst>
              </a:custGeom>
              <a:solidFill>
                <a:srgbClr val="742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7" name="Line 105">
                <a:extLst>
                  <a:ext uri="{FF2B5EF4-FFF2-40B4-BE49-F238E27FC236}">
                    <a16:creationId xmlns:a16="http://schemas.microsoft.com/office/drawing/2014/main" id="{B5754191-1456-4F7F-862A-1960BBC259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6713537" y="10711820"/>
                <a:ext cx="419100" cy="15541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8" name="Line 106">
                <a:extLst>
                  <a:ext uri="{FF2B5EF4-FFF2-40B4-BE49-F238E27FC236}">
                    <a16:creationId xmlns:a16="http://schemas.microsoft.com/office/drawing/2014/main" id="{B376059E-6BA8-47B9-B034-DF0520BA0F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626224" y="10813420"/>
                <a:ext cx="125413" cy="2206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29" name="Line 107">
                <a:extLst>
                  <a:ext uri="{FF2B5EF4-FFF2-40B4-BE49-F238E27FC236}">
                    <a16:creationId xmlns:a16="http://schemas.microsoft.com/office/drawing/2014/main" id="{072AFF3C-8D3D-4C1B-9A4B-2AA56E40E2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553199" y="11027733"/>
                <a:ext cx="153988" cy="2698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0" name="Line 108">
                <a:extLst>
                  <a:ext uri="{FF2B5EF4-FFF2-40B4-BE49-F238E27FC236}">
                    <a16:creationId xmlns:a16="http://schemas.microsoft.com/office/drawing/2014/main" id="{CE12B68C-39C6-4278-B54F-BCE2F82307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483349" y="11110283"/>
                <a:ext cx="261938" cy="454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1" name="Line 109">
                <a:extLst>
                  <a:ext uri="{FF2B5EF4-FFF2-40B4-BE49-F238E27FC236}">
                    <a16:creationId xmlns:a16="http://schemas.microsoft.com/office/drawing/2014/main" id="{2A49AA6E-EE05-4AEE-9D53-5B4C52F7CE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410324" y="11389683"/>
                <a:ext cx="250825" cy="4381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2" name="Line 110">
                <a:extLst>
                  <a:ext uri="{FF2B5EF4-FFF2-40B4-BE49-F238E27FC236}">
                    <a16:creationId xmlns:a16="http://schemas.microsoft.com/office/drawing/2014/main" id="{5FB44096-E267-4783-9C57-8ED2EA4B5F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6340474" y="11846883"/>
                <a:ext cx="141288" cy="2476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3" name="Line 111">
                <a:extLst>
                  <a:ext uri="{FF2B5EF4-FFF2-40B4-BE49-F238E27FC236}">
                    <a16:creationId xmlns:a16="http://schemas.microsoft.com/office/drawing/2014/main" id="{545E1080-F184-401A-82F3-ED4ED3F1BC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57999" y="10875333"/>
                <a:ext cx="219075" cy="1270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4" name="Line 112">
                <a:extLst>
                  <a:ext uri="{FF2B5EF4-FFF2-40B4-BE49-F238E27FC236}">
                    <a16:creationId xmlns:a16="http://schemas.microsoft.com/office/drawing/2014/main" id="{835B88C6-EA39-4A4C-946F-A414DD93F3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908799" y="11069008"/>
                <a:ext cx="342900" cy="1968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5" name="Line 113">
                <a:extLst>
                  <a:ext uri="{FF2B5EF4-FFF2-40B4-BE49-F238E27FC236}">
                    <a16:creationId xmlns:a16="http://schemas.microsoft.com/office/drawing/2014/main" id="{EB0C3A4E-41F7-4770-8936-6F31F646E6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924674" y="11284908"/>
                <a:ext cx="428625" cy="2476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6" name="Line 114">
                <a:extLst>
                  <a:ext uri="{FF2B5EF4-FFF2-40B4-BE49-F238E27FC236}">
                    <a16:creationId xmlns:a16="http://schemas.microsoft.com/office/drawing/2014/main" id="{AE72D05F-0C8B-427F-987A-5774494AE5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62762" y="11545258"/>
                <a:ext cx="439738" cy="2508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7" name="Line 115">
                <a:extLst>
                  <a:ext uri="{FF2B5EF4-FFF2-40B4-BE49-F238E27FC236}">
                    <a16:creationId xmlns:a16="http://schemas.microsoft.com/office/drawing/2014/main" id="{85605F82-C3E7-480B-BE91-8CB71725D7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730999" y="11845295"/>
                <a:ext cx="377825" cy="2174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8" name="Freeform 116">
                <a:extLst>
                  <a:ext uri="{FF2B5EF4-FFF2-40B4-BE49-F238E27FC236}">
                    <a16:creationId xmlns:a16="http://schemas.microsoft.com/office/drawing/2014/main" id="{A21C5026-1897-4626-900C-DD2A178B28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778749" y="11135683"/>
                <a:ext cx="1392238" cy="1330325"/>
              </a:xfrm>
              <a:custGeom>
                <a:avLst/>
                <a:gdLst>
                  <a:gd name="T0" fmla="*/ 172 w 575"/>
                  <a:gd name="T1" fmla="*/ 402 h 549"/>
                  <a:gd name="T2" fmla="*/ 566 w 575"/>
                  <a:gd name="T3" fmla="*/ 527 h 549"/>
                  <a:gd name="T4" fmla="*/ 403 w 575"/>
                  <a:gd name="T5" fmla="*/ 147 h 549"/>
                  <a:gd name="T6" fmla="*/ 8 w 575"/>
                  <a:gd name="T7" fmla="*/ 22 h 549"/>
                  <a:gd name="T8" fmla="*/ 172 w 575"/>
                  <a:gd name="T9" fmla="*/ 402 h 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5" h="549">
                    <a:moveTo>
                      <a:pt x="172" y="402"/>
                    </a:moveTo>
                    <a:cubicBezTo>
                      <a:pt x="287" y="507"/>
                      <a:pt x="435" y="549"/>
                      <a:pt x="566" y="527"/>
                    </a:cubicBezTo>
                    <a:cubicBezTo>
                      <a:pt x="575" y="394"/>
                      <a:pt x="519" y="251"/>
                      <a:pt x="403" y="147"/>
                    </a:cubicBezTo>
                    <a:cubicBezTo>
                      <a:pt x="287" y="42"/>
                      <a:pt x="140" y="0"/>
                      <a:pt x="8" y="22"/>
                    </a:cubicBezTo>
                    <a:cubicBezTo>
                      <a:pt x="0" y="155"/>
                      <a:pt x="56" y="298"/>
                      <a:pt x="172" y="402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39" name="Line 117">
                <a:extLst>
                  <a:ext uri="{FF2B5EF4-FFF2-40B4-BE49-F238E27FC236}">
                    <a16:creationId xmlns:a16="http://schemas.microsoft.com/office/drawing/2014/main" id="{754DB6F4-9308-41D0-88EE-6D344A8D7D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654924" y="11288083"/>
                <a:ext cx="1193800" cy="10826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0" name="Line 118">
                <a:extLst>
                  <a:ext uri="{FF2B5EF4-FFF2-40B4-BE49-F238E27FC236}">
                    <a16:creationId xmlns:a16="http://schemas.microsoft.com/office/drawing/2014/main" id="{62851F21-EF72-4FD7-BDEB-E5DD864449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419974" y="11257920"/>
                <a:ext cx="11113" cy="2524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1" name="Line 119">
                <a:extLst>
                  <a:ext uri="{FF2B5EF4-FFF2-40B4-BE49-F238E27FC236}">
                    <a16:creationId xmlns:a16="http://schemas.microsoft.com/office/drawing/2014/main" id="{CFCAAED6-C788-4FBD-8936-58FE6A49AD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219949" y="11381745"/>
                <a:ext cx="14288" cy="3127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2" name="Line 120">
                <a:extLst>
                  <a:ext uri="{FF2B5EF4-FFF2-40B4-BE49-F238E27FC236}">
                    <a16:creationId xmlns:a16="http://schemas.microsoft.com/office/drawing/2014/main" id="{4A65BB1F-20E5-4690-A82E-13D4864F07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027862" y="11357933"/>
                <a:ext cx="26988" cy="520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3" name="Line 121">
                <a:extLst>
                  <a:ext uri="{FF2B5EF4-FFF2-40B4-BE49-F238E27FC236}">
                    <a16:creationId xmlns:a16="http://schemas.microsoft.com/office/drawing/2014/main" id="{CEDF93F7-BC5C-4ABC-97D3-2B30DB972D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823074" y="11556370"/>
                <a:ext cx="25400" cy="5064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4" name="Line 122">
                <a:extLst>
                  <a:ext uri="{FF2B5EF4-FFF2-40B4-BE49-F238E27FC236}">
                    <a16:creationId xmlns:a16="http://schemas.microsoft.com/office/drawing/2014/main" id="{841B2402-FD2F-4FF9-B451-885826009C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6608762" y="11965945"/>
                <a:ext cx="14288" cy="2809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5" name="Line 123">
                <a:extLst>
                  <a:ext uri="{FF2B5EF4-FFF2-40B4-BE49-F238E27FC236}">
                    <a16:creationId xmlns:a16="http://schemas.microsoft.com/office/drawing/2014/main" id="{F400788B-1E46-4A2E-AA1F-97176F8A9A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689849" y="11491283"/>
                <a:ext cx="254000" cy="12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6" name="Line 124">
                <a:extLst>
                  <a:ext uri="{FF2B5EF4-FFF2-40B4-BE49-F238E27FC236}">
                    <a16:creationId xmlns:a16="http://schemas.microsoft.com/office/drawing/2014/main" id="{6900958A-8AD8-4F28-81FA-F18C66D4E4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626349" y="11675433"/>
                <a:ext cx="395288" cy="190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7" name="Line 125">
                <a:extLst>
                  <a:ext uri="{FF2B5EF4-FFF2-40B4-BE49-F238E27FC236}">
                    <a16:creationId xmlns:a16="http://schemas.microsoft.com/office/drawing/2014/main" id="{D4D8CCB0-C6F6-4BCC-B82F-732A6FE17E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521574" y="11859583"/>
                <a:ext cx="493713" cy="2381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8" name="Line 126">
                <a:extLst>
                  <a:ext uri="{FF2B5EF4-FFF2-40B4-BE49-F238E27FC236}">
                    <a16:creationId xmlns:a16="http://schemas.microsoft.com/office/drawing/2014/main" id="{94C11194-545D-469D-B166-8C8054173A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331074" y="12043733"/>
                <a:ext cx="506413" cy="26987"/>
              </a:xfrm>
              <a:prstGeom prst="line">
                <a:avLst/>
              </a:prstGeom>
              <a:noFill/>
              <a:ln w="14288" cap="flat">
                <a:solidFill>
                  <a:srgbClr val="0C115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49" name="Line 127">
                <a:extLst>
                  <a:ext uri="{FF2B5EF4-FFF2-40B4-BE49-F238E27FC236}">
                    <a16:creationId xmlns:a16="http://schemas.microsoft.com/office/drawing/2014/main" id="{29B1A00F-0877-4B04-873A-063343F4E0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-7058024" y="12227883"/>
                <a:ext cx="436563" cy="222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0" name="Freeform 128">
                <a:extLst>
                  <a:ext uri="{FF2B5EF4-FFF2-40B4-BE49-F238E27FC236}">
                    <a16:creationId xmlns:a16="http://schemas.microsoft.com/office/drawing/2014/main" id="{1EA82D20-8D26-480A-8440-88F0BB2E4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746999" y="11804020"/>
                <a:ext cx="1014413" cy="1022350"/>
              </a:xfrm>
              <a:custGeom>
                <a:avLst/>
                <a:gdLst>
                  <a:gd name="T0" fmla="*/ 150 w 419"/>
                  <a:gd name="T1" fmla="*/ 339 h 422"/>
                  <a:gd name="T2" fmla="*/ 154 w 419"/>
                  <a:gd name="T3" fmla="*/ 387 h 422"/>
                  <a:gd name="T4" fmla="*/ 50 w 419"/>
                  <a:gd name="T5" fmla="*/ 422 h 422"/>
                  <a:gd name="T6" fmla="*/ 23 w 419"/>
                  <a:gd name="T7" fmla="*/ 323 h 422"/>
                  <a:gd name="T8" fmla="*/ 419 w 419"/>
                  <a:gd name="T9" fmla="*/ 111 h 422"/>
                  <a:gd name="T10" fmla="*/ 255 w 419"/>
                  <a:gd name="T11" fmla="*/ 328 h 422"/>
                  <a:gd name="T12" fmla="*/ 183 w 419"/>
                  <a:gd name="T13" fmla="*/ 373 h 422"/>
                  <a:gd name="T14" fmla="*/ 150 w 419"/>
                  <a:gd name="T15" fmla="*/ 339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9" h="422">
                    <a:moveTo>
                      <a:pt x="150" y="339"/>
                    </a:moveTo>
                    <a:cubicBezTo>
                      <a:pt x="154" y="387"/>
                      <a:pt x="154" y="387"/>
                      <a:pt x="154" y="387"/>
                    </a:cubicBezTo>
                    <a:cubicBezTo>
                      <a:pt x="119" y="403"/>
                      <a:pt x="84" y="415"/>
                      <a:pt x="50" y="422"/>
                    </a:cubicBezTo>
                    <a:cubicBezTo>
                      <a:pt x="37" y="391"/>
                      <a:pt x="28" y="358"/>
                      <a:pt x="23" y="323"/>
                    </a:cubicBezTo>
                    <a:cubicBezTo>
                      <a:pt x="0" y="153"/>
                      <a:pt x="224" y="0"/>
                      <a:pt x="419" y="111"/>
                    </a:cubicBezTo>
                    <a:cubicBezTo>
                      <a:pt x="402" y="182"/>
                      <a:pt x="344" y="263"/>
                      <a:pt x="255" y="328"/>
                    </a:cubicBezTo>
                    <a:cubicBezTo>
                      <a:pt x="231" y="345"/>
                      <a:pt x="208" y="360"/>
                      <a:pt x="183" y="373"/>
                    </a:cubicBezTo>
                    <a:lnTo>
                      <a:pt x="150" y="339"/>
                    </a:lnTo>
                    <a:close/>
                  </a:path>
                </a:pathLst>
              </a:custGeom>
              <a:solidFill>
                <a:srgbClr val="641B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1" name="Freeform 129">
                <a:extLst>
                  <a:ext uri="{FF2B5EF4-FFF2-40B4-BE49-F238E27FC236}">
                    <a16:creationId xmlns:a16="http://schemas.microsoft.com/office/drawing/2014/main" id="{6F5720BA-CAAE-4679-B323-5849694EF7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26349" y="12072308"/>
                <a:ext cx="893763" cy="754062"/>
              </a:xfrm>
              <a:custGeom>
                <a:avLst/>
                <a:gdLst>
                  <a:gd name="T0" fmla="*/ 0 w 369"/>
                  <a:gd name="T1" fmla="*/ 311 h 311"/>
                  <a:gd name="T2" fmla="*/ 369 w 369"/>
                  <a:gd name="T3" fmla="*/ 0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69" h="311">
                    <a:moveTo>
                      <a:pt x="0" y="311"/>
                    </a:moveTo>
                    <a:cubicBezTo>
                      <a:pt x="0" y="311"/>
                      <a:pt x="62" y="16"/>
                      <a:pt x="369" y="0"/>
                    </a:cubicBezTo>
                  </a:path>
                </a:pathLst>
              </a:cu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2" name="Line 130">
                <a:extLst>
                  <a:ext uri="{FF2B5EF4-FFF2-40B4-BE49-F238E27FC236}">
                    <a16:creationId xmlns:a16="http://schemas.microsoft.com/office/drawing/2014/main" id="{B5C6A22D-2300-4BE1-8C2D-EE15D615BD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81912" y="12615233"/>
                <a:ext cx="134938" cy="3175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3" name="Line 131">
                <a:extLst>
                  <a:ext uri="{FF2B5EF4-FFF2-40B4-BE49-F238E27FC236}">
                    <a16:creationId xmlns:a16="http://schemas.microsoft.com/office/drawing/2014/main" id="{BEBAB6CC-91ED-40E7-8E38-1802BDB21C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91437" y="12480295"/>
                <a:ext cx="222250" cy="285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4" name="Line 132">
                <a:extLst>
                  <a:ext uri="{FF2B5EF4-FFF2-40B4-BE49-F238E27FC236}">
                    <a16:creationId xmlns:a16="http://schemas.microsoft.com/office/drawing/2014/main" id="{60561950-BA19-4D6C-970D-C50C0FDE3A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-7664449" y="12358058"/>
                <a:ext cx="290513" cy="158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5" name="Line 133">
                <a:extLst>
                  <a:ext uri="{FF2B5EF4-FFF2-40B4-BE49-F238E27FC236}">
                    <a16:creationId xmlns:a16="http://schemas.microsoft.com/office/drawing/2014/main" id="{F6F84221-4D88-40B3-B571-A2474445DF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585074" y="12227883"/>
                <a:ext cx="319088" cy="333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6" name="Line 134">
                <a:extLst>
                  <a:ext uri="{FF2B5EF4-FFF2-40B4-BE49-F238E27FC236}">
                    <a16:creationId xmlns:a16="http://schemas.microsoft.com/office/drawing/2014/main" id="{C7741803-D811-4F3C-B9A1-498D653B42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473949" y="12121520"/>
                <a:ext cx="309563" cy="73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7" name="Line 135">
                <a:extLst>
                  <a:ext uri="{FF2B5EF4-FFF2-40B4-BE49-F238E27FC236}">
                    <a16:creationId xmlns:a16="http://schemas.microsoft.com/office/drawing/2014/main" id="{B52428A0-DDE7-4E29-AFA8-733C8B8872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313612" y="12029445"/>
                <a:ext cx="296863" cy="9683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8" name="Line 136">
                <a:extLst>
                  <a:ext uri="{FF2B5EF4-FFF2-40B4-BE49-F238E27FC236}">
                    <a16:creationId xmlns:a16="http://schemas.microsoft.com/office/drawing/2014/main" id="{59940D78-B3F5-4BDB-838F-E804CFF734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129462" y="11983408"/>
                <a:ext cx="260350" cy="1031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59" name="Line 137">
                <a:extLst>
                  <a:ext uri="{FF2B5EF4-FFF2-40B4-BE49-F238E27FC236}">
                    <a16:creationId xmlns:a16="http://schemas.microsoft.com/office/drawing/2014/main" id="{77AAD96D-5430-46C1-8ABC-328BE0F8B6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-7551737" y="12618408"/>
                <a:ext cx="65088" cy="166687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0" name="Line 138">
                <a:extLst>
                  <a:ext uri="{FF2B5EF4-FFF2-40B4-BE49-F238E27FC236}">
                    <a16:creationId xmlns:a16="http://schemas.microsoft.com/office/drawing/2014/main" id="{38BC22EF-DB7B-465F-BCB1-E3D4EA9533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469187" y="12480295"/>
                <a:ext cx="82550" cy="2667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1" name="Line 139">
                <a:extLst>
                  <a:ext uri="{FF2B5EF4-FFF2-40B4-BE49-F238E27FC236}">
                    <a16:creationId xmlns:a16="http://schemas.microsoft.com/office/drawing/2014/main" id="{FF77A705-635C-40AA-85CC-1E63E481F0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373937" y="12358058"/>
                <a:ext cx="125413" cy="3175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2" name="Line 140">
                <a:extLst>
                  <a:ext uri="{FF2B5EF4-FFF2-40B4-BE49-F238E27FC236}">
                    <a16:creationId xmlns:a16="http://schemas.microsoft.com/office/drawing/2014/main" id="{CEDE5FEE-DDF6-4216-BF77-2AB0309CA0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265987" y="12261220"/>
                <a:ext cx="147638" cy="32702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3" name="Line 141">
                <a:extLst>
                  <a:ext uri="{FF2B5EF4-FFF2-40B4-BE49-F238E27FC236}">
                    <a16:creationId xmlns:a16="http://schemas.microsoft.com/office/drawing/2014/main" id="{329E69A5-21B6-41E2-B831-03C00D420C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164387" y="12194545"/>
                <a:ext cx="152400" cy="304800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4" name="Line 142">
                <a:extLst>
                  <a:ext uri="{FF2B5EF4-FFF2-40B4-BE49-F238E27FC236}">
                    <a16:creationId xmlns:a16="http://schemas.microsoft.com/office/drawing/2014/main" id="{87DD9082-5EE5-45C8-95DB-B80E5C07C4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7016749" y="12126283"/>
                <a:ext cx="117475" cy="258762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65" name="Line 143">
                <a:extLst>
                  <a:ext uri="{FF2B5EF4-FFF2-40B4-BE49-F238E27FC236}">
                    <a16:creationId xmlns:a16="http://schemas.microsoft.com/office/drawing/2014/main" id="{B78D4107-4A11-4AD6-8E67-DB45E90ECA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-6869112" y="12086595"/>
                <a:ext cx="58738" cy="168275"/>
              </a:xfrm>
              <a:prstGeom prst="line">
                <a:avLst/>
              </a:prstGeom>
              <a:noFill/>
              <a:ln w="14288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448" name="Group 447">
              <a:extLst>
                <a:ext uri="{FF2B5EF4-FFF2-40B4-BE49-F238E27FC236}">
                  <a16:creationId xmlns:a16="http://schemas.microsoft.com/office/drawing/2014/main" id="{E01DD18A-ED51-4099-B2E8-0E7319ECB4CF}"/>
                </a:ext>
              </a:extLst>
            </p:cNvPr>
            <p:cNvGrpSpPr/>
            <p:nvPr/>
          </p:nvGrpSpPr>
          <p:grpSpPr>
            <a:xfrm flipH="1">
              <a:off x="3543743" y="3359682"/>
              <a:ext cx="2248473" cy="1458362"/>
              <a:chOff x="7827963" y="-5399088"/>
              <a:chExt cx="4598988" cy="2982913"/>
            </a:xfrm>
          </p:grpSpPr>
          <p:sp>
            <p:nvSpPr>
              <p:cNvPr id="449" name="Freeform 18">
                <a:extLst>
                  <a:ext uri="{FF2B5EF4-FFF2-40B4-BE49-F238E27FC236}">
                    <a16:creationId xmlns:a16="http://schemas.microsoft.com/office/drawing/2014/main" id="{37F1F09D-61A1-4C4B-ADEA-656D0A5A3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7963" y="-4533900"/>
                <a:ext cx="4598988" cy="1735137"/>
              </a:xfrm>
              <a:custGeom>
                <a:avLst/>
                <a:gdLst>
                  <a:gd name="T0" fmla="*/ 1845 w 1899"/>
                  <a:gd name="T1" fmla="*/ 716 h 716"/>
                  <a:gd name="T2" fmla="*/ 1717 w 1899"/>
                  <a:gd name="T3" fmla="*/ 619 h 716"/>
                  <a:gd name="T4" fmla="*/ 1343 w 1899"/>
                  <a:gd name="T5" fmla="*/ 625 h 716"/>
                  <a:gd name="T6" fmla="*/ 1631 w 1899"/>
                  <a:gd name="T7" fmla="*/ 320 h 716"/>
                  <a:gd name="T8" fmla="*/ 1272 w 1899"/>
                  <a:gd name="T9" fmla="*/ 406 h 716"/>
                  <a:gd name="T10" fmla="*/ 1431 w 1899"/>
                  <a:gd name="T11" fmla="*/ 154 h 716"/>
                  <a:gd name="T12" fmla="*/ 955 w 1899"/>
                  <a:gd name="T13" fmla="*/ 367 h 716"/>
                  <a:gd name="T14" fmla="*/ 1090 w 1899"/>
                  <a:gd name="T15" fmla="*/ 102 h 716"/>
                  <a:gd name="T16" fmla="*/ 859 w 1899"/>
                  <a:gd name="T17" fmla="*/ 185 h 716"/>
                  <a:gd name="T18" fmla="*/ 765 w 1899"/>
                  <a:gd name="T19" fmla="*/ 72 h 716"/>
                  <a:gd name="T20" fmla="*/ 599 w 1899"/>
                  <a:gd name="T21" fmla="*/ 264 h 716"/>
                  <a:gd name="T22" fmla="*/ 202 w 1899"/>
                  <a:gd name="T23" fmla="*/ 43 h 716"/>
                  <a:gd name="T24" fmla="*/ 233 w 1899"/>
                  <a:gd name="T25" fmla="*/ 665 h 716"/>
                  <a:gd name="T26" fmla="*/ 1845 w 1899"/>
                  <a:gd name="T27" fmla="*/ 716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99" h="716">
                    <a:moveTo>
                      <a:pt x="1845" y="716"/>
                    </a:moveTo>
                    <a:cubicBezTo>
                      <a:pt x="1873" y="676"/>
                      <a:pt x="1841" y="641"/>
                      <a:pt x="1717" y="619"/>
                    </a:cubicBezTo>
                    <a:cubicBezTo>
                      <a:pt x="1581" y="594"/>
                      <a:pt x="1451" y="604"/>
                      <a:pt x="1343" y="625"/>
                    </a:cubicBezTo>
                    <a:cubicBezTo>
                      <a:pt x="1599" y="511"/>
                      <a:pt x="1899" y="348"/>
                      <a:pt x="1631" y="320"/>
                    </a:cubicBezTo>
                    <a:cubicBezTo>
                      <a:pt x="1548" y="311"/>
                      <a:pt x="1417" y="348"/>
                      <a:pt x="1272" y="406"/>
                    </a:cubicBezTo>
                    <a:cubicBezTo>
                      <a:pt x="1436" y="281"/>
                      <a:pt x="1527" y="177"/>
                      <a:pt x="1431" y="154"/>
                    </a:cubicBezTo>
                    <a:cubicBezTo>
                      <a:pt x="1342" y="133"/>
                      <a:pt x="1155" y="233"/>
                      <a:pt x="955" y="367"/>
                    </a:cubicBezTo>
                    <a:cubicBezTo>
                      <a:pt x="1070" y="253"/>
                      <a:pt x="1138" y="152"/>
                      <a:pt x="1090" y="102"/>
                    </a:cubicBezTo>
                    <a:cubicBezTo>
                      <a:pt x="1050" y="62"/>
                      <a:pt x="962" y="104"/>
                      <a:pt x="859" y="185"/>
                    </a:cubicBezTo>
                    <a:cubicBezTo>
                      <a:pt x="866" y="111"/>
                      <a:pt x="836" y="66"/>
                      <a:pt x="765" y="72"/>
                    </a:cubicBezTo>
                    <a:cubicBezTo>
                      <a:pt x="698" y="79"/>
                      <a:pt x="641" y="163"/>
                      <a:pt x="599" y="264"/>
                    </a:cubicBezTo>
                    <a:cubicBezTo>
                      <a:pt x="540" y="103"/>
                      <a:pt x="374" y="0"/>
                      <a:pt x="202" y="43"/>
                    </a:cubicBezTo>
                    <a:cubicBezTo>
                      <a:pt x="0" y="93"/>
                      <a:pt x="149" y="480"/>
                      <a:pt x="233" y="665"/>
                    </a:cubicBezTo>
                    <a:lnTo>
                      <a:pt x="1845" y="716"/>
                    </a:lnTo>
                    <a:close/>
                  </a:path>
                </a:pathLst>
              </a:custGeom>
              <a:solidFill>
                <a:srgbClr val="2805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0" name="Freeform 27">
                <a:extLst>
                  <a:ext uri="{FF2B5EF4-FFF2-40B4-BE49-F238E27FC236}">
                    <a16:creationId xmlns:a16="http://schemas.microsoft.com/office/drawing/2014/main" id="{38954E17-5B74-4362-B9A5-2FB3F44DF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3163" y="-5399088"/>
                <a:ext cx="1376363" cy="2038350"/>
              </a:xfrm>
              <a:custGeom>
                <a:avLst/>
                <a:gdLst>
                  <a:gd name="T0" fmla="*/ 62 w 568"/>
                  <a:gd name="T1" fmla="*/ 342 h 841"/>
                  <a:gd name="T2" fmla="*/ 135 w 568"/>
                  <a:gd name="T3" fmla="*/ 841 h 841"/>
                  <a:gd name="T4" fmla="*/ 506 w 568"/>
                  <a:gd name="T5" fmla="*/ 499 h 841"/>
                  <a:gd name="T6" fmla="*/ 433 w 568"/>
                  <a:gd name="T7" fmla="*/ 0 h 841"/>
                  <a:gd name="T8" fmla="*/ 62 w 568"/>
                  <a:gd name="T9" fmla="*/ 342 h 8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8" h="841">
                    <a:moveTo>
                      <a:pt x="62" y="342"/>
                    </a:moveTo>
                    <a:cubicBezTo>
                      <a:pt x="0" y="516"/>
                      <a:pt x="34" y="701"/>
                      <a:pt x="135" y="841"/>
                    </a:cubicBezTo>
                    <a:cubicBezTo>
                      <a:pt x="303" y="796"/>
                      <a:pt x="445" y="673"/>
                      <a:pt x="506" y="499"/>
                    </a:cubicBezTo>
                    <a:cubicBezTo>
                      <a:pt x="568" y="325"/>
                      <a:pt x="534" y="140"/>
                      <a:pt x="433" y="0"/>
                    </a:cubicBezTo>
                    <a:cubicBezTo>
                      <a:pt x="266" y="45"/>
                      <a:pt x="123" y="168"/>
                      <a:pt x="62" y="342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1" name="Line 28">
                <a:extLst>
                  <a:ext uri="{FF2B5EF4-FFF2-40B4-BE49-F238E27FC236}">
                    <a16:creationId xmlns:a16="http://schemas.microsoft.com/office/drawing/2014/main" id="{B7777A92-1B62-4BDB-9534-F4A9AC4AF9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142413" y="-5240338"/>
                <a:ext cx="636588" cy="18002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2" name="Line 29">
                <a:extLst>
                  <a:ext uri="{FF2B5EF4-FFF2-40B4-BE49-F238E27FC236}">
                    <a16:creationId xmlns:a16="http://schemas.microsoft.com/office/drawing/2014/main" id="{BE87DA0E-71EA-4F9B-A20D-520D5DC643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648826" y="-4986338"/>
                <a:ext cx="303213" cy="1190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3" name="Line 30">
                <a:extLst>
                  <a:ext uri="{FF2B5EF4-FFF2-40B4-BE49-F238E27FC236}">
                    <a16:creationId xmlns:a16="http://schemas.microsoft.com/office/drawing/2014/main" id="{5777215A-3654-4180-B8EC-E78B399724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542463" y="-4708525"/>
                <a:ext cx="369888" cy="1492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4" name="Line 31">
                <a:extLst>
                  <a:ext uri="{FF2B5EF4-FFF2-40B4-BE49-F238E27FC236}">
                    <a16:creationId xmlns:a16="http://schemas.microsoft.com/office/drawing/2014/main" id="{FBB34D73-2BD7-4A14-8272-40C468763C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32926" y="-4497388"/>
                <a:ext cx="620713" cy="242887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5" name="Line 32">
                <a:extLst>
                  <a:ext uri="{FF2B5EF4-FFF2-40B4-BE49-F238E27FC236}">
                    <a16:creationId xmlns:a16="http://schemas.microsoft.com/office/drawing/2014/main" id="{4EE27BAC-CE01-46BA-9520-931E107483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323388" y="-4184650"/>
                <a:ext cx="606425" cy="238125"/>
              </a:xfrm>
              <a:prstGeom prst="line">
                <a:avLst/>
              </a:pr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6" name="Line 33">
                <a:extLst>
                  <a:ext uri="{FF2B5EF4-FFF2-40B4-BE49-F238E27FC236}">
                    <a16:creationId xmlns:a16="http://schemas.microsoft.com/office/drawing/2014/main" id="{10C3709B-2B77-42BF-91C4-076889D874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15438" y="-3771900"/>
                <a:ext cx="336550" cy="133350"/>
              </a:xfrm>
              <a:prstGeom prst="line">
                <a:avLst/>
              </a:prstGeom>
              <a:noFill/>
              <a:ln w="222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7" name="Line 34">
                <a:extLst>
                  <a:ext uri="{FF2B5EF4-FFF2-40B4-BE49-F238E27FC236}">
                    <a16:creationId xmlns:a16="http://schemas.microsoft.com/office/drawing/2014/main" id="{D8ABC1E1-8BD0-406B-B8E6-7CD5D9EE23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496426" y="-5187950"/>
                <a:ext cx="161925" cy="280987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8" name="Line 35">
                <a:extLst>
                  <a:ext uri="{FF2B5EF4-FFF2-40B4-BE49-F238E27FC236}">
                    <a16:creationId xmlns:a16="http://schemas.microsoft.com/office/drawing/2014/main" id="{D32D5405-9815-4AAA-8031-51B981533D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299576" y="-5040313"/>
                <a:ext cx="249238" cy="4413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59" name="Line 36">
                <a:extLst>
                  <a:ext uri="{FF2B5EF4-FFF2-40B4-BE49-F238E27FC236}">
                    <a16:creationId xmlns:a16="http://schemas.microsoft.com/office/drawing/2014/main" id="{07366D5F-1F09-451E-8F56-3E1CC3A66E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128126" y="-4843463"/>
                <a:ext cx="312738" cy="54927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0" name="Line 37">
                <a:extLst>
                  <a:ext uri="{FF2B5EF4-FFF2-40B4-BE49-F238E27FC236}">
                    <a16:creationId xmlns:a16="http://schemas.microsoft.com/office/drawing/2014/main" id="{E0978656-89F1-4BD4-9F3E-C5E60F6943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9012238" y="-4549775"/>
                <a:ext cx="319088" cy="5635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1" name="Line 38">
                <a:extLst>
                  <a:ext uri="{FF2B5EF4-FFF2-40B4-BE49-F238E27FC236}">
                    <a16:creationId xmlns:a16="http://schemas.microsoft.com/office/drawing/2014/main" id="{6DBFDE9D-5508-477F-B3AC-23D9924473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8948738" y="-4165600"/>
                <a:ext cx="273050" cy="4873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2" name="Freeform 40">
                <a:extLst>
                  <a:ext uri="{FF2B5EF4-FFF2-40B4-BE49-F238E27FC236}">
                    <a16:creationId xmlns:a16="http://schemas.microsoft.com/office/drawing/2014/main" id="{50CACAE0-2ACE-44C6-AA36-061A1043E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4638" y="-3997325"/>
                <a:ext cx="1912938" cy="1268412"/>
              </a:xfrm>
              <a:custGeom>
                <a:avLst/>
                <a:gdLst>
                  <a:gd name="T0" fmla="*/ 327 w 790"/>
                  <a:gd name="T1" fmla="*/ 53 h 524"/>
                  <a:gd name="T2" fmla="*/ 0 w 790"/>
                  <a:gd name="T3" fmla="*/ 391 h 524"/>
                  <a:gd name="T4" fmla="*/ 463 w 790"/>
                  <a:gd name="T5" fmla="*/ 471 h 524"/>
                  <a:gd name="T6" fmla="*/ 790 w 790"/>
                  <a:gd name="T7" fmla="*/ 134 h 524"/>
                  <a:gd name="T8" fmla="*/ 327 w 790"/>
                  <a:gd name="T9" fmla="*/ 53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0" h="524">
                    <a:moveTo>
                      <a:pt x="327" y="53"/>
                    </a:moveTo>
                    <a:cubicBezTo>
                      <a:pt x="164" y="107"/>
                      <a:pt x="46" y="236"/>
                      <a:pt x="0" y="391"/>
                    </a:cubicBezTo>
                    <a:cubicBezTo>
                      <a:pt x="128" y="489"/>
                      <a:pt x="300" y="524"/>
                      <a:pt x="463" y="471"/>
                    </a:cubicBezTo>
                    <a:cubicBezTo>
                      <a:pt x="627" y="418"/>
                      <a:pt x="744" y="288"/>
                      <a:pt x="790" y="134"/>
                    </a:cubicBezTo>
                    <a:cubicBezTo>
                      <a:pt x="662" y="36"/>
                      <a:pt x="491" y="0"/>
                      <a:pt x="327" y="53"/>
                    </a:cubicBezTo>
                    <a:close/>
                  </a:path>
                </a:pathLst>
              </a:custGeom>
              <a:solidFill>
                <a:srgbClr val="B25D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3" name="Line 41">
                <a:extLst>
                  <a:ext uri="{FF2B5EF4-FFF2-40B4-BE49-F238E27FC236}">
                    <a16:creationId xmlns:a16="http://schemas.microsoft.com/office/drawing/2014/main" id="{0BCDCC50-7127-42DD-9B8F-4BB4DD3F9E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234488" y="-3632200"/>
                <a:ext cx="1690688" cy="550862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4" name="Line 42">
                <a:extLst>
                  <a:ext uri="{FF2B5EF4-FFF2-40B4-BE49-F238E27FC236}">
                    <a16:creationId xmlns:a16="http://schemas.microsoft.com/office/drawing/2014/main" id="{1A50F47E-E9B9-4D4C-9484-DEFD7CF031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575926" y="-3516313"/>
                <a:ext cx="258763" cy="15557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5" name="Line 43">
                <a:extLst>
                  <a:ext uri="{FF2B5EF4-FFF2-40B4-BE49-F238E27FC236}">
                    <a16:creationId xmlns:a16="http://schemas.microsoft.com/office/drawing/2014/main" id="{E59F4EFF-4BD7-4E06-8808-3374525350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288588" y="-3421063"/>
                <a:ext cx="319088" cy="190500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6" name="Line 44">
                <a:extLst>
                  <a:ext uri="{FF2B5EF4-FFF2-40B4-BE49-F238E27FC236}">
                    <a16:creationId xmlns:a16="http://schemas.microsoft.com/office/drawing/2014/main" id="{B64220E8-FB55-4E94-97F6-8D02FAB597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99663" y="-3328988"/>
                <a:ext cx="533400" cy="322262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7" name="Line 45">
                <a:extLst>
                  <a:ext uri="{FF2B5EF4-FFF2-40B4-BE49-F238E27FC236}">
                    <a16:creationId xmlns:a16="http://schemas.microsoft.com/office/drawing/2014/main" id="{31F11620-04AD-484F-B3B8-8609E77DC6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712326" y="-3235325"/>
                <a:ext cx="517525" cy="312737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8" name="Line 46">
                <a:extLst>
                  <a:ext uri="{FF2B5EF4-FFF2-40B4-BE49-F238E27FC236}">
                    <a16:creationId xmlns:a16="http://schemas.microsoft.com/office/drawing/2014/main" id="{969750B5-F770-4AA8-AC4C-06484DF987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26576" y="-3140075"/>
                <a:ext cx="287338" cy="174625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69" name="Line 47">
                <a:extLst>
                  <a:ext uri="{FF2B5EF4-FFF2-40B4-BE49-F238E27FC236}">
                    <a16:creationId xmlns:a16="http://schemas.microsoft.com/office/drawing/2014/main" id="{2BD5D9CC-21EE-42B7-82F1-5C375D357D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610851" y="-3808413"/>
                <a:ext cx="115888" cy="27622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0" name="Line 48">
                <a:extLst>
                  <a:ext uri="{FF2B5EF4-FFF2-40B4-BE49-F238E27FC236}">
                    <a16:creationId xmlns:a16="http://schemas.microsoft.com/office/drawing/2014/main" id="{3D78FBC8-2A02-4DBF-A9F9-B59091AD49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321926" y="-3871913"/>
                <a:ext cx="180975" cy="433387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1" name="Line 49">
                <a:extLst>
                  <a:ext uri="{FF2B5EF4-FFF2-40B4-BE49-F238E27FC236}">
                    <a16:creationId xmlns:a16="http://schemas.microsoft.com/office/drawing/2014/main" id="{9ADB3385-DAFA-4996-945B-D0200C74A5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0033001" y="-3886200"/>
                <a:ext cx="228600" cy="542925"/>
              </a:xfrm>
              <a:prstGeom prst="line">
                <a:avLst/>
              </a:prstGeom>
              <a:noFill/>
              <a:ln w="19050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2" name="Line 50">
                <a:extLst>
                  <a:ext uri="{FF2B5EF4-FFF2-40B4-BE49-F238E27FC236}">
                    <a16:creationId xmlns:a16="http://schemas.microsoft.com/office/drawing/2014/main" id="{C106E96E-D986-4D03-8EE6-9A0C301BE9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745663" y="-3808413"/>
                <a:ext cx="234950" cy="557212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3" name="Line 51">
                <a:extLst>
                  <a:ext uri="{FF2B5EF4-FFF2-40B4-BE49-F238E27FC236}">
                    <a16:creationId xmlns:a16="http://schemas.microsoft.com/office/drawing/2014/main" id="{B9F62B66-8AA5-4FFA-A367-752BBA9E53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56738" y="-3633788"/>
                <a:ext cx="201613" cy="476250"/>
              </a:xfrm>
              <a:prstGeom prst="line">
                <a:avLst/>
              </a:prstGeom>
              <a:noFill/>
              <a:ln w="190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4" name="Freeform 52">
                <a:extLst>
                  <a:ext uri="{FF2B5EF4-FFF2-40B4-BE49-F238E27FC236}">
                    <a16:creationId xmlns:a16="http://schemas.microsoft.com/office/drawing/2014/main" id="{2E8EC3ED-FE8A-4F02-A95D-DAA8D0177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5376" y="-5008563"/>
                <a:ext cx="174625" cy="211137"/>
              </a:xfrm>
              <a:custGeom>
                <a:avLst/>
                <a:gdLst>
                  <a:gd name="T0" fmla="*/ 3 w 72"/>
                  <a:gd name="T1" fmla="*/ 87 h 87"/>
                  <a:gd name="T2" fmla="*/ 60 w 72"/>
                  <a:gd name="T3" fmla="*/ 51 h 87"/>
                  <a:gd name="T4" fmla="*/ 61 w 72"/>
                  <a:gd name="T5" fmla="*/ 8 h 87"/>
                  <a:gd name="T6" fmla="*/ 21 w 72"/>
                  <a:gd name="T7" fmla="*/ 22 h 87"/>
                  <a:gd name="T8" fmla="*/ 3 w 72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87">
                    <a:moveTo>
                      <a:pt x="3" y="87"/>
                    </a:moveTo>
                    <a:cubicBezTo>
                      <a:pt x="3" y="87"/>
                      <a:pt x="39" y="79"/>
                      <a:pt x="60" y="51"/>
                    </a:cubicBezTo>
                    <a:cubicBezTo>
                      <a:pt x="68" y="40"/>
                      <a:pt x="72" y="16"/>
                      <a:pt x="61" y="8"/>
                    </a:cubicBezTo>
                    <a:cubicBezTo>
                      <a:pt x="51" y="0"/>
                      <a:pt x="33" y="7"/>
                      <a:pt x="21" y="22"/>
                    </a:cubicBezTo>
                    <a:cubicBezTo>
                      <a:pt x="0" y="50"/>
                      <a:pt x="3" y="87"/>
                      <a:pt x="3" y="87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5" name="Freeform 53">
                <a:extLst>
                  <a:ext uri="{FF2B5EF4-FFF2-40B4-BE49-F238E27FC236}">
                    <a16:creationId xmlns:a16="http://schemas.microsoft.com/office/drawing/2014/main" id="{467021C5-A00E-4452-B2C7-D91B050DB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3926" y="-4897438"/>
                <a:ext cx="122238" cy="209550"/>
              </a:xfrm>
              <a:custGeom>
                <a:avLst/>
                <a:gdLst>
                  <a:gd name="T0" fmla="*/ 35 w 51"/>
                  <a:gd name="T1" fmla="*/ 86 h 86"/>
                  <a:gd name="T2" fmla="*/ 45 w 51"/>
                  <a:gd name="T3" fmla="*/ 28 h 86"/>
                  <a:gd name="T4" fmla="*/ 18 w 51"/>
                  <a:gd name="T5" fmla="*/ 3 h 86"/>
                  <a:gd name="T6" fmla="*/ 3 w 51"/>
                  <a:gd name="T7" fmla="*/ 36 h 86"/>
                  <a:gd name="T8" fmla="*/ 35 w 51"/>
                  <a:gd name="T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86">
                    <a:moveTo>
                      <a:pt x="35" y="86"/>
                    </a:moveTo>
                    <a:cubicBezTo>
                      <a:pt x="35" y="86"/>
                      <a:pt x="51" y="58"/>
                      <a:pt x="45" y="28"/>
                    </a:cubicBezTo>
                    <a:cubicBezTo>
                      <a:pt x="43" y="17"/>
                      <a:pt x="30" y="0"/>
                      <a:pt x="18" y="3"/>
                    </a:cubicBezTo>
                    <a:cubicBezTo>
                      <a:pt x="7" y="5"/>
                      <a:pt x="0" y="21"/>
                      <a:pt x="3" y="36"/>
                    </a:cubicBezTo>
                    <a:cubicBezTo>
                      <a:pt x="9" y="66"/>
                      <a:pt x="35" y="86"/>
                      <a:pt x="35" y="8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6" name="Freeform 54">
                <a:extLst>
                  <a:ext uri="{FF2B5EF4-FFF2-40B4-BE49-F238E27FC236}">
                    <a16:creationId xmlns:a16="http://schemas.microsoft.com/office/drawing/2014/main" id="{103C8102-1329-41B5-99EA-BD2BEEFF7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72638" y="-4727575"/>
                <a:ext cx="150813" cy="184150"/>
              </a:xfrm>
              <a:custGeom>
                <a:avLst/>
                <a:gdLst>
                  <a:gd name="T0" fmla="*/ 59 w 62"/>
                  <a:gd name="T1" fmla="*/ 76 h 76"/>
                  <a:gd name="T2" fmla="*/ 45 w 62"/>
                  <a:gd name="T3" fmla="*/ 18 h 76"/>
                  <a:gd name="T4" fmla="*/ 10 w 62"/>
                  <a:gd name="T5" fmla="*/ 6 h 76"/>
                  <a:gd name="T6" fmla="*/ 10 w 62"/>
                  <a:gd name="T7" fmla="*/ 43 h 76"/>
                  <a:gd name="T8" fmla="*/ 59 w 62"/>
                  <a:gd name="T9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76">
                    <a:moveTo>
                      <a:pt x="59" y="76"/>
                    </a:moveTo>
                    <a:cubicBezTo>
                      <a:pt x="59" y="76"/>
                      <a:pt x="62" y="43"/>
                      <a:pt x="45" y="18"/>
                    </a:cubicBezTo>
                    <a:cubicBezTo>
                      <a:pt x="38" y="9"/>
                      <a:pt x="19" y="0"/>
                      <a:pt x="10" y="6"/>
                    </a:cubicBezTo>
                    <a:cubicBezTo>
                      <a:pt x="0" y="13"/>
                      <a:pt x="1" y="30"/>
                      <a:pt x="10" y="43"/>
                    </a:cubicBezTo>
                    <a:cubicBezTo>
                      <a:pt x="28" y="68"/>
                      <a:pt x="59" y="76"/>
                      <a:pt x="59" y="7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7" name="Freeform 55">
                <a:extLst>
                  <a:ext uri="{FF2B5EF4-FFF2-40B4-BE49-F238E27FC236}">
                    <a16:creationId xmlns:a16="http://schemas.microsoft.com/office/drawing/2014/main" id="{1E8618A9-058B-4CCE-9CB0-382DD86C13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8063" y="-4724400"/>
                <a:ext cx="206375" cy="84137"/>
              </a:xfrm>
              <a:custGeom>
                <a:avLst/>
                <a:gdLst>
                  <a:gd name="T0" fmla="*/ 0 w 85"/>
                  <a:gd name="T1" fmla="*/ 17 h 35"/>
                  <a:gd name="T2" fmla="*/ 55 w 85"/>
                  <a:gd name="T3" fmla="*/ 35 h 35"/>
                  <a:gd name="T4" fmla="*/ 85 w 85"/>
                  <a:gd name="T5" fmla="*/ 18 h 35"/>
                  <a:gd name="T6" fmla="*/ 55 w 85"/>
                  <a:gd name="T7" fmla="*/ 0 h 35"/>
                  <a:gd name="T8" fmla="*/ 0 w 85"/>
                  <a:gd name="T9" fmla="*/ 17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35">
                    <a:moveTo>
                      <a:pt x="0" y="17"/>
                    </a:moveTo>
                    <a:cubicBezTo>
                      <a:pt x="0" y="17"/>
                      <a:pt x="24" y="35"/>
                      <a:pt x="55" y="35"/>
                    </a:cubicBezTo>
                    <a:cubicBezTo>
                      <a:pt x="66" y="35"/>
                      <a:pt x="85" y="28"/>
                      <a:pt x="85" y="18"/>
                    </a:cubicBezTo>
                    <a:cubicBezTo>
                      <a:pt x="85" y="8"/>
                      <a:pt x="71" y="0"/>
                      <a:pt x="55" y="0"/>
                    </a:cubicBezTo>
                    <a:cubicBezTo>
                      <a:pt x="25" y="0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8" name="Freeform 56">
                <a:extLst>
                  <a:ext uri="{FF2B5EF4-FFF2-40B4-BE49-F238E27FC236}">
                    <a16:creationId xmlns:a16="http://schemas.microsoft.com/office/drawing/2014/main" id="{4C403C5A-C90A-4173-963E-19F002CA0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09163" y="-4594225"/>
                <a:ext cx="204788" cy="92075"/>
              </a:xfrm>
              <a:custGeom>
                <a:avLst/>
                <a:gdLst>
                  <a:gd name="T0" fmla="*/ 0 w 85"/>
                  <a:gd name="T1" fmla="*/ 18 h 38"/>
                  <a:gd name="T2" fmla="*/ 54 w 85"/>
                  <a:gd name="T3" fmla="*/ 38 h 38"/>
                  <a:gd name="T4" fmla="*/ 85 w 85"/>
                  <a:gd name="T5" fmla="*/ 20 h 38"/>
                  <a:gd name="T6" fmla="*/ 55 w 85"/>
                  <a:gd name="T7" fmla="*/ 1 h 38"/>
                  <a:gd name="T8" fmla="*/ 0 w 85"/>
                  <a:gd name="T9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38">
                    <a:moveTo>
                      <a:pt x="0" y="18"/>
                    </a:moveTo>
                    <a:cubicBezTo>
                      <a:pt x="0" y="18"/>
                      <a:pt x="24" y="37"/>
                      <a:pt x="54" y="38"/>
                    </a:cubicBezTo>
                    <a:cubicBezTo>
                      <a:pt x="65" y="38"/>
                      <a:pt x="84" y="30"/>
                      <a:pt x="85" y="20"/>
                    </a:cubicBezTo>
                    <a:cubicBezTo>
                      <a:pt x="85" y="9"/>
                      <a:pt x="71" y="1"/>
                      <a:pt x="55" y="1"/>
                    </a:cubicBezTo>
                    <a:cubicBezTo>
                      <a:pt x="24" y="0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79" name="Freeform 57">
                <a:extLst>
                  <a:ext uri="{FF2B5EF4-FFF2-40B4-BE49-F238E27FC236}">
                    <a16:creationId xmlns:a16="http://schemas.microsoft.com/office/drawing/2014/main" id="{251DF43C-E7C8-4A9B-8343-0399BFF20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18676" y="-4387850"/>
                <a:ext cx="157163" cy="88900"/>
              </a:xfrm>
              <a:custGeom>
                <a:avLst/>
                <a:gdLst>
                  <a:gd name="T0" fmla="*/ 0 w 65"/>
                  <a:gd name="T1" fmla="*/ 18 h 37"/>
                  <a:gd name="T2" fmla="*/ 42 w 65"/>
                  <a:gd name="T3" fmla="*/ 37 h 37"/>
                  <a:gd name="T4" fmla="*/ 65 w 65"/>
                  <a:gd name="T5" fmla="*/ 19 h 37"/>
                  <a:gd name="T6" fmla="*/ 42 w 65"/>
                  <a:gd name="T7" fmla="*/ 0 h 37"/>
                  <a:gd name="T8" fmla="*/ 0 w 65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37">
                    <a:moveTo>
                      <a:pt x="0" y="18"/>
                    </a:moveTo>
                    <a:cubicBezTo>
                      <a:pt x="0" y="18"/>
                      <a:pt x="18" y="37"/>
                      <a:pt x="42" y="37"/>
                    </a:cubicBezTo>
                    <a:cubicBezTo>
                      <a:pt x="50" y="37"/>
                      <a:pt x="65" y="29"/>
                      <a:pt x="65" y="19"/>
                    </a:cubicBezTo>
                    <a:cubicBezTo>
                      <a:pt x="65" y="9"/>
                      <a:pt x="54" y="0"/>
                      <a:pt x="42" y="0"/>
                    </a:cubicBezTo>
                    <a:cubicBezTo>
                      <a:pt x="19" y="0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0" name="Freeform 58">
                <a:extLst>
                  <a:ext uri="{FF2B5EF4-FFF2-40B4-BE49-F238E27FC236}">
                    <a16:creationId xmlns:a16="http://schemas.microsoft.com/office/drawing/2014/main" id="{CAE1A7DA-1A20-41A3-A08C-393FAA591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15488" y="-4506913"/>
                <a:ext cx="106363" cy="157162"/>
              </a:xfrm>
              <a:custGeom>
                <a:avLst/>
                <a:gdLst>
                  <a:gd name="T0" fmla="*/ 40 w 44"/>
                  <a:gd name="T1" fmla="*/ 65 h 65"/>
                  <a:gd name="T2" fmla="*/ 33 w 44"/>
                  <a:gd name="T3" fmla="*/ 18 h 65"/>
                  <a:gd name="T4" fmla="*/ 8 w 44"/>
                  <a:gd name="T5" fmla="*/ 4 h 65"/>
                  <a:gd name="T6" fmla="*/ 6 w 44"/>
                  <a:gd name="T7" fmla="*/ 32 h 65"/>
                  <a:gd name="T8" fmla="*/ 40 w 44"/>
                  <a:gd name="T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65">
                    <a:moveTo>
                      <a:pt x="40" y="65"/>
                    </a:moveTo>
                    <a:cubicBezTo>
                      <a:pt x="40" y="65"/>
                      <a:pt x="44" y="40"/>
                      <a:pt x="33" y="18"/>
                    </a:cubicBezTo>
                    <a:cubicBezTo>
                      <a:pt x="29" y="11"/>
                      <a:pt x="16" y="0"/>
                      <a:pt x="8" y="4"/>
                    </a:cubicBezTo>
                    <a:cubicBezTo>
                      <a:pt x="1" y="8"/>
                      <a:pt x="0" y="21"/>
                      <a:pt x="6" y="32"/>
                    </a:cubicBezTo>
                    <a:cubicBezTo>
                      <a:pt x="17" y="54"/>
                      <a:pt x="40" y="65"/>
                      <a:pt x="40" y="65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1" name="Freeform 59">
                <a:extLst>
                  <a:ext uri="{FF2B5EF4-FFF2-40B4-BE49-F238E27FC236}">
                    <a16:creationId xmlns:a16="http://schemas.microsoft.com/office/drawing/2014/main" id="{D982F0A3-11B0-4735-9CA2-3D86A36FF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59876" y="-4833938"/>
                <a:ext cx="863600" cy="1225550"/>
              </a:xfrm>
              <a:custGeom>
                <a:avLst/>
                <a:gdLst>
                  <a:gd name="T0" fmla="*/ 12 w 357"/>
                  <a:gd name="T1" fmla="*/ 504 h 506"/>
                  <a:gd name="T2" fmla="*/ 0 w 357"/>
                  <a:gd name="T3" fmla="*/ 498 h 506"/>
                  <a:gd name="T4" fmla="*/ 4 w 357"/>
                  <a:gd name="T5" fmla="*/ 493 h 506"/>
                  <a:gd name="T6" fmla="*/ 2 w 357"/>
                  <a:gd name="T7" fmla="*/ 496 h 506"/>
                  <a:gd name="T8" fmla="*/ 4 w 357"/>
                  <a:gd name="T9" fmla="*/ 493 h 506"/>
                  <a:gd name="T10" fmla="*/ 35 w 357"/>
                  <a:gd name="T11" fmla="*/ 497 h 506"/>
                  <a:gd name="T12" fmla="*/ 109 w 357"/>
                  <a:gd name="T13" fmla="*/ 436 h 506"/>
                  <a:gd name="T14" fmla="*/ 219 w 357"/>
                  <a:gd name="T15" fmla="*/ 218 h 506"/>
                  <a:gd name="T16" fmla="*/ 334 w 357"/>
                  <a:gd name="T17" fmla="*/ 22 h 506"/>
                  <a:gd name="T18" fmla="*/ 352 w 357"/>
                  <a:gd name="T19" fmla="*/ 0 h 506"/>
                  <a:gd name="T20" fmla="*/ 357 w 357"/>
                  <a:gd name="T21" fmla="*/ 4 h 506"/>
                  <a:gd name="T22" fmla="*/ 339 w 357"/>
                  <a:gd name="T23" fmla="*/ 26 h 506"/>
                  <a:gd name="T24" fmla="*/ 225 w 357"/>
                  <a:gd name="T25" fmla="*/ 220 h 506"/>
                  <a:gd name="T26" fmla="*/ 37 w 357"/>
                  <a:gd name="T27" fmla="*/ 503 h 506"/>
                  <a:gd name="T28" fmla="*/ 12 w 357"/>
                  <a:gd name="T29" fmla="*/ 504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7" h="506">
                    <a:moveTo>
                      <a:pt x="12" y="504"/>
                    </a:moveTo>
                    <a:cubicBezTo>
                      <a:pt x="4" y="502"/>
                      <a:pt x="0" y="498"/>
                      <a:pt x="0" y="498"/>
                    </a:cubicBezTo>
                    <a:cubicBezTo>
                      <a:pt x="4" y="493"/>
                      <a:pt x="4" y="493"/>
                      <a:pt x="4" y="493"/>
                    </a:cubicBezTo>
                    <a:cubicBezTo>
                      <a:pt x="2" y="496"/>
                      <a:pt x="2" y="496"/>
                      <a:pt x="2" y="496"/>
                    </a:cubicBezTo>
                    <a:cubicBezTo>
                      <a:pt x="4" y="493"/>
                      <a:pt x="4" y="493"/>
                      <a:pt x="4" y="493"/>
                    </a:cubicBezTo>
                    <a:cubicBezTo>
                      <a:pt x="4" y="494"/>
                      <a:pt x="15" y="502"/>
                      <a:pt x="35" y="497"/>
                    </a:cubicBezTo>
                    <a:cubicBezTo>
                      <a:pt x="58" y="491"/>
                      <a:pt x="83" y="471"/>
                      <a:pt x="109" y="436"/>
                    </a:cubicBezTo>
                    <a:cubicBezTo>
                      <a:pt x="145" y="388"/>
                      <a:pt x="182" y="315"/>
                      <a:pt x="219" y="218"/>
                    </a:cubicBezTo>
                    <a:cubicBezTo>
                      <a:pt x="263" y="105"/>
                      <a:pt x="306" y="55"/>
                      <a:pt x="334" y="22"/>
                    </a:cubicBezTo>
                    <a:cubicBezTo>
                      <a:pt x="341" y="14"/>
                      <a:pt x="348" y="7"/>
                      <a:pt x="352" y="0"/>
                    </a:cubicBezTo>
                    <a:cubicBezTo>
                      <a:pt x="357" y="4"/>
                      <a:pt x="357" y="4"/>
                      <a:pt x="357" y="4"/>
                    </a:cubicBezTo>
                    <a:cubicBezTo>
                      <a:pt x="352" y="10"/>
                      <a:pt x="346" y="18"/>
                      <a:pt x="339" y="26"/>
                    </a:cubicBezTo>
                    <a:cubicBezTo>
                      <a:pt x="311" y="59"/>
                      <a:pt x="268" y="109"/>
                      <a:pt x="225" y="220"/>
                    </a:cubicBezTo>
                    <a:cubicBezTo>
                      <a:pt x="142" y="436"/>
                      <a:pt x="76" y="493"/>
                      <a:pt x="37" y="503"/>
                    </a:cubicBezTo>
                    <a:cubicBezTo>
                      <a:pt x="26" y="506"/>
                      <a:pt x="18" y="505"/>
                      <a:pt x="12" y="50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2" name="Freeform 60">
                <a:extLst>
                  <a:ext uri="{FF2B5EF4-FFF2-40B4-BE49-F238E27FC236}">
                    <a16:creationId xmlns:a16="http://schemas.microsoft.com/office/drawing/2014/main" id="{DF7F7302-0881-494D-81DD-901E2B79DA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3788" y="-4278313"/>
                <a:ext cx="1608138" cy="1538287"/>
              </a:xfrm>
              <a:custGeom>
                <a:avLst/>
                <a:gdLst>
                  <a:gd name="T0" fmla="*/ 198 w 664"/>
                  <a:gd name="T1" fmla="*/ 171 h 635"/>
                  <a:gd name="T2" fmla="*/ 11 w 664"/>
                  <a:gd name="T3" fmla="*/ 611 h 635"/>
                  <a:gd name="T4" fmla="*/ 466 w 664"/>
                  <a:gd name="T5" fmla="*/ 465 h 635"/>
                  <a:gd name="T6" fmla="*/ 653 w 664"/>
                  <a:gd name="T7" fmla="*/ 24 h 635"/>
                  <a:gd name="T8" fmla="*/ 198 w 664"/>
                  <a:gd name="T9" fmla="*/ 171 h 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4" h="635">
                    <a:moveTo>
                      <a:pt x="198" y="171"/>
                    </a:moveTo>
                    <a:cubicBezTo>
                      <a:pt x="65" y="292"/>
                      <a:pt x="0" y="458"/>
                      <a:pt x="11" y="611"/>
                    </a:cubicBezTo>
                    <a:cubicBezTo>
                      <a:pt x="163" y="635"/>
                      <a:pt x="333" y="586"/>
                      <a:pt x="466" y="465"/>
                    </a:cubicBezTo>
                    <a:cubicBezTo>
                      <a:pt x="599" y="343"/>
                      <a:pt x="664" y="178"/>
                      <a:pt x="653" y="24"/>
                    </a:cubicBezTo>
                    <a:cubicBezTo>
                      <a:pt x="501" y="0"/>
                      <a:pt x="331" y="49"/>
                      <a:pt x="198" y="171"/>
                    </a:cubicBezTo>
                    <a:close/>
                  </a:path>
                </a:pathLst>
              </a:custGeom>
              <a:solidFill>
                <a:srgbClr val="7423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3" name="Line 61">
                <a:extLst>
                  <a:ext uri="{FF2B5EF4-FFF2-40B4-BE49-F238E27FC236}">
                    <a16:creationId xmlns:a16="http://schemas.microsoft.com/office/drawing/2014/main" id="{3A9F3B32-AD8A-4810-82DE-336056849A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793163" y="-4111625"/>
                <a:ext cx="1376363" cy="1254125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4" name="Line 62">
                <a:extLst>
                  <a:ext uri="{FF2B5EF4-FFF2-40B4-BE49-F238E27FC236}">
                    <a16:creationId xmlns:a16="http://schemas.microsoft.com/office/drawing/2014/main" id="{86CDFA4A-6514-4D8C-8723-4B75190FEA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885363" y="-3852863"/>
                <a:ext cx="293688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5" name="Line 63">
                <a:extLst>
                  <a:ext uri="{FF2B5EF4-FFF2-40B4-BE49-F238E27FC236}">
                    <a16:creationId xmlns:a16="http://schemas.microsoft.com/office/drawing/2014/main" id="{2F1BEDA3-652B-4A75-A1D3-0B7275B636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653588" y="-3636963"/>
                <a:ext cx="358775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6" name="Line 64">
                <a:extLst>
                  <a:ext uri="{FF2B5EF4-FFF2-40B4-BE49-F238E27FC236}">
                    <a16:creationId xmlns:a16="http://schemas.microsoft.com/office/drawing/2014/main" id="{22D24DCD-D7AB-412E-92D5-D4DA85DB19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18638" y="-3424238"/>
                <a:ext cx="600075" cy="269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7" name="Line 65">
                <a:extLst>
                  <a:ext uri="{FF2B5EF4-FFF2-40B4-BE49-F238E27FC236}">
                    <a16:creationId xmlns:a16="http://schemas.microsoft.com/office/drawing/2014/main" id="{19E97C87-A9F0-4589-8DDA-89FC31A6CE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83688" y="-3209925"/>
                <a:ext cx="585788" cy="25400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8" name="Line 66">
                <a:extLst>
                  <a:ext uri="{FF2B5EF4-FFF2-40B4-BE49-F238E27FC236}">
                    <a16:creationId xmlns:a16="http://schemas.microsoft.com/office/drawing/2014/main" id="{001A3BE0-E772-45B6-BA72-3624FD504A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48738" y="-2994025"/>
                <a:ext cx="327025" cy="1428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89" name="Line 67">
                <a:extLst>
                  <a:ext uri="{FF2B5EF4-FFF2-40B4-BE49-F238E27FC236}">
                    <a16:creationId xmlns:a16="http://schemas.microsoft.com/office/drawing/2014/main" id="{2EE0976A-7C7A-4B2A-8825-54FCCC17D1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912351" y="-4171950"/>
                <a:ext cx="12700" cy="2905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0" name="Line 68">
                <a:extLst>
                  <a:ext uri="{FF2B5EF4-FFF2-40B4-BE49-F238E27FC236}">
                    <a16:creationId xmlns:a16="http://schemas.microsoft.com/office/drawing/2014/main" id="{A0C8A4B8-DE10-464A-A638-44EE0E4F22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677401" y="-4121150"/>
                <a:ext cx="19050" cy="4556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1" name="Line 69">
                <a:extLst>
                  <a:ext uri="{FF2B5EF4-FFF2-40B4-BE49-F238E27FC236}">
                    <a16:creationId xmlns:a16="http://schemas.microsoft.com/office/drawing/2014/main" id="{88A8014C-B691-499C-9D2C-CE6D95A2F5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442451" y="-4022725"/>
                <a:ext cx="26988" cy="5699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2" name="Line 70">
                <a:extLst>
                  <a:ext uri="{FF2B5EF4-FFF2-40B4-BE49-F238E27FC236}">
                    <a16:creationId xmlns:a16="http://schemas.microsoft.com/office/drawing/2014/main" id="{A10099D8-7237-4C34-A094-5A35D7434D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9207501" y="-3822700"/>
                <a:ext cx="26988" cy="582612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3" name="Line 71">
                <a:extLst>
                  <a:ext uri="{FF2B5EF4-FFF2-40B4-BE49-F238E27FC236}">
                    <a16:creationId xmlns:a16="http://schemas.microsoft.com/office/drawing/2014/main" id="{115C9DA6-6028-4DF1-8C16-04E3BB2ED9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975726" y="-3527425"/>
                <a:ext cx="20638" cy="503237"/>
              </a:xfrm>
              <a:prstGeom prst="line">
                <a:avLst/>
              </a:prstGeom>
              <a:noFill/>
              <a:ln w="17463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4" name="Freeform 144">
                <a:extLst>
                  <a:ext uri="{FF2B5EF4-FFF2-40B4-BE49-F238E27FC236}">
                    <a16:creationId xmlns:a16="http://schemas.microsoft.com/office/drawing/2014/main" id="{94BA5AEF-4F02-4244-97F2-064A2C50E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5576" y="-3600450"/>
                <a:ext cx="1709738" cy="1184275"/>
              </a:xfrm>
              <a:custGeom>
                <a:avLst/>
                <a:gdLst>
                  <a:gd name="T0" fmla="*/ 516 w 706"/>
                  <a:gd name="T1" fmla="*/ 421 h 489"/>
                  <a:gd name="T2" fmla="*/ 541 w 706"/>
                  <a:gd name="T3" fmla="*/ 489 h 489"/>
                  <a:gd name="T4" fmla="*/ 706 w 706"/>
                  <a:gd name="T5" fmla="*/ 472 h 489"/>
                  <a:gd name="T6" fmla="*/ 680 w 706"/>
                  <a:gd name="T7" fmla="*/ 319 h 489"/>
                  <a:gd name="T8" fmla="*/ 0 w 706"/>
                  <a:gd name="T9" fmla="*/ 277 h 489"/>
                  <a:gd name="T10" fmla="*/ 365 w 706"/>
                  <a:gd name="T11" fmla="*/ 472 h 489"/>
                  <a:gd name="T12" fmla="*/ 491 w 706"/>
                  <a:gd name="T13" fmla="*/ 488 h 489"/>
                  <a:gd name="T14" fmla="*/ 516 w 706"/>
                  <a:gd name="T15" fmla="*/ 421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6" h="489">
                    <a:moveTo>
                      <a:pt x="516" y="421"/>
                    </a:moveTo>
                    <a:cubicBezTo>
                      <a:pt x="541" y="489"/>
                      <a:pt x="541" y="489"/>
                      <a:pt x="541" y="489"/>
                    </a:cubicBezTo>
                    <a:cubicBezTo>
                      <a:pt x="599" y="489"/>
                      <a:pt x="655" y="483"/>
                      <a:pt x="706" y="472"/>
                    </a:cubicBezTo>
                    <a:cubicBezTo>
                      <a:pt x="704" y="421"/>
                      <a:pt x="695" y="369"/>
                      <a:pt x="680" y="319"/>
                    </a:cubicBezTo>
                    <a:cubicBezTo>
                      <a:pt x="604" y="70"/>
                      <a:pt x="199" y="0"/>
                      <a:pt x="0" y="277"/>
                    </a:cubicBezTo>
                    <a:cubicBezTo>
                      <a:pt x="69" y="365"/>
                      <a:pt x="200" y="439"/>
                      <a:pt x="365" y="472"/>
                    </a:cubicBezTo>
                    <a:cubicBezTo>
                      <a:pt x="407" y="480"/>
                      <a:pt x="450" y="486"/>
                      <a:pt x="491" y="488"/>
                    </a:cubicBezTo>
                    <a:lnTo>
                      <a:pt x="516" y="421"/>
                    </a:lnTo>
                    <a:close/>
                  </a:path>
                </a:pathLst>
              </a:custGeom>
              <a:solidFill>
                <a:srgbClr val="641B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5" name="Freeform 145">
                <a:extLst>
                  <a:ext uri="{FF2B5EF4-FFF2-40B4-BE49-F238E27FC236}">
                    <a16:creationId xmlns:a16="http://schemas.microsoft.com/office/drawing/2014/main" id="{11F188D0-DE59-4F28-ACD0-163EBBD07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5576" y="-3346450"/>
                <a:ext cx="1709738" cy="889000"/>
              </a:xfrm>
              <a:custGeom>
                <a:avLst/>
                <a:gdLst>
                  <a:gd name="T0" fmla="*/ 706 w 706"/>
                  <a:gd name="T1" fmla="*/ 367 h 367"/>
                  <a:gd name="T2" fmla="*/ 0 w 706"/>
                  <a:gd name="T3" fmla="*/ 172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6" h="367">
                    <a:moveTo>
                      <a:pt x="706" y="367"/>
                    </a:moveTo>
                    <a:cubicBezTo>
                      <a:pt x="706" y="367"/>
                      <a:pt x="433" y="0"/>
                      <a:pt x="0" y="172"/>
                    </a:cubicBezTo>
                  </a:path>
                </a:pathLst>
              </a:cu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6" name="Line 146">
                <a:extLst>
                  <a:ext uri="{FF2B5EF4-FFF2-40B4-BE49-F238E27FC236}">
                    <a16:creationId xmlns:a16="http://schemas.microsoft.com/office/drawing/2014/main" id="{1CB7630E-7F36-4515-9B42-BF9ED05BC5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510838" y="-2740025"/>
                <a:ext cx="206375" cy="428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7" name="Line 147">
                <a:extLst>
                  <a:ext uri="{FF2B5EF4-FFF2-40B4-BE49-F238E27FC236}">
                    <a16:creationId xmlns:a16="http://schemas.microsoft.com/office/drawing/2014/main" id="{F4076B19-9D17-49D2-88A3-DABF02AD53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321926" y="-2933700"/>
                <a:ext cx="323850" cy="984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8" name="Line 148">
                <a:extLst>
                  <a:ext uri="{FF2B5EF4-FFF2-40B4-BE49-F238E27FC236}">
                    <a16:creationId xmlns:a16="http://schemas.microsoft.com/office/drawing/2014/main" id="{2C2E6067-5C32-43E5-8E02-293EA01B0D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110788" y="-3103563"/>
                <a:ext cx="412750" cy="16510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499" name="Line 149">
                <a:extLst>
                  <a:ext uri="{FF2B5EF4-FFF2-40B4-BE49-F238E27FC236}">
                    <a16:creationId xmlns:a16="http://schemas.microsoft.com/office/drawing/2014/main" id="{C2142408-0ED1-4B6B-8F11-42F2C21B51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902826" y="-3255963"/>
                <a:ext cx="415925" cy="2508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0" name="Line 150">
                <a:extLst>
                  <a:ext uri="{FF2B5EF4-FFF2-40B4-BE49-F238E27FC236}">
                    <a16:creationId xmlns:a16="http://schemas.microsoft.com/office/drawing/2014/main" id="{7D01F95D-480E-454D-9B5D-834D9A846A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718676" y="-3333750"/>
                <a:ext cx="381000" cy="29845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1" name="Line 151">
                <a:extLst>
                  <a:ext uri="{FF2B5EF4-FFF2-40B4-BE49-F238E27FC236}">
                    <a16:creationId xmlns:a16="http://schemas.microsoft.com/office/drawing/2014/main" id="{B81C7CDD-F890-4589-ADB4-575CDED25F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471026" y="-3357563"/>
                <a:ext cx="349250" cy="32385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2" name="Line 152">
                <a:extLst>
                  <a:ext uri="{FF2B5EF4-FFF2-40B4-BE49-F238E27FC236}">
                    <a16:creationId xmlns:a16="http://schemas.microsoft.com/office/drawing/2014/main" id="{7619690F-5721-4784-AB61-6AB9DA3414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244013" y="-3302000"/>
                <a:ext cx="293688" cy="3095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3" name="Line 153">
                <a:extLst>
                  <a:ext uri="{FF2B5EF4-FFF2-40B4-BE49-F238E27FC236}">
                    <a16:creationId xmlns:a16="http://schemas.microsoft.com/office/drawing/2014/main" id="{478E6AAA-C922-48DE-9205-3ED66FC60C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0518776" y="-2697163"/>
                <a:ext cx="15875" cy="271462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4" name="Line 154">
                <a:extLst>
                  <a:ext uri="{FF2B5EF4-FFF2-40B4-BE49-F238E27FC236}">
                    <a16:creationId xmlns:a16="http://schemas.microsoft.com/office/drawing/2014/main" id="{284A3798-696C-4B87-804C-CF16683717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321926" y="-2835275"/>
                <a:ext cx="53975" cy="419100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5" name="Line 155">
                <a:extLst>
                  <a:ext uri="{FF2B5EF4-FFF2-40B4-BE49-F238E27FC236}">
                    <a16:creationId xmlns:a16="http://schemas.microsoft.com/office/drawing/2014/main" id="{146BDC6E-B234-4DD6-BBFF-AE7AE2E6C9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110788" y="-2938463"/>
                <a:ext cx="30163" cy="51117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6" name="Line 156">
                <a:extLst>
                  <a:ext uri="{FF2B5EF4-FFF2-40B4-BE49-F238E27FC236}">
                    <a16:creationId xmlns:a16="http://schemas.microsoft.com/office/drawing/2014/main" id="{31036A90-9E47-4DAD-96C7-D499314DEF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02826" y="-3005138"/>
                <a:ext cx="0" cy="5429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7" name="Line 157">
                <a:extLst>
                  <a:ext uri="{FF2B5EF4-FFF2-40B4-BE49-F238E27FC236}">
                    <a16:creationId xmlns:a16="http://schemas.microsoft.com/office/drawing/2014/main" id="{4D4BB189-0A98-46C7-8AC8-A372C9143A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9701213" y="-3035300"/>
                <a:ext cx="17463" cy="5175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8" name="Line 158">
                <a:extLst>
                  <a:ext uri="{FF2B5EF4-FFF2-40B4-BE49-F238E27FC236}">
                    <a16:creationId xmlns:a16="http://schemas.microsoft.com/office/drawing/2014/main" id="{13E7618A-862F-45BD-9EAB-CFDD5104BC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71026" y="-3033713"/>
                <a:ext cx="3175" cy="4286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509" name="Line 159">
                <a:extLst>
                  <a:ext uri="{FF2B5EF4-FFF2-40B4-BE49-F238E27FC236}">
                    <a16:creationId xmlns:a16="http://schemas.microsoft.com/office/drawing/2014/main" id="{C6583027-1426-44C5-ADDD-D8C805B294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244013" y="-2992438"/>
                <a:ext cx="23813" cy="263525"/>
              </a:xfrm>
              <a:prstGeom prst="line">
                <a:avLst/>
              </a:prstGeom>
              <a:noFill/>
              <a:ln w="22225" cap="flat">
                <a:solidFill>
                  <a:srgbClr val="5D149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630" name="Picture 629">
              <a:extLst>
                <a:ext uri="{FF2B5EF4-FFF2-40B4-BE49-F238E27FC236}">
                  <a16:creationId xmlns:a16="http://schemas.microsoft.com/office/drawing/2014/main" id="{984D61FB-F7EC-487A-BDC1-58DE14F06A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69" t="17291" r="12016" b="11631"/>
            <a:stretch/>
          </p:blipFill>
          <p:spPr>
            <a:xfrm>
              <a:off x="4748737" y="2085747"/>
              <a:ext cx="3359586" cy="3170530"/>
            </a:xfrm>
            <a:prstGeom prst="rect">
              <a:avLst/>
            </a:prstGeom>
          </p:spPr>
        </p:pic>
      </p:grpSp>
      <p:sp>
        <p:nvSpPr>
          <p:cNvPr id="659" name="Arc 658">
            <a:extLst>
              <a:ext uri="{FF2B5EF4-FFF2-40B4-BE49-F238E27FC236}">
                <a16:creationId xmlns:a16="http://schemas.microsoft.com/office/drawing/2014/main" id="{C4E6A427-D050-4DCC-AAAB-CFF2CD58EAD1}"/>
              </a:ext>
            </a:extLst>
          </p:cNvPr>
          <p:cNvSpPr/>
          <p:nvPr/>
        </p:nvSpPr>
        <p:spPr>
          <a:xfrm>
            <a:off x="3130824" y="1279621"/>
            <a:ext cx="4685148" cy="4685148"/>
          </a:xfrm>
          <a:prstGeom prst="arc">
            <a:avLst>
              <a:gd name="adj1" fmla="val 6989423"/>
              <a:gd name="adj2" fmla="val 1463117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638" name="Group 637">
            <a:extLst>
              <a:ext uri="{FF2B5EF4-FFF2-40B4-BE49-F238E27FC236}">
                <a16:creationId xmlns:a16="http://schemas.microsoft.com/office/drawing/2014/main" id="{41E5FFFB-3173-4B48-89D2-18A171233339}"/>
              </a:ext>
            </a:extLst>
          </p:cNvPr>
          <p:cNvGrpSpPr/>
          <p:nvPr/>
        </p:nvGrpSpPr>
        <p:grpSpPr>
          <a:xfrm>
            <a:off x="3246185" y="1838529"/>
            <a:ext cx="768244" cy="768242"/>
            <a:chOff x="8422581" y="812800"/>
            <a:chExt cx="564174" cy="564174"/>
          </a:xfrm>
        </p:grpSpPr>
        <p:sp>
          <p:nvSpPr>
            <p:cNvPr id="656" name="Oval 655">
              <a:extLst>
                <a:ext uri="{FF2B5EF4-FFF2-40B4-BE49-F238E27FC236}">
                  <a16:creationId xmlns:a16="http://schemas.microsoft.com/office/drawing/2014/main" id="{8F156C8E-4148-416B-B6A9-D32A3179EA77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7" name="Oval 656">
              <a:extLst>
                <a:ext uri="{FF2B5EF4-FFF2-40B4-BE49-F238E27FC236}">
                  <a16:creationId xmlns:a16="http://schemas.microsoft.com/office/drawing/2014/main" id="{9ABD80A8-B047-4C2C-9E39-5B3E4CD76418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61" name="Rectangle 660">
            <a:extLst>
              <a:ext uri="{FF2B5EF4-FFF2-40B4-BE49-F238E27FC236}">
                <a16:creationId xmlns:a16="http://schemas.microsoft.com/office/drawing/2014/main" id="{5CAF1DCF-81D0-4805-81A7-3FE3214079B6}"/>
              </a:ext>
            </a:extLst>
          </p:cNvPr>
          <p:cNvSpPr/>
          <p:nvPr/>
        </p:nvSpPr>
        <p:spPr>
          <a:xfrm>
            <a:off x="348946" y="4775519"/>
            <a:ext cx="2962859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Создание таблиц и схем в текстовом редакторе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66" name="Group 665">
            <a:extLst>
              <a:ext uri="{FF2B5EF4-FFF2-40B4-BE49-F238E27FC236}">
                <a16:creationId xmlns:a16="http://schemas.microsoft.com/office/drawing/2014/main" id="{70E61CE6-FBD2-49EA-92FC-268DD2A0946F}"/>
              </a:ext>
            </a:extLst>
          </p:cNvPr>
          <p:cNvGrpSpPr/>
          <p:nvPr/>
        </p:nvGrpSpPr>
        <p:grpSpPr>
          <a:xfrm>
            <a:off x="3246185" y="4637621"/>
            <a:ext cx="768244" cy="768242"/>
            <a:chOff x="8422581" y="812800"/>
            <a:chExt cx="564174" cy="564174"/>
          </a:xfrm>
        </p:grpSpPr>
        <p:sp>
          <p:nvSpPr>
            <p:cNvPr id="684" name="Oval 683">
              <a:extLst>
                <a:ext uri="{FF2B5EF4-FFF2-40B4-BE49-F238E27FC236}">
                  <a16:creationId xmlns:a16="http://schemas.microsoft.com/office/drawing/2014/main" id="{CB9712A6-89BA-4691-9C87-998D92C39D03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5" name="Oval 684">
              <a:extLst>
                <a:ext uri="{FF2B5EF4-FFF2-40B4-BE49-F238E27FC236}">
                  <a16:creationId xmlns:a16="http://schemas.microsoft.com/office/drawing/2014/main" id="{7F77E0DB-1DEC-47F6-AD9A-92AADD0562E4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690" name="Arc 689">
            <a:extLst>
              <a:ext uri="{FF2B5EF4-FFF2-40B4-BE49-F238E27FC236}">
                <a16:creationId xmlns:a16="http://schemas.microsoft.com/office/drawing/2014/main" id="{27B845D4-7942-4621-89FF-0C37A046A184}"/>
              </a:ext>
            </a:extLst>
          </p:cNvPr>
          <p:cNvSpPr/>
          <p:nvPr/>
        </p:nvSpPr>
        <p:spPr>
          <a:xfrm flipH="1">
            <a:off x="4372021" y="1279621"/>
            <a:ext cx="4685148" cy="4685148"/>
          </a:xfrm>
          <a:prstGeom prst="arc">
            <a:avLst>
              <a:gd name="adj1" fmla="val 6989423"/>
              <a:gd name="adj2" fmla="val 1463117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718" name="Group 717">
            <a:extLst>
              <a:ext uri="{FF2B5EF4-FFF2-40B4-BE49-F238E27FC236}">
                <a16:creationId xmlns:a16="http://schemas.microsoft.com/office/drawing/2014/main" id="{138506A7-8EF9-4181-9DBB-21E91DB1124B}"/>
              </a:ext>
            </a:extLst>
          </p:cNvPr>
          <p:cNvGrpSpPr/>
          <p:nvPr/>
        </p:nvGrpSpPr>
        <p:grpSpPr>
          <a:xfrm flipH="1">
            <a:off x="8173565" y="1838529"/>
            <a:ext cx="768242" cy="768242"/>
            <a:chOff x="8422581" y="812800"/>
            <a:chExt cx="564174" cy="564174"/>
          </a:xfrm>
        </p:grpSpPr>
        <p:sp>
          <p:nvSpPr>
            <p:cNvPr id="736" name="Oval 735">
              <a:extLst>
                <a:ext uri="{FF2B5EF4-FFF2-40B4-BE49-F238E27FC236}">
                  <a16:creationId xmlns:a16="http://schemas.microsoft.com/office/drawing/2014/main" id="{CE5E7058-5EBE-43D2-88EC-5AD48B1CE42E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37" name="Oval 736">
              <a:extLst>
                <a:ext uri="{FF2B5EF4-FFF2-40B4-BE49-F238E27FC236}">
                  <a16:creationId xmlns:a16="http://schemas.microsoft.com/office/drawing/2014/main" id="{189AAE49-9DED-45CE-9A9A-33E90406298F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696" name="Group 695">
            <a:extLst>
              <a:ext uri="{FF2B5EF4-FFF2-40B4-BE49-F238E27FC236}">
                <a16:creationId xmlns:a16="http://schemas.microsoft.com/office/drawing/2014/main" id="{DA746FFB-E5AA-4418-9B1A-7262096F7A31}"/>
              </a:ext>
            </a:extLst>
          </p:cNvPr>
          <p:cNvGrpSpPr/>
          <p:nvPr/>
        </p:nvGrpSpPr>
        <p:grpSpPr>
          <a:xfrm flipH="1">
            <a:off x="8173565" y="4637621"/>
            <a:ext cx="768242" cy="768242"/>
            <a:chOff x="8422581" y="812800"/>
            <a:chExt cx="564174" cy="564174"/>
          </a:xfrm>
        </p:grpSpPr>
        <p:sp>
          <p:nvSpPr>
            <p:cNvPr id="714" name="Oval 713">
              <a:extLst>
                <a:ext uri="{FF2B5EF4-FFF2-40B4-BE49-F238E27FC236}">
                  <a16:creationId xmlns:a16="http://schemas.microsoft.com/office/drawing/2014/main" id="{9CDB66C3-33FE-45E8-959D-2803BB53B8FB}"/>
                </a:ext>
              </a:extLst>
            </p:cNvPr>
            <p:cNvSpPr/>
            <p:nvPr/>
          </p:nvSpPr>
          <p:spPr>
            <a:xfrm>
              <a:off x="8422581" y="812800"/>
              <a:ext cx="564174" cy="564174"/>
            </a:xfrm>
            <a:prstGeom prst="ellipse">
              <a:avLst/>
            </a:prstGeom>
            <a:gradFill>
              <a:gsLst>
                <a:gs pos="0">
                  <a:srgbClr val="A9CDFF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2700000" scaled="0"/>
            </a:gra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5" name="Oval 714">
              <a:extLst>
                <a:ext uri="{FF2B5EF4-FFF2-40B4-BE49-F238E27FC236}">
                  <a16:creationId xmlns:a16="http://schemas.microsoft.com/office/drawing/2014/main" id="{05C58D9D-7243-4D3D-A5E1-27E89B8DAC55}"/>
                </a:ext>
              </a:extLst>
            </p:cNvPr>
            <p:cNvSpPr/>
            <p:nvPr/>
          </p:nvSpPr>
          <p:spPr>
            <a:xfrm>
              <a:off x="8490844" y="881063"/>
              <a:ext cx="427648" cy="427648"/>
            </a:xfrm>
            <a:prstGeom prst="ellipse">
              <a:avLst/>
            </a:prstGeom>
            <a:solidFill>
              <a:schemeClr val="accent1">
                <a:alpha val="29000"/>
              </a:schemeClr>
            </a:solidFill>
            <a:ln>
              <a:noFill/>
            </a:ln>
            <a:effectLst>
              <a:outerShdw blurRad="215900" sx="102000" sy="102000" algn="ctr" rotWithShape="0">
                <a:schemeClr val="bg1">
                  <a:alpha val="26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3" name="Rectangle 660">
            <a:extLst>
              <a:ext uri="{FF2B5EF4-FFF2-40B4-BE49-F238E27FC236}">
                <a16:creationId xmlns:a16="http://schemas.microsoft.com/office/drawing/2014/main" id="{48FDF808-97F7-45BD-849D-7E71A73C2130}"/>
              </a:ext>
            </a:extLst>
          </p:cNvPr>
          <p:cNvSpPr/>
          <p:nvPr/>
        </p:nvSpPr>
        <p:spPr>
          <a:xfrm>
            <a:off x="342942" y="1792598"/>
            <a:ext cx="296285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Обмен информацией и документами учащихся друг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с другом и с преподавателем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 660">
            <a:extLst>
              <a:ext uri="{FF2B5EF4-FFF2-40B4-BE49-F238E27FC236}">
                <a16:creationId xmlns:a16="http://schemas.microsoft.com/office/drawing/2014/main" id="{1C0D0F21-B2AE-4A0F-BC95-5D8C39E98FEE}"/>
              </a:ext>
            </a:extLst>
          </p:cNvPr>
          <p:cNvSpPr/>
          <p:nvPr/>
        </p:nvSpPr>
        <p:spPr>
          <a:xfrm>
            <a:off x="9142188" y="4729779"/>
            <a:ext cx="296285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роверка учителем работ учащихся в режиме рецензирования.</a:t>
            </a:r>
          </a:p>
        </p:txBody>
      </p:sp>
      <p:sp>
        <p:nvSpPr>
          <p:cNvPr id="5" name="Rectangle 660">
            <a:extLst>
              <a:ext uri="{FF2B5EF4-FFF2-40B4-BE49-F238E27FC236}">
                <a16:creationId xmlns:a16="http://schemas.microsoft.com/office/drawing/2014/main" id="{BB68F843-A530-411F-B3A7-4AF822735797}"/>
              </a:ext>
            </a:extLst>
          </p:cNvPr>
          <p:cNvSpPr/>
          <p:nvPr/>
        </p:nvSpPr>
        <p:spPr>
          <a:xfrm>
            <a:off x="9093675" y="1792598"/>
            <a:ext cx="296285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Выполнение учащимися групповых заданий и совместных проектов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A72500E-0DAA-4C90-B31F-DF1B050775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4044" y="2015304"/>
            <a:ext cx="392525" cy="39252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CED4AA0-16C7-48FA-8510-59FD2FEE52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422" y="2021803"/>
            <a:ext cx="392525" cy="39252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72BEF18-9D88-4CA0-9715-218FE30A89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166" y="4822420"/>
            <a:ext cx="392525" cy="39252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33524CB-041D-4156-80E3-605BD645B8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9815" y="4842717"/>
            <a:ext cx="392525" cy="392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939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73A7CE6-7D49-49E8-8BA4-1D8C83EC7131}"/>
              </a:ext>
            </a:extLst>
          </p:cNvPr>
          <p:cNvSpPr/>
          <p:nvPr/>
        </p:nvSpPr>
        <p:spPr>
          <a:xfrm>
            <a:off x="0" y="0"/>
            <a:ext cx="4880008" cy="6858000"/>
          </a:xfrm>
          <a:prstGeom prst="rect">
            <a:avLst/>
          </a:prstGeom>
          <a:gradFill>
            <a:gsLst>
              <a:gs pos="100000">
                <a:srgbClr val="29487D"/>
              </a:gs>
              <a:gs pos="0">
                <a:srgbClr val="3C5898"/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9A6E10-591C-4B02-82AA-479EF78F6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663" y="347617"/>
            <a:ext cx="3906202" cy="678656"/>
          </a:xfrm>
        </p:spPr>
        <p:txBody>
          <a:bodyPr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ogle </a:t>
            </a:r>
            <a:r>
              <a:rPr lang="ru-RU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иск</a:t>
            </a:r>
            <a:endParaRPr lang="en-US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34220CCB-3AB9-4239-8B38-3DA9A8554954}"/>
              </a:ext>
            </a:extLst>
          </p:cNvPr>
          <p:cNvSpPr/>
          <p:nvPr/>
        </p:nvSpPr>
        <p:spPr>
          <a:xfrm>
            <a:off x="0" y="2604282"/>
            <a:ext cx="3754392" cy="4253718"/>
          </a:xfrm>
          <a:custGeom>
            <a:avLst/>
            <a:gdLst>
              <a:gd name="connsiteX0" fmla="*/ 0 w 3754392"/>
              <a:gd name="connsiteY0" fmla="*/ 0 h 4231726"/>
              <a:gd name="connsiteX1" fmla="*/ 72692 w 3754392"/>
              <a:gd name="connsiteY1" fmla="*/ 1838 h 4231726"/>
              <a:gd name="connsiteX2" fmla="*/ 3754392 w 3754392"/>
              <a:gd name="connsiteY2" fmla="*/ 3878225 h 4231726"/>
              <a:gd name="connsiteX3" fmla="*/ 3749341 w 3754392"/>
              <a:gd name="connsiteY3" fmla="*/ 4077963 h 4231726"/>
              <a:gd name="connsiteX4" fmla="*/ 3737650 w 3754392"/>
              <a:gd name="connsiteY4" fmla="*/ 4231726 h 4231726"/>
              <a:gd name="connsiteX5" fmla="*/ 0 w 3754392"/>
              <a:gd name="connsiteY5" fmla="*/ 4231726 h 4231726"/>
              <a:gd name="connsiteX6" fmla="*/ 0 w 3754392"/>
              <a:gd name="connsiteY6" fmla="*/ 0 h 4231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54392" h="4231726">
                <a:moveTo>
                  <a:pt x="0" y="0"/>
                </a:moveTo>
                <a:lnTo>
                  <a:pt x="72692" y="1838"/>
                </a:lnTo>
                <a:cubicBezTo>
                  <a:pt x="2123527" y="105794"/>
                  <a:pt x="3754392" y="1801555"/>
                  <a:pt x="3754392" y="3878225"/>
                </a:cubicBezTo>
                <a:cubicBezTo>
                  <a:pt x="3754392" y="3945214"/>
                  <a:pt x="3752695" y="4011807"/>
                  <a:pt x="3749341" y="4077963"/>
                </a:cubicBezTo>
                <a:lnTo>
                  <a:pt x="3737650" y="4231726"/>
                </a:lnTo>
                <a:lnTo>
                  <a:pt x="0" y="4231726"/>
                </a:lnTo>
                <a:lnTo>
                  <a:pt x="0" y="0"/>
                </a:lnTo>
                <a:close/>
              </a:path>
            </a:pathLst>
          </a:custGeom>
          <a:solidFill>
            <a:srgbClr val="2948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EEDB7BB-67BF-4F13-83AE-4F0395387D6B}"/>
              </a:ext>
            </a:extLst>
          </p:cNvPr>
          <p:cNvGrpSpPr/>
          <p:nvPr/>
        </p:nvGrpSpPr>
        <p:grpSpPr>
          <a:xfrm rot="1758132">
            <a:off x="3203491" y="2477768"/>
            <a:ext cx="649522" cy="574314"/>
            <a:chOff x="2191671" y="3790700"/>
            <a:chExt cx="904875" cy="8001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9ED76D1-DA3C-4272-A9B6-69392D513E9D}"/>
                </a:ext>
              </a:extLst>
            </p:cNvPr>
            <p:cNvSpPr/>
            <p:nvPr/>
          </p:nvSpPr>
          <p:spPr>
            <a:xfrm>
              <a:off x="2191671" y="3790700"/>
              <a:ext cx="904875" cy="800100"/>
            </a:xfrm>
            <a:custGeom>
              <a:avLst/>
              <a:gdLst>
                <a:gd name="connsiteX0" fmla="*/ 793807 w 904875"/>
                <a:gd name="connsiteY0" fmla="*/ 94576 h 800100"/>
                <a:gd name="connsiteX1" fmla="*/ 212305 w 904875"/>
                <a:gd name="connsiteY1" fmla="*/ 1708 h 800100"/>
                <a:gd name="connsiteX2" fmla="*/ 58858 w 904875"/>
                <a:gd name="connsiteY2" fmla="*/ 112864 h 800100"/>
                <a:gd name="connsiteX3" fmla="*/ 1708 w 904875"/>
                <a:gd name="connsiteY3" fmla="*/ 470623 h 800100"/>
                <a:gd name="connsiteX4" fmla="*/ 112864 w 904875"/>
                <a:gd name="connsiteY4" fmla="*/ 624071 h 800100"/>
                <a:gd name="connsiteX5" fmla="*/ 317938 w 904875"/>
                <a:gd name="connsiteY5" fmla="*/ 656837 h 800100"/>
                <a:gd name="connsiteX6" fmla="*/ 359657 w 904875"/>
                <a:gd name="connsiteY6" fmla="*/ 778662 h 800100"/>
                <a:gd name="connsiteX7" fmla="*/ 428237 w 904875"/>
                <a:gd name="connsiteY7" fmla="*/ 788282 h 800100"/>
                <a:gd name="connsiteX8" fmla="*/ 499770 w 904875"/>
                <a:gd name="connsiteY8" fmla="*/ 685888 h 800100"/>
                <a:gd name="connsiteX9" fmla="*/ 694366 w 904875"/>
                <a:gd name="connsiteY9" fmla="*/ 716940 h 800100"/>
                <a:gd name="connsiteX10" fmla="*/ 847813 w 904875"/>
                <a:gd name="connsiteY10" fmla="*/ 605783 h 800100"/>
                <a:gd name="connsiteX11" fmla="*/ 904963 w 904875"/>
                <a:gd name="connsiteY11" fmla="*/ 248024 h 800100"/>
                <a:gd name="connsiteX12" fmla="*/ 793807 w 904875"/>
                <a:gd name="connsiteY12" fmla="*/ 94576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4875" h="800100">
                  <a:moveTo>
                    <a:pt x="793807" y="94576"/>
                  </a:moveTo>
                  <a:lnTo>
                    <a:pt x="212305" y="1708"/>
                  </a:lnTo>
                  <a:cubicBezTo>
                    <a:pt x="139249" y="-10008"/>
                    <a:pt x="70573" y="39808"/>
                    <a:pt x="58858" y="112864"/>
                  </a:cubicBezTo>
                  <a:lnTo>
                    <a:pt x="1708" y="470623"/>
                  </a:lnTo>
                  <a:cubicBezTo>
                    <a:pt x="-10008" y="543680"/>
                    <a:pt x="39808" y="612355"/>
                    <a:pt x="112864" y="624071"/>
                  </a:cubicBezTo>
                  <a:lnTo>
                    <a:pt x="317938" y="656837"/>
                  </a:lnTo>
                  <a:lnTo>
                    <a:pt x="359657" y="778662"/>
                  </a:lnTo>
                  <a:cubicBezTo>
                    <a:pt x="369944" y="808761"/>
                    <a:pt x="410044" y="814381"/>
                    <a:pt x="428237" y="788282"/>
                  </a:cubicBezTo>
                  <a:lnTo>
                    <a:pt x="499770" y="685888"/>
                  </a:lnTo>
                  <a:lnTo>
                    <a:pt x="694366" y="716940"/>
                  </a:lnTo>
                  <a:cubicBezTo>
                    <a:pt x="767422" y="728560"/>
                    <a:pt x="836098" y="678840"/>
                    <a:pt x="847813" y="605783"/>
                  </a:cubicBezTo>
                  <a:lnTo>
                    <a:pt x="904963" y="248024"/>
                  </a:lnTo>
                  <a:cubicBezTo>
                    <a:pt x="916584" y="174967"/>
                    <a:pt x="866863" y="106292"/>
                    <a:pt x="793807" y="94576"/>
                  </a:cubicBezTo>
                  <a:close/>
                </a:path>
              </a:pathLst>
            </a:custGeom>
            <a:solidFill>
              <a:srgbClr val="F15268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98B0482-A803-4474-A1C9-5881DDEFC9B8}"/>
                </a:ext>
              </a:extLst>
            </p:cNvPr>
            <p:cNvSpPr/>
            <p:nvPr/>
          </p:nvSpPr>
          <p:spPr>
            <a:xfrm>
              <a:off x="2475277" y="3994502"/>
              <a:ext cx="361950" cy="314325"/>
            </a:xfrm>
            <a:custGeom>
              <a:avLst/>
              <a:gdLst>
                <a:gd name="connsiteX0" fmla="*/ 365802 w 361950"/>
                <a:gd name="connsiteY0" fmla="*/ 143853 h 314325"/>
                <a:gd name="connsiteX1" fmla="*/ 287506 w 361950"/>
                <a:gd name="connsiteY1" fmla="*/ 30791 h 314325"/>
                <a:gd name="connsiteX2" fmla="*/ 191113 w 361950"/>
                <a:gd name="connsiteY2" fmla="*/ 70796 h 314325"/>
                <a:gd name="connsiteX3" fmla="*/ 113103 w 361950"/>
                <a:gd name="connsiteY3" fmla="*/ 1550 h 314325"/>
                <a:gd name="connsiteX4" fmla="*/ 5376 w 361950"/>
                <a:gd name="connsiteY4" fmla="*/ 144615 h 314325"/>
                <a:gd name="connsiteX5" fmla="*/ 148346 w 361950"/>
                <a:gd name="connsiteY5" fmla="*/ 322066 h 314325"/>
                <a:gd name="connsiteX6" fmla="*/ 149584 w 361950"/>
                <a:gd name="connsiteY6" fmla="*/ 322256 h 314325"/>
                <a:gd name="connsiteX7" fmla="*/ 340846 w 361950"/>
                <a:gd name="connsiteY7" fmla="*/ 207290 h 314325"/>
                <a:gd name="connsiteX8" fmla="*/ 365802 w 361950"/>
                <a:gd name="connsiteY8" fmla="*/ 143853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1950" h="314325">
                  <a:moveTo>
                    <a:pt x="365802" y="143853"/>
                  </a:moveTo>
                  <a:cubicBezTo>
                    <a:pt x="372469" y="92609"/>
                    <a:pt x="349323" y="41174"/>
                    <a:pt x="287506" y="30791"/>
                  </a:cubicBezTo>
                  <a:cubicBezTo>
                    <a:pt x="249120" y="24314"/>
                    <a:pt x="212354" y="41078"/>
                    <a:pt x="191113" y="70796"/>
                  </a:cubicBezTo>
                  <a:cubicBezTo>
                    <a:pt x="180731" y="35840"/>
                    <a:pt x="151489" y="7931"/>
                    <a:pt x="113103" y="1550"/>
                  </a:cubicBezTo>
                  <a:cubicBezTo>
                    <a:pt x="28426" y="-12643"/>
                    <a:pt x="-16151" y="73463"/>
                    <a:pt x="5376" y="144615"/>
                  </a:cubicBezTo>
                  <a:cubicBezTo>
                    <a:pt x="28140" y="219863"/>
                    <a:pt x="82528" y="280727"/>
                    <a:pt x="148346" y="322066"/>
                  </a:cubicBezTo>
                  <a:lnTo>
                    <a:pt x="149584" y="322256"/>
                  </a:lnTo>
                  <a:cubicBezTo>
                    <a:pt x="220926" y="305683"/>
                    <a:pt x="297222" y="268059"/>
                    <a:pt x="340846" y="207290"/>
                  </a:cubicBezTo>
                  <a:cubicBezTo>
                    <a:pt x="354276" y="188430"/>
                    <a:pt x="362849" y="166142"/>
                    <a:pt x="365802" y="143853"/>
                  </a:cubicBezTo>
                  <a:close/>
                </a:path>
              </a:pathLst>
            </a:custGeom>
            <a:solidFill>
              <a:srgbClr val="F4F5F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A5AA195-CBD7-40F4-813F-67FAA35AF518}"/>
              </a:ext>
            </a:extLst>
          </p:cNvPr>
          <p:cNvGrpSpPr/>
          <p:nvPr/>
        </p:nvGrpSpPr>
        <p:grpSpPr>
          <a:xfrm>
            <a:off x="2393742" y="2752970"/>
            <a:ext cx="676870" cy="594825"/>
            <a:chOff x="1492752" y="5127283"/>
            <a:chExt cx="942975" cy="828675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74D6DD8-F117-4588-B059-1BD9CFF1CB8E}"/>
                </a:ext>
              </a:extLst>
            </p:cNvPr>
            <p:cNvSpPr/>
            <p:nvPr/>
          </p:nvSpPr>
          <p:spPr>
            <a:xfrm>
              <a:off x="1492752" y="5127283"/>
              <a:ext cx="942975" cy="828675"/>
            </a:xfrm>
            <a:custGeom>
              <a:avLst/>
              <a:gdLst>
                <a:gd name="connsiteX0" fmla="*/ 628766 w 942975"/>
                <a:gd name="connsiteY0" fmla="*/ 9928 h 828675"/>
                <a:gd name="connsiteX1" fmla="*/ 83460 w 942975"/>
                <a:gd name="connsiteY1" fmla="*/ 232147 h 828675"/>
                <a:gd name="connsiteX2" fmla="*/ 9927 w 942975"/>
                <a:gd name="connsiteY2" fmla="*/ 406740 h 828675"/>
                <a:gd name="connsiteX3" fmla="*/ 146611 w 942975"/>
                <a:gd name="connsiteY3" fmla="*/ 742211 h 828675"/>
                <a:gd name="connsiteX4" fmla="*/ 321204 w 942975"/>
                <a:gd name="connsiteY4" fmla="*/ 815744 h 828675"/>
                <a:gd name="connsiteX5" fmla="*/ 513514 w 942975"/>
                <a:gd name="connsiteY5" fmla="*/ 737353 h 828675"/>
                <a:gd name="connsiteX6" fmla="*/ 612383 w 942975"/>
                <a:gd name="connsiteY6" fmla="*/ 819839 h 828675"/>
                <a:gd name="connsiteX7" fmla="*/ 676010 w 942975"/>
                <a:gd name="connsiteY7" fmla="*/ 792503 h 828675"/>
                <a:gd name="connsiteX8" fmla="*/ 684107 w 942975"/>
                <a:gd name="connsiteY8" fmla="*/ 667820 h 828675"/>
                <a:gd name="connsiteX9" fmla="*/ 866606 w 942975"/>
                <a:gd name="connsiteY9" fmla="*/ 593430 h 828675"/>
                <a:gd name="connsiteX10" fmla="*/ 940139 w 942975"/>
                <a:gd name="connsiteY10" fmla="*/ 418837 h 828675"/>
                <a:gd name="connsiteX11" fmla="*/ 803455 w 942975"/>
                <a:gd name="connsiteY11" fmla="*/ 83366 h 828675"/>
                <a:gd name="connsiteX12" fmla="*/ 628766 w 942975"/>
                <a:gd name="connsiteY12" fmla="*/ 9928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42975" h="828675">
                  <a:moveTo>
                    <a:pt x="628766" y="9928"/>
                  </a:moveTo>
                  <a:lnTo>
                    <a:pt x="83460" y="232147"/>
                  </a:lnTo>
                  <a:cubicBezTo>
                    <a:pt x="14975" y="260055"/>
                    <a:pt x="-17981" y="338255"/>
                    <a:pt x="9927" y="406740"/>
                  </a:cubicBezTo>
                  <a:lnTo>
                    <a:pt x="146611" y="742211"/>
                  </a:lnTo>
                  <a:cubicBezTo>
                    <a:pt x="174519" y="810695"/>
                    <a:pt x="252719" y="843652"/>
                    <a:pt x="321204" y="815744"/>
                  </a:cubicBezTo>
                  <a:lnTo>
                    <a:pt x="513514" y="737353"/>
                  </a:lnTo>
                  <a:lnTo>
                    <a:pt x="612383" y="819839"/>
                  </a:lnTo>
                  <a:cubicBezTo>
                    <a:pt x="636767" y="840223"/>
                    <a:pt x="673915" y="824221"/>
                    <a:pt x="676010" y="792503"/>
                  </a:cubicBezTo>
                  <a:lnTo>
                    <a:pt x="684107" y="667820"/>
                  </a:lnTo>
                  <a:lnTo>
                    <a:pt x="866606" y="593430"/>
                  </a:lnTo>
                  <a:cubicBezTo>
                    <a:pt x="935090" y="565522"/>
                    <a:pt x="968047" y="487321"/>
                    <a:pt x="940139" y="418837"/>
                  </a:cubicBezTo>
                  <a:lnTo>
                    <a:pt x="803455" y="83366"/>
                  </a:lnTo>
                  <a:cubicBezTo>
                    <a:pt x="775547" y="14977"/>
                    <a:pt x="697346" y="-17980"/>
                    <a:pt x="628766" y="9928"/>
                  </a:cubicBezTo>
                  <a:close/>
                </a:path>
              </a:pathLst>
            </a:custGeom>
            <a:solidFill>
              <a:srgbClr val="F15268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96BBD93-0E76-463E-82A8-F6999C20D84F}"/>
                </a:ext>
              </a:extLst>
            </p:cNvPr>
            <p:cNvSpPr/>
            <p:nvPr/>
          </p:nvSpPr>
          <p:spPr>
            <a:xfrm>
              <a:off x="1779694" y="5364712"/>
              <a:ext cx="352425" cy="323850"/>
            </a:xfrm>
            <a:custGeom>
              <a:avLst/>
              <a:gdLst>
                <a:gd name="connsiteX0" fmla="*/ 349635 w 352425"/>
                <a:gd name="connsiteY0" fmla="*/ 63774 h 323850"/>
                <a:gd name="connsiteX1" fmla="*/ 224000 w 352425"/>
                <a:gd name="connsiteY1" fmla="*/ 7767 h 323850"/>
                <a:gd name="connsiteX2" fmla="*/ 162373 w 352425"/>
                <a:gd name="connsiteY2" fmla="*/ 91968 h 323850"/>
                <a:gd name="connsiteX3" fmla="*/ 59694 w 352425"/>
                <a:gd name="connsiteY3" fmla="*/ 73204 h 323850"/>
                <a:gd name="connsiteX4" fmla="*/ 41787 w 352425"/>
                <a:gd name="connsiteY4" fmla="*/ 251417 h 323850"/>
                <a:gd name="connsiteX5" fmla="*/ 256004 w 352425"/>
                <a:gd name="connsiteY5" fmla="*/ 329046 h 323850"/>
                <a:gd name="connsiteX6" fmla="*/ 257242 w 352425"/>
                <a:gd name="connsiteY6" fmla="*/ 328569 h 323850"/>
                <a:gd name="connsiteX7" fmla="*/ 361065 w 352425"/>
                <a:gd name="connsiteY7" fmla="*/ 131116 h 323850"/>
                <a:gd name="connsiteX8" fmla="*/ 349635 w 352425"/>
                <a:gd name="connsiteY8" fmla="*/ 6377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2425" h="323850">
                  <a:moveTo>
                    <a:pt x="349635" y="63774"/>
                  </a:moveTo>
                  <a:cubicBezTo>
                    <a:pt x="328775" y="16435"/>
                    <a:pt x="282293" y="-15474"/>
                    <a:pt x="224000" y="7767"/>
                  </a:cubicBezTo>
                  <a:cubicBezTo>
                    <a:pt x="187900" y="22150"/>
                    <a:pt x="165040" y="55583"/>
                    <a:pt x="162373" y="91968"/>
                  </a:cubicBezTo>
                  <a:cubicBezTo>
                    <a:pt x="135417" y="67489"/>
                    <a:pt x="95889" y="58821"/>
                    <a:pt x="59694" y="73204"/>
                  </a:cubicBezTo>
                  <a:cubicBezTo>
                    <a:pt x="-20031" y="104922"/>
                    <a:pt x="-13554" y="201696"/>
                    <a:pt x="41787" y="251417"/>
                  </a:cubicBezTo>
                  <a:cubicBezTo>
                    <a:pt x="100270" y="303995"/>
                    <a:pt x="178375" y="327807"/>
                    <a:pt x="256004" y="329046"/>
                  </a:cubicBezTo>
                  <a:lnTo>
                    <a:pt x="257242" y="328569"/>
                  </a:lnTo>
                  <a:cubicBezTo>
                    <a:pt x="309630" y="277325"/>
                    <a:pt x="355350" y="205697"/>
                    <a:pt x="361065" y="131116"/>
                  </a:cubicBezTo>
                  <a:cubicBezTo>
                    <a:pt x="362970" y="107875"/>
                    <a:pt x="358683" y="84348"/>
                    <a:pt x="349635" y="63774"/>
                  </a:cubicBezTo>
                  <a:close/>
                </a:path>
              </a:pathLst>
            </a:custGeom>
            <a:solidFill>
              <a:srgbClr val="F4F5F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A3EC4A5-CE10-43F2-8783-886524EB1AB2}"/>
              </a:ext>
            </a:extLst>
          </p:cNvPr>
          <p:cNvGrpSpPr/>
          <p:nvPr/>
        </p:nvGrpSpPr>
        <p:grpSpPr>
          <a:xfrm rot="2917994">
            <a:off x="3167304" y="3300520"/>
            <a:ext cx="594825" cy="526455"/>
            <a:chOff x="1644063" y="6099154"/>
            <a:chExt cx="828675" cy="733425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7EE3E34-A89E-4F6F-BBCB-66B5854AFA70}"/>
                </a:ext>
              </a:extLst>
            </p:cNvPr>
            <p:cNvSpPr/>
            <p:nvPr/>
          </p:nvSpPr>
          <p:spPr>
            <a:xfrm>
              <a:off x="1644063" y="6099154"/>
              <a:ext cx="828675" cy="733425"/>
            </a:xfrm>
            <a:custGeom>
              <a:avLst/>
              <a:gdLst>
                <a:gd name="connsiteX0" fmla="*/ 730581 w 828675"/>
                <a:gd name="connsiteY0" fmla="*/ 81167 h 733425"/>
                <a:gd name="connsiteX1" fmla="*/ 191371 w 828675"/>
                <a:gd name="connsiteY1" fmla="*/ 1347 h 733425"/>
                <a:gd name="connsiteX2" fmla="*/ 50496 w 828675"/>
                <a:gd name="connsiteY2" fmla="*/ 105836 h 733425"/>
                <a:gd name="connsiteX3" fmla="*/ 1347 w 828675"/>
                <a:gd name="connsiteY3" fmla="*/ 437497 h 733425"/>
                <a:gd name="connsiteX4" fmla="*/ 105836 w 828675"/>
                <a:gd name="connsiteY4" fmla="*/ 578372 h 733425"/>
                <a:gd name="connsiteX5" fmla="*/ 296051 w 828675"/>
                <a:gd name="connsiteY5" fmla="*/ 606566 h 733425"/>
                <a:gd name="connsiteX6" fmla="*/ 335960 w 828675"/>
                <a:gd name="connsiteY6" fmla="*/ 718865 h 733425"/>
                <a:gd name="connsiteX7" fmla="*/ 399492 w 828675"/>
                <a:gd name="connsiteY7" fmla="*/ 727057 h 733425"/>
                <a:gd name="connsiteX8" fmla="*/ 464643 w 828675"/>
                <a:gd name="connsiteY8" fmla="*/ 631521 h 733425"/>
                <a:gd name="connsiteX9" fmla="*/ 645047 w 828675"/>
                <a:gd name="connsiteY9" fmla="*/ 658286 h 733425"/>
                <a:gd name="connsiteX10" fmla="*/ 785921 w 828675"/>
                <a:gd name="connsiteY10" fmla="*/ 553797 h 733425"/>
                <a:gd name="connsiteX11" fmla="*/ 835070 w 828675"/>
                <a:gd name="connsiteY11" fmla="*/ 222137 h 733425"/>
                <a:gd name="connsiteX12" fmla="*/ 730581 w 828675"/>
                <a:gd name="connsiteY12" fmla="*/ 81167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28675" h="733425">
                  <a:moveTo>
                    <a:pt x="730581" y="81167"/>
                  </a:moveTo>
                  <a:lnTo>
                    <a:pt x="191371" y="1347"/>
                  </a:lnTo>
                  <a:cubicBezTo>
                    <a:pt x="123648" y="-8654"/>
                    <a:pt x="60593" y="38114"/>
                    <a:pt x="50496" y="105836"/>
                  </a:cubicBezTo>
                  <a:lnTo>
                    <a:pt x="1347" y="437497"/>
                  </a:lnTo>
                  <a:cubicBezTo>
                    <a:pt x="-8654" y="505220"/>
                    <a:pt x="38114" y="568275"/>
                    <a:pt x="105836" y="578372"/>
                  </a:cubicBezTo>
                  <a:lnTo>
                    <a:pt x="296051" y="606566"/>
                  </a:lnTo>
                  <a:lnTo>
                    <a:pt x="335960" y="718865"/>
                  </a:lnTo>
                  <a:cubicBezTo>
                    <a:pt x="345771" y="746583"/>
                    <a:pt x="382919" y="751346"/>
                    <a:pt x="399492" y="727057"/>
                  </a:cubicBezTo>
                  <a:lnTo>
                    <a:pt x="464643" y="631521"/>
                  </a:lnTo>
                  <a:lnTo>
                    <a:pt x="645047" y="658286"/>
                  </a:lnTo>
                  <a:cubicBezTo>
                    <a:pt x="712769" y="668288"/>
                    <a:pt x="775825" y="621520"/>
                    <a:pt x="785921" y="553797"/>
                  </a:cubicBezTo>
                  <a:lnTo>
                    <a:pt x="835070" y="222137"/>
                  </a:lnTo>
                  <a:cubicBezTo>
                    <a:pt x="845167" y="154223"/>
                    <a:pt x="798304" y="91168"/>
                    <a:pt x="730581" y="81167"/>
                  </a:cubicBezTo>
                  <a:close/>
                </a:path>
              </a:pathLst>
            </a:custGeom>
            <a:solidFill>
              <a:srgbClr val="F9F9F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B1CB38F-1B02-446F-AAA7-0CDBAE0669BB}"/>
                </a:ext>
              </a:extLst>
            </p:cNvPr>
            <p:cNvSpPr/>
            <p:nvPr/>
          </p:nvSpPr>
          <p:spPr>
            <a:xfrm>
              <a:off x="1802950" y="6169087"/>
              <a:ext cx="514350" cy="514350"/>
            </a:xfrm>
            <a:custGeom>
              <a:avLst/>
              <a:gdLst>
                <a:gd name="connsiteX0" fmla="*/ 484072 w 514350"/>
                <a:gd name="connsiteY0" fmla="*/ 224981 h 514350"/>
                <a:gd name="connsiteX1" fmla="*/ 293201 w 514350"/>
                <a:gd name="connsiteY1" fmla="*/ 484072 h 514350"/>
                <a:gd name="connsiteX2" fmla="*/ 34110 w 514350"/>
                <a:gd name="connsiteY2" fmla="*/ 293201 h 514350"/>
                <a:gd name="connsiteX3" fmla="*/ 224981 w 514350"/>
                <a:gd name="connsiteY3" fmla="*/ 34110 h 514350"/>
                <a:gd name="connsiteX4" fmla="*/ 484072 w 514350"/>
                <a:gd name="connsiteY4" fmla="*/ 224981 h 514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4350" h="514350">
                  <a:moveTo>
                    <a:pt x="484072" y="224981"/>
                  </a:moveTo>
                  <a:cubicBezTo>
                    <a:pt x="502910" y="349234"/>
                    <a:pt x="417455" y="465233"/>
                    <a:pt x="293201" y="484072"/>
                  </a:cubicBezTo>
                  <a:cubicBezTo>
                    <a:pt x="168948" y="502910"/>
                    <a:pt x="52949" y="417455"/>
                    <a:pt x="34110" y="293201"/>
                  </a:cubicBezTo>
                  <a:cubicBezTo>
                    <a:pt x="15272" y="168947"/>
                    <a:pt x="100727" y="52948"/>
                    <a:pt x="224981" y="34110"/>
                  </a:cubicBezTo>
                  <a:cubicBezTo>
                    <a:pt x="349234" y="15272"/>
                    <a:pt x="465233" y="100727"/>
                    <a:pt x="484072" y="224981"/>
                  </a:cubicBezTo>
                  <a:close/>
                </a:path>
              </a:pathLst>
            </a:custGeom>
            <a:solidFill>
              <a:srgbClr val="F2D46A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B58E91F0-CCD9-4F28-92FA-D949D94BA955}"/>
                </a:ext>
              </a:extLst>
            </p:cNvPr>
            <p:cNvSpPr/>
            <p:nvPr/>
          </p:nvSpPr>
          <p:spPr>
            <a:xfrm>
              <a:off x="1931922" y="6306813"/>
              <a:ext cx="57150" cy="66675"/>
            </a:xfrm>
            <a:custGeom>
              <a:avLst/>
              <a:gdLst>
                <a:gd name="connsiteX0" fmla="*/ 8763 w 57150"/>
                <a:gd name="connsiteY0" fmla="*/ 0 h 66675"/>
                <a:gd name="connsiteX1" fmla="*/ 61246 w 57150"/>
                <a:gd name="connsiteY1" fmla="*/ 39815 h 66675"/>
                <a:gd name="connsiteX2" fmla="*/ 0 w 57150"/>
                <a:gd name="connsiteY2" fmla="*/ 6734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66675">
                  <a:moveTo>
                    <a:pt x="8763" y="0"/>
                  </a:moveTo>
                  <a:lnTo>
                    <a:pt x="61246" y="39815"/>
                  </a:lnTo>
                  <a:lnTo>
                    <a:pt x="0" y="67342"/>
                  </a:lnTo>
                </a:path>
              </a:pathLst>
            </a:custGeom>
            <a:noFill/>
            <a:ln w="22337" cap="rnd">
              <a:solidFill>
                <a:srgbClr val="252935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75FC0443-7DE5-4A97-8986-FE08FFFE005F}"/>
                </a:ext>
              </a:extLst>
            </p:cNvPr>
            <p:cNvSpPr/>
            <p:nvPr/>
          </p:nvSpPr>
          <p:spPr>
            <a:xfrm>
              <a:off x="2152140" y="6338722"/>
              <a:ext cx="57150" cy="66675"/>
            </a:xfrm>
            <a:custGeom>
              <a:avLst/>
              <a:gdLst>
                <a:gd name="connsiteX0" fmla="*/ 52483 w 57150"/>
                <a:gd name="connsiteY0" fmla="*/ 67342 h 66675"/>
                <a:gd name="connsiteX1" fmla="*/ 0 w 57150"/>
                <a:gd name="connsiteY1" fmla="*/ 27432 h 66675"/>
                <a:gd name="connsiteX2" fmla="*/ 61246 w 57150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66675">
                  <a:moveTo>
                    <a:pt x="52483" y="67342"/>
                  </a:moveTo>
                  <a:lnTo>
                    <a:pt x="0" y="27432"/>
                  </a:lnTo>
                  <a:lnTo>
                    <a:pt x="61246" y="0"/>
                  </a:lnTo>
                </a:path>
              </a:pathLst>
            </a:custGeom>
            <a:noFill/>
            <a:ln w="22337" cap="rnd">
              <a:solidFill>
                <a:srgbClr val="252935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2EED3F2-E43F-41F4-9E5F-DC830E7D75C6}"/>
                </a:ext>
              </a:extLst>
            </p:cNvPr>
            <p:cNvSpPr/>
            <p:nvPr/>
          </p:nvSpPr>
          <p:spPr>
            <a:xfrm>
              <a:off x="1932208" y="6475709"/>
              <a:ext cx="238125" cy="95250"/>
            </a:xfrm>
            <a:custGeom>
              <a:avLst/>
              <a:gdLst>
                <a:gd name="connsiteX0" fmla="*/ 0 w 238125"/>
                <a:gd name="connsiteY0" fmla="*/ 18556 h 95250"/>
                <a:gd name="connsiteX1" fmla="*/ 112776 w 238125"/>
                <a:gd name="connsiteY1" fmla="*/ 97138 h 95250"/>
                <a:gd name="connsiteX2" fmla="*/ 240697 w 238125"/>
                <a:gd name="connsiteY2" fmla="*/ 46655 h 95250"/>
                <a:gd name="connsiteX3" fmla="*/ 123920 w 238125"/>
                <a:gd name="connsiteY3" fmla="*/ 2078 h 95250"/>
                <a:gd name="connsiteX4" fmla="*/ 0 w 238125"/>
                <a:gd name="connsiteY4" fmla="*/ 1855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125" h="95250">
                  <a:moveTo>
                    <a:pt x="0" y="18556"/>
                  </a:moveTo>
                  <a:cubicBezTo>
                    <a:pt x="21336" y="60466"/>
                    <a:pt x="62579" y="91232"/>
                    <a:pt x="112776" y="97138"/>
                  </a:cubicBezTo>
                  <a:cubicBezTo>
                    <a:pt x="162973" y="103043"/>
                    <a:pt x="210217" y="82565"/>
                    <a:pt x="240697" y="46655"/>
                  </a:cubicBezTo>
                  <a:cubicBezTo>
                    <a:pt x="216979" y="25224"/>
                    <a:pt x="174117" y="7984"/>
                    <a:pt x="123920" y="2078"/>
                  </a:cubicBezTo>
                  <a:cubicBezTo>
                    <a:pt x="73628" y="-3827"/>
                    <a:pt x="28003" y="3221"/>
                    <a:pt x="0" y="18556"/>
                  </a:cubicBezTo>
                  <a:close/>
                </a:path>
              </a:pathLst>
            </a:custGeom>
            <a:solidFill>
              <a:srgbClr val="DB3A63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70A5929-B762-414E-8079-8F679992661F}"/>
                </a:ext>
              </a:extLst>
            </p:cNvPr>
            <p:cNvSpPr/>
            <p:nvPr/>
          </p:nvSpPr>
          <p:spPr>
            <a:xfrm>
              <a:off x="1916368" y="6406254"/>
              <a:ext cx="285750" cy="114300"/>
            </a:xfrm>
            <a:custGeom>
              <a:avLst/>
              <a:gdLst>
                <a:gd name="connsiteX0" fmla="*/ 1647 w 285750"/>
                <a:gd name="connsiteY0" fmla="*/ 0 h 114300"/>
                <a:gd name="connsiteX1" fmla="*/ 980 w 285750"/>
                <a:gd name="connsiteY1" fmla="*/ 5048 h 114300"/>
                <a:gd name="connsiteX2" fmla="*/ 15839 w 285750"/>
                <a:gd name="connsiteY2" fmla="*/ 88011 h 114300"/>
                <a:gd name="connsiteX3" fmla="*/ 139759 w 285750"/>
                <a:gd name="connsiteY3" fmla="*/ 71533 h 114300"/>
                <a:gd name="connsiteX4" fmla="*/ 256536 w 285750"/>
                <a:gd name="connsiteY4" fmla="*/ 116110 h 114300"/>
                <a:gd name="connsiteX5" fmla="*/ 290159 w 285750"/>
                <a:gd name="connsiteY5" fmla="*/ 38862 h 114300"/>
                <a:gd name="connsiteX6" fmla="*/ 1647 w 285750"/>
                <a:gd name="connsiteY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0" h="114300">
                  <a:moveTo>
                    <a:pt x="1647" y="0"/>
                  </a:moveTo>
                  <a:cubicBezTo>
                    <a:pt x="1361" y="1715"/>
                    <a:pt x="1171" y="3429"/>
                    <a:pt x="980" y="5048"/>
                  </a:cubicBezTo>
                  <a:cubicBezTo>
                    <a:pt x="-2449" y="34671"/>
                    <a:pt x="3266" y="63246"/>
                    <a:pt x="15839" y="88011"/>
                  </a:cubicBezTo>
                  <a:cubicBezTo>
                    <a:pt x="43938" y="72676"/>
                    <a:pt x="89467" y="65627"/>
                    <a:pt x="139759" y="71533"/>
                  </a:cubicBezTo>
                  <a:cubicBezTo>
                    <a:pt x="189956" y="77438"/>
                    <a:pt x="232819" y="94679"/>
                    <a:pt x="256536" y="116110"/>
                  </a:cubicBezTo>
                  <a:cubicBezTo>
                    <a:pt x="274538" y="94964"/>
                    <a:pt x="286635" y="68485"/>
                    <a:pt x="290159" y="38862"/>
                  </a:cubicBezTo>
                  <a:lnTo>
                    <a:pt x="1647" y="0"/>
                  </a:lnTo>
                  <a:close/>
                </a:path>
              </a:pathLst>
            </a:custGeom>
            <a:solidFill>
              <a:srgbClr val="252935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9" name="Graphic 58">
            <a:extLst>
              <a:ext uri="{FF2B5EF4-FFF2-40B4-BE49-F238E27FC236}">
                <a16:creationId xmlns:a16="http://schemas.microsoft.com/office/drawing/2014/main" id="{EBD44257-EF71-4321-8011-620DDF2C01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50985" y="4959179"/>
            <a:ext cx="3595642" cy="1898822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8FBFD9DB-8811-4B4E-8EA9-236F786354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5899" y="1627880"/>
            <a:ext cx="2724150" cy="6096908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E74A2E9E-539F-41EF-B425-A92F32645B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439041" y="5419405"/>
            <a:ext cx="2724150" cy="1438596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EB3DEA1A-F5E8-43BC-A8D6-1817351AA5E3}"/>
              </a:ext>
            </a:extLst>
          </p:cNvPr>
          <p:cNvGrpSpPr/>
          <p:nvPr/>
        </p:nvGrpSpPr>
        <p:grpSpPr>
          <a:xfrm rot="20887923">
            <a:off x="2497786" y="1981174"/>
            <a:ext cx="676870" cy="600722"/>
            <a:chOff x="212807" y="3831951"/>
            <a:chExt cx="1524000" cy="1352550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5B03640-D481-4060-A712-84B478E27F04}"/>
                </a:ext>
              </a:extLst>
            </p:cNvPr>
            <p:cNvSpPr/>
            <p:nvPr/>
          </p:nvSpPr>
          <p:spPr>
            <a:xfrm>
              <a:off x="212807" y="3831951"/>
              <a:ext cx="1524000" cy="1352550"/>
            </a:xfrm>
            <a:custGeom>
              <a:avLst/>
              <a:gdLst>
                <a:gd name="connsiteX0" fmla="*/ 1319952 w 1524000"/>
                <a:gd name="connsiteY0" fmla="*/ 95799 h 1352550"/>
                <a:gd name="connsiteX1" fmla="*/ 310493 w 1524000"/>
                <a:gd name="connsiteY1" fmla="*/ 1025 h 1352550"/>
                <a:gd name="connsiteX2" fmla="*/ 59318 w 1524000"/>
                <a:gd name="connsiteY2" fmla="*/ 209147 h 1352550"/>
                <a:gd name="connsiteX3" fmla="*/ 1025 w 1524000"/>
                <a:gd name="connsiteY3" fmla="*/ 830081 h 1352550"/>
                <a:gd name="connsiteX4" fmla="*/ 209147 w 1524000"/>
                <a:gd name="connsiteY4" fmla="*/ 1081256 h 1352550"/>
                <a:gd name="connsiteX5" fmla="*/ 565191 w 1524000"/>
                <a:gd name="connsiteY5" fmla="*/ 1114688 h 1352550"/>
                <a:gd name="connsiteX6" fmla="*/ 650440 w 1524000"/>
                <a:gd name="connsiteY6" fmla="*/ 1319381 h 1352550"/>
                <a:gd name="connsiteX7" fmla="*/ 769312 w 1524000"/>
                <a:gd name="connsiteY7" fmla="*/ 1328334 h 1352550"/>
                <a:gd name="connsiteX8" fmla="*/ 880850 w 1524000"/>
                <a:gd name="connsiteY8" fmla="*/ 1144311 h 1352550"/>
                <a:gd name="connsiteX9" fmla="*/ 1218606 w 1524000"/>
                <a:gd name="connsiteY9" fmla="*/ 1176029 h 1352550"/>
                <a:gd name="connsiteX10" fmla="*/ 1469780 w 1524000"/>
                <a:gd name="connsiteY10" fmla="*/ 967908 h 1352550"/>
                <a:gd name="connsiteX11" fmla="*/ 1528073 w 1524000"/>
                <a:gd name="connsiteY11" fmla="*/ 346973 h 1352550"/>
                <a:gd name="connsiteX12" fmla="*/ 1319952 w 1524000"/>
                <a:gd name="connsiteY12" fmla="*/ 95799 h 1352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24000" h="1352550">
                  <a:moveTo>
                    <a:pt x="1319952" y="95799"/>
                  </a:moveTo>
                  <a:lnTo>
                    <a:pt x="310493" y="1025"/>
                  </a:lnTo>
                  <a:cubicBezTo>
                    <a:pt x="183620" y="-10881"/>
                    <a:pt x="71225" y="82274"/>
                    <a:pt x="59318" y="209147"/>
                  </a:cubicBezTo>
                  <a:lnTo>
                    <a:pt x="1025" y="830081"/>
                  </a:lnTo>
                  <a:cubicBezTo>
                    <a:pt x="-10881" y="956954"/>
                    <a:pt x="82274" y="1069349"/>
                    <a:pt x="209147" y="1081256"/>
                  </a:cubicBezTo>
                  <a:lnTo>
                    <a:pt x="565191" y="1114688"/>
                  </a:lnTo>
                  <a:lnTo>
                    <a:pt x="650440" y="1319381"/>
                  </a:lnTo>
                  <a:cubicBezTo>
                    <a:pt x="671490" y="1369863"/>
                    <a:pt x="740927" y="1375102"/>
                    <a:pt x="769312" y="1328334"/>
                  </a:cubicBezTo>
                  <a:lnTo>
                    <a:pt x="880850" y="1144311"/>
                  </a:lnTo>
                  <a:lnTo>
                    <a:pt x="1218606" y="1176029"/>
                  </a:lnTo>
                  <a:cubicBezTo>
                    <a:pt x="1345384" y="1187936"/>
                    <a:pt x="1457874" y="1094781"/>
                    <a:pt x="1469780" y="967908"/>
                  </a:cubicBezTo>
                  <a:lnTo>
                    <a:pt x="1528073" y="346973"/>
                  </a:lnTo>
                  <a:cubicBezTo>
                    <a:pt x="1539980" y="220100"/>
                    <a:pt x="1446825" y="107705"/>
                    <a:pt x="1319952" y="95799"/>
                  </a:cubicBezTo>
                  <a:close/>
                </a:path>
              </a:pathLst>
            </a:custGeom>
            <a:solidFill>
              <a:srgbClr val="407FFE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342E5D2-7FE6-4D72-BF64-D125C447AAAE}"/>
                </a:ext>
              </a:extLst>
            </p:cNvPr>
            <p:cNvSpPr/>
            <p:nvPr/>
          </p:nvSpPr>
          <p:spPr>
            <a:xfrm>
              <a:off x="863273" y="4091775"/>
              <a:ext cx="495300" cy="590550"/>
            </a:xfrm>
            <a:custGeom>
              <a:avLst/>
              <a:gdLst>
                <a:gd name="connsiteX0" fmla="*/ 65316 w 495300"/>
                <a:gd name="connsiteY0" fmla="*/ 570448 h 590550"/>
                <a:gd name="connsiteX1" fmla="*/ 350304 w 495300"/>
                <a:gd name="connsiteY1" fmla="*/ 596546 h 590550"/>
                <a:gd name="connsiteX2" fmla="*/ 356972 w 495300"/>
                <a:gd name="connsiteY2" fmla="*/ 595879 h 590550"/>
                <a:gd name="connsiteX3" fmla="*/ 400596 w 495300"/>
                <a:gd name="connsiteY3" fmla="*/ 566447 h 590550"/>
                <a:gd name="connsiteX4" fmla="*/ 402977 w 495300"/>
                <a:gd name="connsiteY4" fmla="*/ 528728 h 590550"/>
                <a:gd name="connsiteX5" fmla="*/ 402977 w 495300"/>
                <a:gd name="connsiteY5" fmla="*/ 528728 h 590550"/>
                <a:gd name="connsiteX6" fmla="*/ 411359 w 495300"/>
                <a:gd name="connsiteY6" fmla="*/ 507964 h 590550"/>
                <a:gd name="connsiteX7" fmla="*/ 411359 w 495300"/>
                <a:gd name="connsiteY7" fmla="*/ 507964 h 590550"/>
                <a:gd name="connsiteX8" fmla="*/ 435362 w 495300"/>
                <a:gd name="connsiteY8" fmla="*/ 445194 h 590550"/>
                <a:gd name="connsiteX9" fmla="*/ 435362 w 495300"/>
                <a:gd name="connsiteY9" fmla="*/ 445194 h 590550"/>
                <a:gd name="connsiteX10" fmla="*/ 442982 w 495300"/>
                <a:gd name="connsiteY10" fmla="*/ 423572 h 590550"/>
                <a:gd name="connsiteX11" fmla="*/ 442982 w 495300"/>
                <a:gd name="connsiteY11" fmla="*/ 423572 h 590550"/>
                <a:gd name="connsiteX12" fmla="*/ 462318 w 495300"/>
                <a:gd name="connsiteY12" fmla="*/ 365374 h 590550"/>
                <a:gd name="connsiteX13" fmla="*/ 462318 w 495300"/>
                <a:gd name="connsiteY13" fmla="*/ 365374 h 590550"/>
                <a:gd name="connsiteX14" fmla="*/ 470510 w 495300"/>
                <a:gd name="connsiteY14" fmla="*/ 342991 h 590550"/>
                <a:gd name="connsiteX15" fmla="*/ 470510 w 495300"/>
                <a:gd name="connsiteY15" fmla="*/ 342991 h 590550"/>
                <a:gd name="connsiteX16" fmla="*/ 497275 w 495300"/>
                <a:gd name="connsiteY16" fmla="*/ 301843 h 590550"/>
                <a:gd name="connsiteX17" fmla="*/ 449173 w 495300"/>
                <a:gd name="connsiteY17" fmla="*/ 274887 h 590550"/>
                <a:gd name="connsiteX18" fmla="*/ 259435 w 495300"/>
                <a:gd name="connsiteY18" fmla="*/ 255837 h 590550"/>
                <a:gd name="connsiteX19" fmla="*/ 245053 w 495300"/>
                <a:gd name="connsiteY19" fmla="*/ 230786 h 590550"/>
                <a:gd name="connsiteX20" fmla="*/ 245053 w 495300"/>
                <a:gd name="connsiteY20" fmla="*/ 230786 h 590550"/>
                <a:gd name="connsiteX21" fmla="*/ 274009 w 495300"/>
                <a:gd name="connsiteY21" fmla="*/ 104199 h 590550"/>
                <a:gd name="connsiteX22" fmla="*/ 249625 w 495300"/>
                <a:gd name="connsiteY22" fmla="*/ 15045 h 590550"/>
                <a:gd name="connsiteX23" fmla="*/ 243910 w 495300"/>
                <a:gd name="connsiteY23" fmla="*/ 7425 h 590550"/>
                <a:gd name="connsiteX24" fmla="*/ 233623 w 495300"/>
                <a:gd name="connsiteY24" fmla="*/ 1710 h 590550"/>
                <a:gd name="connsiteX25" fmla="*/ 207334 w 495300"/>
                <a:gd name="connsiteY25" fmla="*/ 3520 h 590550"/>
                <a:gd name="connsiteX26" fmla="*/ 197047 w 495300"/>
                <a:gd name="connsiteY26" fmla="*/ 18093 h 590550"/>
                <a:gd name="connsiteX27" fmla="*/ 189427 w 495300"/>
                <a:gd name="connsiteY27" fmla="*/ 101722 h 590550"/>
                <a:gd name="connsiteX28" fmla="*/ 188093 w 495300"/>
                <a:gd name="connsiteY28" fmla="*/ 104580 h 590550"/>
                <a:gd name="connsiteX29" fmla="*/ 67983 w 495300"/>
                <a:gd name="connsiteY29" fmla="*/ 270315 h 590550"/>
                <a:gd name="connsiteX30" fmla="*/ 65887 w 495300"/>
                <a:gd name="connsiteY30" fmla="*/ 272506 h 590550"/>
                <a:gd name="connsiteX31" fmla="*/ 29121 w 495300"/>
                <a:gd name="connsiteY31" fmla="*/ 291270 h 590550"/>
                <a:gd name="connsiteX32" fmla="*/ 21025 w 495300"/>
                <a:gd name="connsiteY32" fmla="*/ 293365 h 590550"/>
                <a:gd name="connsiteX33" fmla="*/ 70 w 495300"/>
                <a:gd name="connsiteY33" fmla="*/ 522156 h 590550"/>
                <a:gd name="connsiteX34" fmla="*/ 16167 w 495300"/>
                <a:gd name="connsiteY34" fmla="*/ 541492 h 590550"/>
                <a:gd name="connsiteX35" fmla="*/ 16167 w 495300"/>
                <a:gd name="connsiteY35" fmla="*/ 541492 h 590550"/>
                <a:gd name="connsiteX36" fmla="*/ 24835 w 495300"/>
                <a:gd name="connsiteY36" fmla="*/ 544635 h 590550"/>
                <a:gd name="connsiteX37" fmla="*/ 56648 w 495300"/>
                <a:gd name="connsiteY37" fmla="*/ 567114 h 590550"/>
                <a:gd name="connsiteX38" fmla="*/ 65316 w 495300"/>
                <a:gd name="connsiteY38" fmla="*/ 570448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95300" h="590550">
                  <a:moveTo>
                    <a:pt x="65316" y="570448"/>
                  </a:moveTo>
                  <a:lnTo>
                    <a:pt x="350304" y="596546"/>
                  </a:lnTo>
                  <a:cubicBezTo>
                    <a:pt x="352590" y="596737"/>
                    <a:pt x="354781" y="596546"/>
                    <a:pt x="356972" y="595879"/>
                  </a:cubicBezTo>
                  <a:cubicBezTo>
                    <a:pt x="367544" y="592641"/>
                    <a:pt x="390309" y="583973"/>
                    <a:pt x="400596" y="566447"/>
                  </a:cubicBezTo>
                  <a:cubicBezTo>
                    <a:pt x="406787" y="555970"/>
                    <a:pt x="407549" y="543587"/>
                    <a:pt x="402977" y="528728"/>
                  </a:cubicBezTo>
                  <a:lnTo>
                    <a:pt x="402977" y="528728"/>
                  </a:lnTo>
                  <a:cubicBezTo>
                    <a:pt x="400501" y="520727"/>
                    <a:pt x="404025" y="512059"/>
                    <a:pt x="411359" y="507964"/>
                  </a:cubicBezTo>
                  <a:lnTo>
                    <a:pt x="411359" y="507964"/>
                  </a:lnTo>
                  <a:cubicBezTo>
                    <a:pt x="415264" y="505678"/>
                    <a:pt x="450221" y="484532"/>
                    <a:pt x="435362" y="445194"/>
                  </a:cubicBezTo>
                  <a:lnTo>
                    <a:pt x="435362" y="445194"/>
                  </a:lnTo>
                  <a:cubicBezTo>
                    <a:pt x="432314" y="437098"/>
                    <a:pt x="435553" y="427954"/>
                    <a:pt x="442982" y="423572"/>
                  </a:cubicBezTo>
                  <a:lnTo>
                    <a:pt x="442982" y="423572"/>
                  </a:lnTo>
                  <a:cubicBezTo>
                    <a:pt x="446411" y="421477"/>
                    <a:pt x="476986" y="401665"/>
                    <a:pt x="462318" y="365374"/>
                  </a:cubicBezTo>
                  <a:lnTo>
                    <a:pt x="462318" y="365374"/>
                  </a:lnTo>
                  <a:cubicBezTo>
                    <a:pt x="458889" y="356897"/>
                    <a:pt x="462413" y="347277"/>
                    <a:pt x="470510" y="342991"/>
                  </a:cubicBezTo>
                  <a:lnTo>
                    <a:pt x="470510" y="342991"/>
                  </a:lnTo>
                  <a:cubicBezTo>
                    <a:pt x="470700" y="342895"/>
                    <a:pt x="499275" y="327084"/>
                    <a:pt x="497275" y="301843"/>
                  </a:cubicBezTo>
                  <a:cubicBezTo>
                    <a:pt x="495751" y="282983"/>
                    <a:pt x="458984" y="275839"/>
                    <a:pt x="449173" y="274887"/>
                  </a:cubicBezTo>
                  <a:lnTo>
                    <a:pt x="259435" y="255837"/>
                  </a:lnTo>
                  <a:cubicBezTo>
                    <a:pt x="247339" y="254599"/>
                    <a:pt x="240004" y="241835"/>
                    <a:pt x="245053" y="230786"/>
                  </a:cubicBezTo>
                  <a:lnTo>
                    <a:pt x="245053" y="230786"/>
                  </a:lnTo>
                  <a:cubicBezTo>
                    <a:pt x="255149" y="208688"/>
                    <a:pt x="280010" y="142966"/>
                    <a:pt x="274009" y="104199"/>
                  </a:cubicBezTo>
                  <a:cubicBezTo>
                    <a:pt x="268008" y="65432"/>
                    <a:pt x="255149" y="29332"/>
                    <a:pt x="249625" y="15045"/>
                  </a:cubicBezTo>
                  <a:cubicBezTo>
                    <a:pt x="248482" y="11997"/>
                    <a:pt x="246481" y="9425"/>
                    <a:pt x="243910" y="7425"/>
                  </a:cubicBezTo>
                  <a:cubicBezTo>
                    <a:pt x="241338" y="5425"/>
                    <a:pt x="237814" y="3234"/>
                    <a:pt x="233623" y="1710"/>
                  </a:cubicBezTo>
                  <a:cubicBezTo>
                    <a:pt x="225526" y="-1052"/>
                    <a:pt x="216668" y="-481"/>
                    <a:pt x="207334" y="3520"/>
                  </a:cubicBezTo>
                  <a:cubicBezTo>
                    <a:pt x="201523" y="5996"/>
                    <a:pt x="197618" y="11806"/>
                    <a:pt x="197047" y="18093"/>
                  </a:cubicBezTo>
                  <a:lnTo>
                    <a:pt x="189427" y="101722"/>
                  </a:lnTo>
                  <a:lnTo>
                    <a:pt x="188093" y="104580"/>
                  </a:lnTo>
                  <a:cubicBezTo>
                    <a:pt x="186569" y="107818"/>
                    <a:pt x="149803" y="184304"/>
                    <a:pt x="67983" y="270315"/>
                  </a:cubicBezTo>
                  <a:lnTo>
                    <a:pt x="65887" y="272506"/>
                  </a:lnTo>
                  <a:lnTo>
                    <a:pt x="29121" y="291270"/>
                  </a:lnTo>
                  <a:lnTo>
                    <a:pt x="21025" y="293365"/>
                  </a:lnTo>
                  <a:lnTo>
                    <a:pt x="70" y="522156"/>
                  </a:lnTo>
                  <a:cubicBezTo>
                    <a:pt x="-788" y="531967"/>
                    <a:pt x="6356" y="540539"/>
                    <a:pt x="16167" y="541492"/>
                  </a:cubicBezTo>
                  <a:lnTo>
                    <a:pt x="16167" y="541492"/>
                  </a:lnTo>
                  <a:cubicBezTo>
                    <a:pt x="19310" y="541777"/>
                    <a:pt x="22263" y="542825"/>
                    <a:pt x="24835" y="544635"/>
                  </a:cubicBezTo>
                  <a:lnTo>
                    <a:pt x="56648" y="567114"/>
                  </a:lnTo>
                  <a:cubicBezTo>
                    <a:pt x="59315" y="569019"/>
                    <a:pt x="62268" y="570162"/>
                    <a:pt x="65316" y="570448"/>
                  </a:cubicBezTo>
                  <a:close/>
                </a:path>
              </a:pathLst>
            </a:custGeom>
            <a:solidFill>
              <a:srgbClr val="EDF4F6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C8EF0A1-DE42-40E8-A1A1-B83680C36382}"/>
                </a:ext>
              </a:extLst>
            </p:cNvPr>
            <p:cNvSpPr/>
            <p:nvPr/>
          </p:nvSpPr>
          <p:spPr>
            <a:xfrm>
              <a:off x="642458" y="4346659"/>
              <a:ext cx="200025" cy="323850"/>
            </a:xfrm>
            <a:custGeom>
              <a:avLst/>
              <a:gdLst>
                <a:gd name="connsiteX0" fmla="*/ 0 w 200025"/>
                <a:gd name="connsiteY0" fmla="*/ 308801 h 323850"/>
                <a:gd name="connsiteX1" fmla="*/ 180118 w 200025"/>
                <a:gd name="connsiteY1" fmla="*/ 325279 h 323850"/>
                <a:gd name="connsiteX2" fmla="*/ 192976 w 200025"/>
                <a:gd name="connsiteY2" fmla="*/ 184690 h 323850"/>
                <a:gd name="connsiteX3" fmla="*/ 208407 w 200025"/>
                <a:gd name="connsiteY3" fmla="*/ 16478 h 323850"/>
                <a:gd name="connsiteX4" fmla="*/ 28289 w 200025"/>
                <a:gd name="connsiteY4" fmla="*/ 0 h 323850"/>
                <a:gd name="connsiteX5" fmla="*/ 0 w 200025"/>
                <a:gd name="connsiteY5" fmla="*/ 30880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025" h="323850">
                  <a:moveTo>
                    <a:pt x="0" y="308801"/>
                  </a:moveTo>
                  <a:lnTo>
                    <a:pt x="180118" y="325279"/>
                  </a:lnTo>
                  <a:lnTo>
                    <a:pt x="192976" y="184690"/>
                  </a:lnTo>
                  <a:lnTo>
                    <a:pt x="208407" y="16478"/>
                  </a:lnTo>
                  <a:lnTo>
                    <a:pt x="28289" y="0"/>
                  </a:lnTo>
                  <a:lnTo>
                    <a:pt x="0" y="308801"/>
                  </a:lnTo>
                  <a:close/>
                </a:path>
              </a:pathLst>
            </a:custGeom>
            <a:solidFill>
              <a:srgbClr val="EDF4F6"/>
            </a:solidFill>
            <a:ln w="9525" cap="flat">
              <a:noFill/>
              <a:prstDash val="solid"/>
              <a:miter/>
            </a:ln>
            <a:effectLst/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F013860-7EEE-4E13-8709-CB3A84DBEE71}"/>
              </a:ext>
            </a:extLst>
          </p:cNvPr>
          <p:cNvSpPr/>
          <p:nvPr/>
        </p:nvSpPr>
        <p:spPr>
          <a:xfrm>
            <a:off x="4301366" y="347617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ED345FC-28B5-40DD-83E6-12D1C049D463}"/>
              </a:ext>
            </a:extLst>
          </p:cNvPr>
          <p:cNvSpPr/>
          <p:nvPr/>
        </p:nvSpPr>
        <p:spPr>
          <a:xfrm>
            <a:off x="4301366" y="1449459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AF20AAF-F8B5-4C59-9A71-18C6B30FEC0E}"/>
              </a:ext>
            </a:extLst>
          </p:cNvPr>
          <p:cNvSpPr/>
          <p:nvPr/>
        </p:nvSpPr>
        <p:spPr>
          <a:xfrm>
            <a:off x="4301366" y="2551302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6319277-F970-44A6-96A5-8EE1BA9AEBF2}"/>
              </a:ext>
            </a:extLst>
          </p:cNvPr>
          <p:cNvSpPr/>
          <p:nvPr/>
        </p:nvSpPr>
        <p:spPr>
          <a:xfrm>
            <a:off x="4301366" y="3653144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EE53B54-DAC5-4221-AE62-FDC577B1151A}"/>
              </a:ext>
            </a:extLst>
          </p:cNvPr>
          <p:cNvSpPr/>
          <p:nvPr/>
        </p:nvSpPr>
        <p:spPr>
          <a:xfrm>
            <a:off x="4428438" y="465337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87625EB-742E-47F7-BB87-75EC1A279AE0}"/>
              </a:ext>
            </a:extLst>
          </p:cNvPr>
          <p:cNvSpPr/>
          <p:nvPr/>
        </p:nvSpPr>
        <p:spPr>
          <a:xfrm>
            <a:off x="4428438" y="1567178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DE09517-3ABE-4E7B-84D4-2172C044FB16}"/>
              </a:ext>
            </a:extLst>
          </p:cNvPr>
          <p:cNvSpPr/>
          <p:nvPr/>
        </p:nvSpPr>
        <p:spPr>
          <a:xfrm>
            <a:off x="4428438" y="2669021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710F99D-5217-431B-B42B-F6686867D9DA}"/>
              </a:ext>
            </a:extLst>
          </p:cNvPr>
          <p:cNvSpPr/>
          <p:nvPr/>
        </p:nvSpPr>
        <p:spPr>
          <a:xfrm>
            <a:off x="4428438" y="3770863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29487D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Franklin Gothic Demi" panose="020B0703020102020204" pitchFamily="34" charset="0"/>
              </a:rPr>
              <a:t>+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3A3055C-9921-4FC6-B563-D2BE977AD415}"/>
              </a:ext>
            </a:extLst>
          </p:cNvPr>
          <p:cNvSpPr txBox="1"/>
          <p:nvPr/>
        </p:nvSpPr>
        <p:spPr>
          <a:xfrm>
            <a:off x="5631250" y="626947"/>
            <a:ext cx="546865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Бесплатный официальный ресурс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4E613C-0D13-46A1-8BAC-4DCEDDE3B5A9}"/>
              </a:ext>
            </a:extLst>
          </p:cNvPr>
          <p:cNvSpPr txBox="1"/>
          <p:nvPr/>
        </p:nvSpPr>
        <p:spPr>
          <a:xfrm>
            <a:off x="5631250" y="1559970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Доступ к материалам, размещенных в </a:t>
            </a:r>
            <a:r>
              <a:rPr lang="ru-RU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Google</a:t>
            </a: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 хранилищах, возможен</a:t>
            </a:r>
            <a:b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с любого компьютера или гаджета с выходом в Интернет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8B6E60-0814-4D25-9D89-6A78FD2113DA}"/>
              </a:ext>
            </a:extLst>
          </p:cNvPr>
          <p:cNvSpPr txBox="1"/>
          <p:nvPr/>
        </p:nvSpPr>
        <p:spPr>
          <a:xfrm>
            <a:off x="5631250" y="2764925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Закладка разных вариантов доступа к </a:t>
            </a:r>
            <a:r>
              <a:rPr lang="ru-RU" sz="1400" dirty="0" err="1">
                <a:latin typeface="Segoe UI" panose="020B0502040204020203" pitchFamily="34" charset="0"/>
                <a:cs typeface="Segoe UI" panose="020B0502040204020203" pitchFamily="34" charset="0"/>
              </a:rPr>
              <a:t>Google</a:t>
            </a: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 документам: просмотр, комментирование, редактирование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3728C8-99CE-4633-ACB3-AC37ED396C84}"/>
              </a:ext>
            </a:extLst>
          </p:cNvPr>
          <p:cNvSpPr txBox="1"/>
          <p:nvPr/>
        </p:nvSpPr>
        <p:spPr>
          <a:xfrm>
            <a:off x="5631251" y="3860496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Возможность совместной работы с документами одновременно несколькими пользователями (классом).</a:t>
            </a:r>
          </a:p>
        </p:txBody>
      </p:sp>
      <p:sp>
        <p:nvSpPr>
          <p:cNvPr id="14" name="Rectangle: Rounded Corners 6">
            <a:extLst>
              <a:ext uri="{FF2B5EF4-FFF2-40B4-BE49-F238E27FC236}">
                <a16:creationId xmlns:a16="http://schemas.microsoft.com/office/drawing/2014/main" id="{1385E563-8D44-4230-869B-2ED424C9701F}"/>
              </a:ext>
            </a:extLst>
          </p:cNvPr>
          <p:cNvSpPr/>
          <p:nvPr/>
        </p:nvSpPr>
        <p:spPr>
          <a:xfrm>
            <a:off x="4301366" y="5724127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: Rounded Corners 16">
            <a:extLst>
              <a:ext uri="{FF2B5EF4-FFF2-40B4-BE49-F238E27FC236}">
                <a16:creationId xmlns:a16="http://schemas.microsoft.com/office/drawing/2014/main" id="{825CFCE6-5387-46BC-865A-FB9431247069}"/>
              </a:ext>
            </a:extLst>
          </p:cNvPr>
          <p:cNvSpPr/>
          <p:nvPr/>
        </p:nvSpPr>
        <p:spPr>
          <a:xfrm>
            <a:off x="4428438" y="5841846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FFC000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-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7C81E1C-95F4-420E-9B60-3EB7AC4AE534}"/>
              </a:ext>
            </a:extLst>
          </p:cNvPr>
          <p:cNvSpPr txBox="1"/>
          <p:nvPr/>
        </p:nvSpPr>
        <p:spPr>
          <a:xfrm>
            <a:off x="5631251" y="5901569"/>
            <a:ext cx="608276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Изменение в содержание таблиц может внести любой пользователь, у которого есть ссылка.</a:t>
            </a:r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35868334-496A-4042-BEB0-76EB71F9CB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4553" y="4643515"/>
            <a:ext cx="1371600" cy="1371600"/>
          </a:xfrm>
          <a:prstGeom prst="rect">
            <a:avLst/>
          </a:prstGeom>
        </p:spPr>
      </p:pic>
      <p:sp>
        <p:nvSpPr>
          <p:cNvPr id="71" name="Rectangle: Rounded Corners 6">
            <a:extLst>
              <a:ext uri="{FF2B5EF4-FFF2-40B4-BE49-F238E27FC236}">
                <a16:creationId xmlns:a16="http://schemas.microsoft.com/office/drawing/2014/main" id="{15766686-1BFC-47BE-BA4F-63DE913D5877}"/>
              </a:ext>
            </a:extLst>
          </p:cNvPr>
          <p:cNvSpPr/>
          <p:nvPr/>
        </p:nvSpPr>
        <p:spPr>
          <a:xfrm>
            <a:off x="4301366" y="4676499"/>
            <a:ext cx="7474989" cy="878104"/>
          </a:xfrm>
          <a:prstGeom prst="roundRect">
            <a:avLst>
              <a:gd name="adj" fmla="val 526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: Rounded Corners 16">
            <a:extLst>
              <a:ext uri="{FF2B5EF4-FFF2-40B4-BE49-F238E27FC236}">
                <a16:creationId xmlns:a16="http://schemas.microsoft.com/office/drawing/2014/main" id="{33E78FBC-59CA-4384-9B45-41BC6A8240A0}"/>
              </a:ext>
            </a:extLst>
          </p:cNvPr>
          <p:cNvSpPr/>
          <p:nvPr/>
        </p:nvSpPr>
        <p:spPr>
          <a:xfrm>
            <a:off x="4428438" y="4794218"/>
            <a:ext cx="1140474" cy="642666"/>
          </a:xfrm>
          <a:prstGeom prst="roundRect">
            <a:avLst>
              <a:gd name="adj" fmla="val 5264"/>
            </a:avLst>
          </a:prstGeom>
          <a:solidFill>
            <a:srgbClr val="FFC000"/>
          </a:solidFill>
          <a:ln>
            <a:noFill/>
          </a:ln>
          <a:effectLst>
            <a:outerShdw blurRad="368300" dist="381000" dir="5400000" sx="58000" sy="58000" algn="t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Franklin Gothic Demi" panose="020B0703020102020204" pitchFamily="34" charset="0"/>
              </a:rPr>
              <a:t>-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7949EFA-3E28-481F-A7FB-0B22D9082A2F}"/>
              </a:ext>
            </a:extLst>
          </p:cNvPr>
          <p:cNvSpPr txBox="1"/>
          <p:nvPr/>
        </p:nvSpPr>
        <p:spPr>
          <a:xfrm>
            <a:off x="5631250" y="4959179"/>
            <a:ext cx="6082765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Ограниченный объем хранения данных (бесплатно – 15 Гб).</a:t>
            </a:r>
          </a:p>
        </p:txBody>
      </p:sp>
    </p:spTree>
    <p:extLst>
      <p:ext uri="{BB962C8B-B14F-4D97-AF65-F5344CB8AC3E}">
        <p14:creationId xmlns:p14="http://schemas.microsoft.com/office/powerpoint/2010/main" val="27253255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DEC919E-D262-49C8-BF3D-5624F5D4F2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58101" y="2915500"/>
            <a:ext cx="6918526" cy="3432683"/>
          </a:xfrm>
          <a:prstGeom prst="rect">
            <a:avLst/>
          </a:prstGeom>
          <a:ln>
            <a:solidFill>
              <a:srgbClr val="0070C0"/>
            </a:solidFill>
          </a:ln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AFFCCC5-83CD-490C-9311-ED7095843A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AFFCCC5-83CD-490C-9311-ED7095843A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4BB6118-BE33-45B2-BDD6-074626FD16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7DE2C4-7164-40ED-ACE9-8656B8B3AA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пробированные формы работы с </a:t>
            </a:r>
            <a:r>
              <a:rPr lang="ru-RU" sz="36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ogle</a:t>
            </a:r>
            <a:r>
              <a:rPr lang="ru-RU" sz="3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Диск</a:t>
            </a:r>
            <a:endParaRPr lang="en-US" sz="3600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5">
            <a:extLst>
              <a:ext uri="{FF2B5EF4-FFF2-40B4-BE49-F238E27FC236}">
                <a16:creationId xmlns:a16="http://schemas.microsoft.com/office/drawing/2014/main" id="{6736D03A-FC85-46D6-B9B2-8DEAF59230D6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-894182" y="2575193"/>
            <a:ext cx="6540069" cy="4282805"/>
            <a:chOff x="-417" y="-509"/>
            <a:chExt cx="8096" cy="4689"/>
          </a:xfrm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7B96D0AE-8D29-45D2-A223-26874AE7E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7" y="-509"/>
              <a:ext cx="8080" cy="4681"/>
            </a:xfrm>
            <a:custGeom>
              <a:avLst/>
              <a:gdLst>
                <a:gd name="T0" fmla="*/ 1185 w 10722"/>
                <a:gd name="T1" fmla="*/ 6209 h 6212"/>
                <a:gd name="T2" fmla="*/ 985 w 10722"/>
                <a:gd name="T3" fmla="*/ 3558 h 6212"/>
                <a:gd name="T4" fmla="*/ 3626 w 10722"/>
                <a:gd name="T5" fmla="*/ 2915 h 6212"/>
                <a:gd name="T6" fmla="*/ 5644 w 10722"/>
                <a:gd name="T7" fmla="*/ 1697 h 6212"/>
                <a:gd name="T8" fmla="*/ 9730 w 10722"/>
                <a:gd name="T9" fmla="*/ 3640 h 6212"/>
                <a:gd name="T10" fmla="*/ 10050 w 10722"/>
                <a:gd name="T11" fmla="*/ 6212 h 6212"/>
                <a:gd name="T12" fmla="*/ 1185 w 10722"/>
                <a:gd name="T13" fmla="*/ 6209 h 6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22" h="6212">
                  <a:moveTo>
                    <a:pt x="1185" y="6209"/>
                  </a:moveTo>
                  <a:cubicBezTo>
                    <a:pt x="1185" y="6209"/>
                    <a:pt x="0" y="4936"/>
                    <a:pt x="985" y="3558"/>
                  </a:cubicBezTo>
                  <a:cubicBezTo>
                    <a:pt x="1859" y="2335"/>
                    <a:pt x="2878" y="2419"/>
                    <a:pt x="3626" y="2915"/>
                  </a:cubicBezTo>
                  <a:cubicBezTo>
                    <a:pt x="3944" y="3127"/>
                    <a:pt x="4862" y="2941"/>
                    <a:pt x="5644" y="1697"/>
                  </a:cubicBezTo>
                  <a:cubicBezTo>
                    <a:pt x="6709" y="0"/>
                    <a:pt x="10403" y="1029"/>
                    <a:pt x="9730" y="3640"/>
                  </a:cubicBezTo>
                  <a:cubicBezTo>
                    <a:pt x="9404" y="4903"/>
                    <a:pt x="10722" y="4949"/>
                    <a:pt x="10050" y="6212"/>
                  </a:cubicBezTo>
                  <a:lnTo>
                    <a:pt x="1185" y="6209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2420E112-F982-41E1-A338-B52FAF349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4" y="3535"/>
              <a:ext cx="476" cy="319"/>
            </a:xfrm>
            <a:custGeom>
              <a:avLst/>
              <a:gdLst>
                <a:gd name="T0" fmla="*/ 537 w 632"/>
                <a:gd name="T1" fmla="*/ 242 h 424"/>
                <a:gd name="T2" fmla="*/ 542 w 632"/>
                <a:gd name="T3" fmla="*/ 59 h 424"/>
                <a:gd name="T4" fmla="*/ 423 w 632"/>
                <a:gd name="T5" fmla="*/ 23 h 424"/>
                <a:gd name="T6" fmla="*/ 475 w 632"/>
                <a:gd name="T7" fmla="*/ 162 h 424"/>
                <a:gd name="T8" fmla="*/ 400 w 632"/>
                <a:gd name="T9" fmla="*/ 15 h 424"/>
                <a:gd name="T10" fmla="*/ 203 w 632"/>
                <a:gd name="T11" fmla="*/ 23 h 424"/>
                <a:gd name="T12" fmla="*/ 304 w 632"/>
                <a:gd name="T13" fmla="*/ 134 h 424"/>
                <a:gd name="T14" fmla="*/ 139 w 632"/>
                <a:gd name="T15" fmla="*/ 38 h 424"/>
                <a:gd name="T16" fmla="*/ 8 w 632"/>
                <a:gd name="T17" fmla="*/ 146 h 424"/>
                <a:gd name="T18" fmla="*/ 84 w 632"/>
                <a:gd name="T19" fmla="*/ 255 h 424"/>
                <a:gd name="T20" fmla="*/ 231 w 632"/>
                <a:gd name="T21" fmla="*/ 223 h 424"/>
                <a:gd name="T22" fmla="*/ 108 w 632"/>
                <a:gd name="T23" fmla="*/ 299 h 424"/>
                <a:gd name="T24" fmla="*/ 271 w 632"/>
                <a:gd name="T25" fmla="*/ 376 h 424"/>
                <a:gd name="T26" fmla="*/ 382 w 632"/>
                <a:gd name="T27" fmla="*/ 276 h 424"/>
                <a:gd name="T28" fmla="*/ 440 w 632"/>
                <a:gd name="T29" fmla="*/ 277 h 424"/>
                <a:gd name="T30" fmla="*/ 327 w 632"/>
                <a:gd name="T31" fmla="*/ 355 h 424"/>
                <a:gd name="T32" fmla="*/ 350 w 632"/>
                <a:gd name="T33" fmla="*/ 414 h 424"/>
                <a:gd name="T34" fmla="*/ 532 w 632"/>
                <a:gd name="T35" fmla="*/ 298 h 424"/>
                <a:gd name="T36" fmla="*/ 537 w 632"/>
                <a:gd name="T37" fmla="*/ 242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32" h="424">
                  <a:moveTo>
                    <a:pt x="537" y="242"/>
                  </a:moveTo>
                  <a:cubicBezTo>
                    <a:pt x="537" y="242"/>
                    <a:pt x="632" y="130"/>
                    <a:pt x="542" y="59"/>
                  </a:cubicBezTo>
                  <a:cubicBezTo>
                    <a:pt x="542" y="59"/>
                    <a:pt x="477" y="19"/>
                    <a:pt x="423" y="23"/>
                  </a:cubicBezTo>
                  <a:cubicBezTo>
                    <a:pt x="423" y="23"/>
                    <a:pt x="499" y="150"/>
                    <a:pt x="475" y="162"/>
                  </a:cubicBezTo>
                  <a:cubicBezTo>
                    <a:pt x="450" y="175"/>
                    <a:pt x="400" y="15"/>
                    <a:pt x="400" y="15"/>
                  </a:cubicBezTo>
                  <a:cubicBezTo>
                    <a:pt x="400" y="15"/>
                    <a:pt x="251" y="0"/>
                    <a:pt x="203" y="23"/>
                  </a:cubicBezTo>
                  <a:cubicBezTo>
                    <a:pt x="203" y="23"/>
                    <a:pt x="331" y="128"/>
                    <a:pt x="304" y="134"/>
                  </a:cubicBezTo>
                  <a:cubicBezTo>
                    <a:pt x="277" y="140"/>
                    <a:pt x="139" y="38"/>
                    <a:pt x="139" y="38"/>
                  </a:cubicBezTo>
                  <a:cubicBezTo>
                    <a:pt x="139" y="38"/>
                    <a:pt x="0" y="61"/>
                    <a:pt x="8" y="146"/>
                  </a:cubicBezTo>
                  <a:cubicBezTo>
                    <a:pt x="15" y="231"/>
                    <a:pt x="63" y="257"/>
                    <a:pt x="84" y="255"/>
                  </a:cubicBezTo>
                  <a:cubicBezTo>
                    <a:pt x="105" y="252"/>
                    <a:pt x="228" y="205"/>
                    <a:pt x="231" y="223"/>
                  </a:cubicBezTo>
                  <a:cubicBezTo>
                    <a:pt x="234" y="240"/>
                    <a:pt x="159" y="296"/>
                    <a:pt x="108" y="299"/>
                  </a:cubicBezTo>
                  <a:cubicBezTo>
                    <a:pt x="108" y="299"/>
                    <a:pt x="206" y="407"/>
                    <a:pt x="271" y="376"/>
                  </a:cubicBezTo>
                  <a:cubicBezTo>
                    <a:pt x="336" y="344"/>
                    <a:pt x="341" y="295"/>
                    <a:pt x="382" y="276"/>
                  </a:cubicBezTo>
                  <a:cubicBezTo>
                    <a:pt x="422" y="258"/>
                    <a:pt x="457" y="258"/>
                    <a:pt x="440" y="277"/>
                  </a:cubicBezTo>
                  <a:cubicBezTo>
                    <a:pt x="423" y="296"/>
                    <a:pt x="350" y="314"/>
                    <a:pt x="327" y="355"/>
                  </a:cubicBezTo>
                  <a:cubicBezTo>
                    <a:pt x="304" y="396"/>
                    <a:pt x="283" y="424"/>
                    <a:pt x="350" y="414"/>
                  </a:cubicBezTo>
                  <a:cubicBezTo>
                    <a:pt x="418" y="404"/>
                    <a:pt x="527" y="354"/>
                    <a:pt x="532" y="298"/>
                  </a:cubicBezTo>
                  <a:cubicBezTo>
                    <a:pt x="537" y="242"/>
                    <a:pt x="537" y="242"/>
                    <a:pt x="537" y="242"/>
                  </a:cubicBezTo>
                  <a:close/>
                </a:path>
              </a:pathLst>
            </a:custGeom>
            <a:solidFill>
              <a:srgbClr val="599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8596D77-166D-4E47-9CF9-BF452C781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" y="3636"/>
              <a:ext cx="411" cy="178"/>
            </a:xfrm>
            <a:custGeom>
              <a:avLst/>
              <a:gdLst>
                <a:gd name="T0" fmla="*/ 0 w 545"/>
                <a:gd name="T1" fmla="*/ 14 h 237"/>
                <a:gd name="T2" fmla="*/ 461 w 545"/>
                <a:gd name="T3" fmla="*/ 108 h 237"/>
                <a:gd name="T4" fmla="*/ 536 w 545"/>
                <a:gd name="T5" fmla="*/ 213 h 237"/>
                <a:gd name="T6" fmla="*/ 545 w 545"/>
                <a:gd name="T7" fmla="*/ 237 h 237"/>
                <a:gd name="T8" fmla="*/ 456 w 545"/>
                <a:gd name="T9" fmla="*/ 164 h 237"/>
                <a:gd name="T10" fmla="*/ 0 w 545"/>
                <a:gd name="T11" fmla="*/ 1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5" h="237">
                  <a:moveTo>
                    <a:pt x="0" y="14"/>
                  </a:moveTo>
                  <a:cubicBezTo>
                    <a:pt x="0" y="14"/>
                    <a:pt x="377" y="0"/>
                    <a:pt x="461" y="108"/>
                  </a:cubicBezTo>
                  <a:cubicBezTo>
                    <a:pt x="461" y="108"/>
                    <a:pt x="479" y="163"/>
                    <a:pt x="536" y="213"/>
                  </a:cubicBezTo>
                  <a:cubicBezTo>
                    <a:pt x="545" y="237"/>
                    <a:pt x="545" y="237"/>
                    <a:pt x="545" y="237"/>
                  </a:cubicBezTo>
                  <a:cubicBezTo>
                    <a:pt x="545" y="237"/>
                    <a:pt x="479" y="168"/>
                    <a:pt x="456" y="164"/>
                  </a:cubicBezTo>
                  <a:cubicBezTo>
                    <a:pt x="456" y="164"/>
                    <a:pt x="492" y="30"/>
                    <a:pt x="0" y="14"/>
                  </a:cubicBezTo>
                  <a:close/>
                </a:path>
              </a:pathLst>
            </a:custGeom>
            <a:solidFill>
              <a:srgbClr val="599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01005DAB-21BD-4C40-938D-68F7B4763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9" y="3774"/>
              <a:ext cx="101" cy="149"/>
            </a:xfrm>
            <a:custGeom>
              <a:avLst/>
              <a:gdLst>
                <a:gd name="T0" fmla="*/ 48 w 134"/>
                <a:gd name="T1" fmla="*/ 29 h 197"/>
                <a:gd name="T2" fmla="*/ 134 w 134"/>
                <a:gd name="T3" fmla="*/ 196 h 197"/>
                <a:gd name="T4" fmla="*/ 120 w 134"/>
                <a:gd name="T5" fmla="*/ 197 h 197"/>
                <a:gd name="T6" fmla="*/ 47 w 134"/>
                <a:gd name="T7" fmla="*/ 43 h 197"/>
                <a:gd name="T8" fmla="*/ 48 w 134"/>
                <a:gd name="T9" fmla="*/ 2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197">
                  <a:moveTo>
                    <a:pt x="48" y="29"/>
                  </a:moveTo>
                  <a:cubicBezTo>
                    <a:pt x="48" y="29"/>
                    <a:pt x="129" y="89"/>
                    <a:pt x="134" y="196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0" y="197"/>
                    <a:pt x="94" y="87"/>
                    <a:pt x="47" y="43"/>
                  </a:cubicBezTo>
                  <a:cubicBezTo>
                    <a:pt x="0" y="0"/>
                    <a:pt x="48" y="29"/>
                    <a:pt x="48" y="29"/>
                  </a:cubicBezTo>
                  <a:close/>
                </a:path>
              </a:pathLst>
            </a:custGeom>
            <a:solidFill>
              <a:srgbClr val="599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5F0FB90A-CBB9-41B6-A801-AE1F1FD22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5" y="3294"/>
              <a:ext cx="549" cy="416"/>
            </a:xfrm>
            <a:custGeom>
              <a:avLst/>
              <a:gdLst>
                <a:gd name="T0" fmla="*/ 152 w 728"/>
                <a:gd name="T1" fmla="*/ 420 h 552"/>
                <a:gd name="T2" fmla="*/ 71 w 728"/>
                <a:gd name="T3" fmla="*/ 219 h 552"/>
                <a:gd name="T4" fmla="*/ 189 w 728"/>
                <a:gd name="T5" fmla="*/ 130 h 552"/>
                <a:gd name="T6" fmla="*/ 189 w 728"/>
                <a:gd name="T7" fmla="*/ 307 h 552"/>
                <a:gd name="T8" fmla="*/ 211 w 728"/>
                <a:gd name="T9" fmla="*/ 112 h 552"/>
                <a:gd name="T10" fmla="*/ 434 w 728"/>
                <a:gd name="T11" fmla="*/ 41 h 552"/>
                <a:gd name="T12" fmla="*/ 367 w 728"/>
                <a:gd name="T13" fmla="*/ 205 h 552"/>
                <a:gd name="T14" fmla="*/ 511 w 728"/>
                <a:gd name="T15" fmla="*/ 31 h 552"/>
                <a:gd name="T16" fmla="*/ 702 w 728"/>
                <a:gd name="T17" fmla="*/ 98 h 552"/>
                <a:gd name="T18" fmla="*/ 661 w 728"/>
                <a:gd name="T19" fmla="*/ 250 h 552"/>
                <a:gd name="T20" fmla="*/ 485 w 728"/>
                <a:gd name="T21" fmla="*/ 274 h 552"/>
                <a:gd name="T22" fmla="*/ 653 w 728"/>
                <a:gd name="T23" fmla="*/ 309 h 552"/>
                <a:gd name="T24" fmla="*/ 503 w 728"/>
                <a:gd name="T25" fmla="*/ 461 h 552"/>
                <a:gd name="T26" fmla="*/ 339 w 728"/>
                <a:gd name="T27" fmla="*/ 396 h 552"/>
                <a:gd name="T28" fmla="*/ 274 w 728"/>
                <a:gd name="T29" fmla="*/ 420 h 552"/>
                <a:gd name="T30" fmla="*/ 432 w 728"/>
                <a:gd name="T31" fmla="*/ 461 h 552"/>
                <a:gd name="T32" fmla="*/ 430 w 728"/>
                <a:gd name="T33" fmla="*/ 536 h 552"/>
                <a:gd name="T34" fmla="*/ 180 w 728"/>
                <a:gd name="T35" fmla="*/ 481 h 552"/>
                <a:gd name="T36" fmla="*/ 152 w 728"/>
                <a:gd name="T37" fmla="*/ 42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8" h="552">
                  <a:moveTo>
                    <a:pt x="152" y="420"/>
                  </a:moveTo>
                  <a:cubicBezTo>
                    <a:pt x="152" y="420"/>
                    <a:pt x="0" y="335"/>
                    <a:pt x="71" y="219"/>
                  </a:cubicBezTo>
                  <a:cubicBezTo>
                    <a:pt x="71" y="219"/>
                    <a:pt x="128" y="148"/>
                    <a:pt x="189" y="130"/>
                  </a:cubicBezTo>
                  <a:cubicBezTo>
                    <a:pt x="189" y="130"/>
                    <a:pt x="156" y="303"/>
                    <a:pt x="189" y="307"/>
                  </a:cubicBezTo>
                  <a:cubicBezTo>
                    <a:pt x="221" y="311"/>
                    <a:pt x="211" y="112"/>
                    <a:pt x="211" y="112"/>
                  </a:cubicBezTo>
                  <a:cubicBezTo>
                    <a:pt x="211" y="112"/>
                    <a:pt x="371" y="35"/>
                    <a:pt x="434" y="41"/>
                  </a:cubicBezTo>
                  <a:cubicBezTo>
                    <a:pt x="434" y="41"/>
                    <a:pt x="335" y="209"/>
                    <a:pt x="367" y="205"/>
                  </a:cubicBezTo>
                  <a:cubicBezTo>
                    <a:pt x="400" y="201"/>
                    <a:pt x="511" y="31"/>
                    <a:pt x="511" y="31"/>
                  </a:cubicBezTo>
                  <a:cubicBezTo>
                    <a:pt x="511" y="31"/>
                    <a:pt x="676" y="0"/>
                    <a:pt x="702" y="98"/>
                  </a:cubicBezTo>
                  <a:cubicBezTo>
                    <a:pt x="728" y="195"/>
                    <a:pt x="686" y="244"/>
                    <a:pt x="661" y="250"/>
                  </a:cubicBezTo>
                  <a:cubicBezTo>
                    <a:pt x="637" y="256"/>
                    <a:pt x="481" y="254"/>
                    <a:pt x="485" y="274"/>
                  </a:cubicBezTo>
                  <a:cubicBezTo>
                    <a:pt x="489" y="294"/>
                    <a:pt x="594" y="327"/>
                    <a:pt x="653" y="309"/>
                  </a:cubicBezTo>
                  <a:cubicBezTo>
                    <a:pt x="653" y="309"/>
                    <a:pt x="588" y="469"/>
                    <a:pt x="503" y="461"/>
                  </a:cubicBezTo>
                  <a:cubicBezTo>
                    <a:pt x="418" y="453"/>
                    <a:pt x="391" y="400"/>
                    <a:pt x="339" y="396"/>
                  </a:cubicBezTo>
                  <a:cubicBezTo>
                    <a:pt x="286" y="392"/>
                    <a:pt x="247" y="406"/>
                    <a:pt x="274" y="420"/>
                  </a:cubicBezTo>
                  <a:cubicBezTo>
                    <a:pt x="300" y="434"/>
                    <a:pt x="389" y="425"/>
                    <a:pt x="432" y="461"/>
                  </a:cubicBezTo>
                  <a:cubicBezTo>
                    <a:pt x="475" y="497"/>
                    <a:pt x="509" y="520"/>
                    <a:pt x="430" y="536"/>
                  </a:cubicBezTo>
                  <a:cubicBezTo>
                    <a:pt x="351" y="552"/>
                    <a:pt x="209" y="542"/>
                    <a:pt x="180" y="481"/>
                  </a:cubicBezTo>
                  <a:cubicBezTo>
                    <a:pt x="152" y="420"/>
                    <a:pt x="152" y="420"/>
                    <a:pt x="152" y="420"/>
                  </a:cubicBezTo>
                  <a:close/>
                </a:path>
              </a:pathLst>
            </a:custGeom>
            <a:solidFill>
              <a:srgbClr val="6BB7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87287954-F4CB-4D04-858F-7C5CA0623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3391"/>
              <a:ext cx="408" cy="355"/>
            </a:xfrm>
            <a:custGeom>
              <a:avLst/>
              <a:gdLst>
                <a:gd name="T0" fmla="*/ 542 w 542"/>
                <a:gd name="T1" fmla="*/ 0 h 471"/>
                <a:gd name="T2" fmla="*/ 67 w 542"/>
                <a:gd name="T3" fmla="*/ 292 h 471"/>
                <a:gd name="T4" fmla="*/ 26 w 542"/>
                <a:gd name="T5" fmla="*/ 440 h 471"/>
                <a:gd name="T6" fmla="*/ 26 w 542"/>
                <a:gd name="T7" fmla="*/ 471 h 471"/>
                <a:gd name="T8" fmla="*/ 95 w 542"/>
                <a:gd name="T9" fmla="*/ 353 h 471"/>
                <a:gd name="T10" fmla="*/ 542 w 542"/>
                <a:gd name="T11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2" h="471">
                  <a:moveTo>
                    <a:pt x="542" y="0"/>
                  </a:moveTo>
                  <a:cubicBezTo>
                    <a:pt x="542" y="0"/>
                    <a:pt x="116" y="138"/>
                    <a:pt x="67" y="292"/>
                  </a:cubicBezTo>
                  <a:cubicBezTo>
                    <a:pt x="67" y="292"/>
                    <a:pt x="69" y="361"/>
                    <a:pt x="26" y="440"/>
                  </a:cubicBezTo>
                  <a:cubicBezTo>
                    <a:pt x="26" y="471"/>
                    <a:pt x="26" y="471"/>
                    <a:pt x="26" y="471"/>
                  </a:cubicBezTo>
                  <a:cubicBezTo>
                    <a:pt x="26" y="471"/>
                    <a:pt x="71" y="367"/>
                    <a:pt x="95" y="353"/>
                  </a:cubicBezTo>
                  <a:cubicBezTo>
                    <a:pt x="95" y="353"/>
                    <a:pt x="0" y="219"/>
                    <a:pt x="542" y="0"/>
                  </a:cubicBezTo>
                  <a:close/>
                </a:path>
              </a:pathLst>
            </a:custGeom>
            <a:solidFill>
              <a:srgbClr val="6BB7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F6F32307-12B0-42A7-9088-C6083D825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3684"/>
              <a:ext cx="80" cy="206"/>
            </a:xfrm>
            <a:custGeom>
              <a:avLst/>
              <a:gdLst>
                <a:gd name="T0" fmla="*/ 65 w 106"/>
                <a:gd name="T1" fmla="*/ 51 h 273"/>
                <a:gd name="T2" fmla="*/ 37 w 106"/>
                <a:gd name="T3" fmla="*/ 273 h 273"/>
                <a:gd name="T4" fmla="*/ 54 w 106"/>
                <a:gd name="T5" fmla="*/ 268 h 273"/>
                <a:gd name="T6" fmla="*/ 72 w 106"/>
                <a:gd name="T7" fmla="*/ 67 h 273"/>
                <a:gd name="T8" fmla="*/ 65 w 106"/>
                <a:gd name="T9" fmla="*/ 5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273">
                  <a:moveTo>
                    <a:pt x="65" y="51"/>
                  </a:moveTo>
                  <a:cubicBezTo>
                    <a:pt x="65" y="51"/>
                    <a:pt x="0" y="151"/>
                    <a:pt x="37" y="273"/>
                  </a:cubicBezTo>
                  <a:cubicBezTo>
                    <a:pt x="54" y="268"/>
                    <a:pt x="54" y="268"/>
                    <a:pt x="54" y="268"/>
                  </a:cubicBezTo>
                  <a:cubicBezTo>
                    <a:pt x="54" y="268"/>
                    <a:pt x="38" y="134"/>
                    <a:pt x="72" y="67"/>
                  </a:cubicBezTo>
                  <a:cubicBezTo>
                    <a:pt x="106" y="0"/>
                    <a:pt x="65" y="51"/>
                    <a:pt x="65" y="51"/>
                  </a:cubicBezTo>
                  <a:close/>
                </a:path>
              </a:pathLst>
            </a:custGeom>
            <a:solidFill>
              <a:srgbClr val="6BB7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4B55648B-C0F8-49AA-94F8-DF1374B71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5" y="3105"/>
              <a:ext cx="724" cy="549"/>
            </a:xfrm>
            <a:custGeom>
              <a:avLst/>
              <a:gdLst>
                <a:gd name="T0" fmla="*/ 760 w 961"/>
                <a:gd name="T1" fmla="*/ 554 h 728"/>
                <a:gd name="T2" fmla="*/ 867 w 961"/>
                <a:gd name="T3" fmla="*/ 289 h 728"/>
                <a:gd name="T4" fmla="*/ 712 w 961"/>
                <a:gd name="T5" fmla="*/ 171 h 728"/>
                <a:gd name="T6" fmla="*/ 712 w 961"/>
                <a:gd name="T7" fmla="*/ 404 h 728"/>
                <a:gd name="T8" fmla="*/ 682 w 961"/>
                <a:gd name="T9" fmla="*/ 147 h 728"/>
                <a:gd name="T10" fmla="*/ 388 w 961"/>
                <a:gd name="T11" fmla="*/ 53 h 728"/>
                <a:gd name="T12" fmla="*/ 476 w 961"/>
                <a:gd name="T13" fmla="*/ 270 h 728"/>
                <a:gd name="T14" fmla="*/ 286 w 961"/>
                <a:gd name="T15" fmla="*/ 40 h 728"/>
                <a:gd name="T16" fmla="*/ 35 w 961"/>
                <a:gd name="T17" fmla="*/ 128 h 728"/>
                <a:gd name="T18" fmla="*/ 89 w 961"/>
                <a:gd name="T19" fmla="*/ 329 h 728"/>
                <a:gd name="T20" fmla="*/ 321 w 961"/>
                <a:gd name="T21" fmla="*/ 361 h 728"/>
                <a:gd name="T22" fmla="*/ 99 w 961"/>
                <a:gd name="T23" fmla="*/ 407 h 728"/>
                <a:gd name="T24" fmla="*/ 297 w 961"/>
                <a:gd name="T25" fmla="*/ 607 h 728"/>
                <a:gd name="T26" fmla="*/ 514 w 961"/>
                <a:gd name="T27" fmla="*/ 522 h 728"/>
                <a:gd name="T28" fmla="*/ 599 w 961"/>
                <a:gd name="T29" fmla="*/ 554 h 728"/>
                <a:gd name="T30" fmla="*/ 391 w 961"/>
                <a:gd name="T31" fmla="*/ 608 h 728"/>
                <a:gd name="T32" fmla="*/ 393 w 961"/>
                <a:gd name="T33" fmla="*/ 706 h 728"/>
                <a:gd name="T34" fmla="*/ 722 w 961"/>
                <a:gd name="T35" fmla="*/ 634 h 728"/>
                <a:gd name="T36" fmla="*/ 760 w 961"/>
                <a:gd name="T37" fmla="*/ 554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61" h="728">
                  <a:moveTo>
                    <a:pt x="760" y="554"/>
                  </a:moveTo>
                  <a:cubicBezTo>
                    <a:pt x="760" y="554"/>
                    <a:pt x="961" y="441"/>
                    <a:pt x="867" y="289"/>
                  </a:cubicBezTo>
                  <a:cubicBezTo>
                    <a:pt x="867" y="289"/>
                    <a:pt x="792" y="195"/>
                    <a:pt x="712" y="171"/>
                  </a:cubicBezTo>
                  <a:cubicBezTo>
                    <a:pt x="712" y="171"/>
                    <a:pt x="755" y="399"/>
                    <a:pt x="712" y="404"/>
                  </a:cubicBezTo>
                  <a:cubicBezTo>
                    <a:pt x="669" y="409"/>
                    <a:pt x="682" y="147"/>
                    <a:pt x="682" y="147"/>
                  </a:cubicBezTo>
                  <a:cubicBezTo>
                    <a:pt x="682" y="147"/>
                    <a:pt x="471" y="45"/>
                    <a:pt x="388" y="53"/>
                  </a:cubicBezTo>
                  <a:cubicBezTo>
                    <a:pt x="388" y="53"/>
                    <a:pt x="519" y="275"/>
                    <a:pt x="476" y="270"/>
                  </a:cubicBezTo>
                  <a:cubicBezTo>
                    <a:pt x="434" y="265"/>
                    <a:pt x="286" y="40"/>
                    <a:pt x="286" y="40"/>
                  </a:cubicBezTo>
                  <a:cubicBezTo>
                    <a:pt x="286" y="40"/>
                    <a:pt x="70" y="0"/>
                    <a:pt x="35" y="128"/>
                  </a:cubicBezTo>
                  <a:cubicBezTo>
                    <a:pt x="0" y="257"/>
                    <a:pt x="56" y="321"/>
                    <a:pt x="89" y="329"/>
                  </a:cubicBezTo>
                  <a:cubicBezTo>
                    <a:pt x="121" y="337"/>
                    <a:pt x="327" y="334"/>
                    <a:pt x="321" y="361"/>
                  </a:cubicBezTo>
                  <a:cubicBezTo>
                    <a:pt x="316" y="388"/>
                    <a:pt x="177" y="431"/>
                    <a:pt x="99" y="407"/>
                  </a:cubicBezTo>
                  <a:cubicBezTo>
                    <a:pt x="99" y="407"/>
                    <a:pt x="185" y="618"/>
                    <a:pt x="297" y="607"/>
                  </a:cubicBezTo>
                  <a:cubicBezTo>
                    <a:pt x="410" y="596"/>
                    <a:pt x="444" y="527"/>
                    <a:pt x="514" y="522"/>
                  </a:cubicBezTo>
                  <a:cubicBezTo>
                    <a:pt x="583" y="516"/>
                    <a:pt x="634" y="535"/>
                    <a:pt x="599" y="554"/>
                  </a:cubicBezTo>
                  <a:cubicBezTo>
                    <a:pt x="565" y="572"/>
                    <a:pt x="447" y="560"/>
                    <a:pt x="391" y="608"/>
                  </a:cubicBezTo>
                  <a:cubicBezTo>
                    <a:pt x="335" y="655"/>
                    <a:pt x="289" y="685"/>
                    <a:pt x="393" y="706"/>
                  </a:cubicBezTo>
                  <a:cubicBezTo>
                    <a:pt x="498" y="728"/>
                    <a:pt x="685" y="714"/>
                    <a:pt x="722" y="634"/>
                  </a:cubicBezTo>
                  <a:cubicBezTo>
                    <a:pt x="760" y="554"/>
                    <a:pt x="760" y="554"/>
                    <a:pt x="760" y="554"/>
                  </a:cubicBezTo>
                  <a:close/>
                </a:path>
              </a:pathLst>
            </a:custGeom>
            <a:solidFill>
              <a:srgbClr val="86D1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FE0DBC81-68DF-4C5D-B0D8-D94C4811D7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" y="3232"/>
              <a:ext cx="538" cy="468"/>
            </a:xfrm>
            <a:custGeom>
              <a:avLst/>
              <a:gdLst>
                <a:gd name="T0" fmla="*/ 0 w 714"/>
                <a:gd name="T1" fmla="*/ 0 h 621"/>
                <a:gd name="T2" fmla="*/ 626 w 714"/>
                <a:gd name="T3" fmla="*/ 386 h 621"/>
                <a:gd name="T4" fmla="*/ 679 w 714"/>
                <a:gd name="T5" fmla="*/ 581 h 621"/>
                <a:gd name="T6" fmla="*/ 679 w 714"/>
                <a:gd name="T7" fmla="*/ 621 h 621"/>
                <a:gd name="T8" fmla="*/ 588 w 714"/>
                <a:gd name="T9" fmla="*/ 466 h 621"/>
                <a:gd name="T10" fmla="*/ 0 w 714"/>
                <a:gd name="T11" fmla="*/ 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4" h="621">
                  <a:moveTo>
                    <a:pt x="0" y="0"/>
                  </a:moveTo>
                  <a:cubicBezTo>
                    <a:pt x="0" y="0"/>
                    <a:pt x="562" y="182"/>
                    <a:pt x="626" y="386"/>
                  </a:cubicBezTo>
                  <a:cubicBezTo>
                    <a:pt x="626" y="386"/>
                    <a:pt x="623" y="477"/>
                    <a:pt x="679" y="581"/>
                  </a:cubicBezTo>
                  <a:cubicBezTo>
                    <a:pt x="679" y="621"/>
                    <a:pt x="679" y="621"/>
                    <a:pt x="679" y="621"/>
                  </a:cubicBezTo>
                  <a:cubicBezTo>
                    <a:pt x="679" y="621"/>
                    <a:pt x="621" y="485"/>
                    <a:pt x="588" y="466"/>
                  </a:cubicBezTo>
                  <a:cubicBezTo>
                    <a:pt x="588" y="466"/>
                    <a:pt x="714" y="289"/>
                    <a:pt x="0" y="0"/>
                  </a:cubicBezTo>
                  <a:close/>
                </a:path>
              </a:pathLst>
            </a:custGeom>
            <a:solidFill>
              <a:srgbClr val="6BB7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212B1B08-8630-4450-9086-14133FA26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7" y="3618"/>
              <a:ext cx="106" cy="272"/>
            </a:xfrm>
            <a:custGeom>
              <a:avLst/>
              <a:gdLst>
                <a:gd name="T0" fmla="*/ 54 w 141"/>
                <a:gd name="T1" fmla="*/ 68 h 360"/>
                <a:gd name="T2" fmla="*/ 92 w 141"/>
                <a:gd name="T3" fmla="*/ 360 h 360"/>
                <a:gd name="T4" fmla="*/ 69 w 141"/>
                <a:gd name="T5" fmla="*/ 354 h 360"/>
                <a:gd name="T6" fmla="*/ 46 w 141"/>
                <a:gd name="T7" fmla="*/ 89 h 360"/>
                <a:gd name="T8" fmla="*/ 54 w 141"/>
                <a:gd name="T9" fmla="*/ 68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360">
                  <a:moveTo>
                    <a:pt x="54" y="68"/>
                  </a:moveTo>
                  <a:cubicBezTo>
                    <a:pt x="54" y="68"/>
                    <a:pt x="141" y="199"/>
                    <a:pt x="92" y="360"/>
                  </a:cubicBezTo>
                  <a:cubicBezTo>
                    <a:pt x="69" y="354"/>
                    <a:pt x="69" y="354"/>
                    <a:pt x="69" y="354"/>
                  </a:cubicBezTo>
                  <a:cubicBezTo>
                    <a:pt x="69" y="354"/>
                    <a:pt x="91" y="177"/>
                    <a:pt x="46" y="89"/>
                  </a:cubicBezTo>
                  <a:cubicBezTo>
                    <a:pt x="0" y="0"/>
                    <a:pt x="54" y="68"/>
                    <a:pt x="54" y="68"/>
                  </a:cubicBezTo>
                  <a:close/>
                </a:path>
              </a:pathLst>
            </a:custGeom>
            <a:solidFill>
              <a:srgbClr val="6BB7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220E1BA-3078-4722-9E65-EC6CF1414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0" y="3855"/>
              <a:ext cx="592" cy="296"/>
            </a:xfrm>
            <a:custGeom>
              <a:avLst/>
              <a:gdLst>
                <a:gd name="T0" fmla="*/ 393 w 786"/>
                <a:gd name="T1" fmla="*/ 393 h 393"/>
                <a:gd name="T2" fmla="*/ 786 w 786"/>
                <a:gd name="T3" fmla="*/ 0 h 393"/>
                <a:gd name="T4" fmla="*/ 0 w 786"/>
                <a:gd name="T5" fmla="*/ 0 h 393"/>
                <a:gd name="T6" fmla="*/ 393 w 786"/>
                <a:gd name="T7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86" h="393">
                  <a:moveTo>
                    <a:pt x="393" y="393"/>
                  </a:moveTo>
                  <a:cubicBezTo>
                    <a:pt x="610" y="393"/>
                    <a:pt x="786" y="217"/>
                    <a:pt x="7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7"/>
                    <a:pt x="176" y="393"/>
                    <a:pt x="393" y="393"/>
                  </a:cubicBezTo>
                  <a:close/>
                </a:path>
              </a:pathLst>
            </a:custGeom>
            <a:solidFill>
              <a:srgbClr val="EE9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87AC2E44-E05A-4E8D-A8D9-149AD19AF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6" y="3855"/>
              <a:ext cx="332" cy="296"/>
            </a:xfrm>
            <a:custGeom>
              <a:avLst/>
              <a:gdLst>
                <a:gd name="T0" fmla="*/ 441 w 441"/>
                <a:gd name="T1" fmla="*/ 390 h 393"/>
                <a:gd name="T2" fmla="*/ 393 w 441"/>
                <a:gd name="T3" fmla="*/ 393 h 393"/>
                <a:gd name="T4" fmla="*/ 0 w 441"/>
                <a:gd name="T5" fmla="*/ 0 h 393"/>
                <a:gd name="T6" fmla="*/ 97 w 441"/>
                <a:gd name="T7" fmla="*/ 0 h 393"/>
                <a:gd name="T8" fmla="*/ 441 w 441"/>
                <a:gd name="T9" fmla="*/ 390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1" h="393">
                  <a:moveTo>
                    <a:pt x="441" y="390"/>
                  </a:moveTo>
                  <a:cubicBezTo>
                    <a:pt x="425" y="392"/>
                    <a:pt x="409" y="393"/>
                    <a:pt x="393" y="393"/>
                  </a:cubicBezTo>
                  <a:cubicBezTo>
                    <a:pt x="176" y="393"/>
                    <a:pt x="0" y="217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200"/>
                    <a:pt x="247" y="366"/>
                    <a:pt x="441" y="390"/>
                  </a:cubicBezTo>
                  <a:close/>
                </a:path>
              </a:pathLst>
            </a:custGeom>
            <a:solidFill>
              <a:srgbClr val="F3B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82A30A73-71E7-4729-9817-ED6E5AD513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5" y="4129"/>
              <a:ext cx="601" cy="37"/>
            </a:xfrm>
            <a:custGeom>
              <a:avLst/>
              <a:gdLst>
                <a:gd name="T0" fmla="*/ 797 w 797"/>
                <a:gd name="T1" fmla="*/ 49 h 49"/>
                <a:gd name="T2" fmla="*/ 0 w 797"/>
                <a:gd name="T3" fmla="*/ 49 h 49"/>
                <a:gd name="T4" fmla="*/ 0 w 797"/>
                <a:gd name="T5" fmla="*/ 49 h 49"/>
                <a:gd name="T6" fmla="*/ 49 w 797"/>
                <a:gd name="T7" fmla="*/ 0 h 49"/>
                <a:gd name="T8" fmla="*/ 749 w 797"/>
                <a:gd name="T9" fmla="*/ 0 h 49"/>
                <a:gd name="T10" fmla="*/ 797 w 797"/>
                <a:gd name="T1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7" h="49">
                  <a:moveTo>
                    <a:pt x="797" y="49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49" y="0"/>
                    <a:pt x="749" y="0"/>
                    <a:pt x="749" y="0"/>
                  </a:cubicBezTo>
                  <a:cubicBezTo>
                    <a:pt x="775" y="0"/>
                    <a:pt x="797" y="22"/>
                    <a:pt x="797" y="49"/>
                  </a:cubicBezTo>
                  <a:close/>
                </a:path>
              </a:pathLst>
            </a:custGeom>
            <a:solidFill>
              <a:srgbClr val="EE9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19">
              <a:extLst>
                <a:ext uri="{FF2B5EF4-FFF2-40B4-BE49-F238E27FC236}">
                  <a16:creationId xmlns:a16="http://schemas.microsoft.com/office/drawing/2014/main" id="{A28F2B28-0F4C-4002-AF67-1479E4F9BE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0" y="3855"/>
              <a:ext cx="609" cy="9"/>
            </a:xfrm>
            <a:prstGeom prst="rect">
              <a:avLst/>
            </a:prstGeom>
            <a:solidFill>
              <a:srgbClr val="EE9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193E8F7A-C1C3-4A10-B810-35E2A6014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" y="1219"/>
              <a:ext cx="252" cy="277"/>
            </a:xfrm>
            <a:custGeom>
              <a:avLst/>
              <a:gdLst>
                <a:gd name="T0" fmla="*/ 155 w 335"/>
                <a:gd name="T1" fmla="*/ 72 h 367"/>
                <a:gd name="T2" fmla="*/ 37 w 335"/>
                <a:gd name="T3" fmla="*/ 11 h 367"/>
                <a:gd name="T4" fmla="*/ 100 w 335"/>
                <a:gd name="T5" fmla="*/ 30 h 367"/>
                <a:gd name="T6" fmla="*/ 36 w 335"/>
                <a:gd name="T7" fmla="*/ 21 h 367"/>
                <a:gd name="T8" fmla="*/ 2 w 335"/>
                <a:gd name="T9" fmla="*/ 100 h 367"/>
                <a:gd name="T10" fmla="*/ 45 w 335"/>
                <a:gd name="T11" fmla="*/ 167 h 367"/>
                <a:gd name="T12" fmla="*/ 66 w 335"/>
                <a:gd name="T13" fmla="*/ 164 h 367"/>
                <a:gd name="T14" fmla="*/ 56 w 335"/>
                <a:gd name="T15" fmla="*/ 190 h 367"/>
                <a:gd name="T16" fmla="*/ 114 w 335"/>
                <a:gd name="T17" fmla="*/ 340 h 367"/>
                <a:gd name="T18" fmla="*/ 147 w 335"/>
                <a:gd name="T19" fmla="*/ 367 h 367"/>
                <a:gd name="T20" fmla="*/ 335 w 335"/>
                <a:gd name="T21" fmla="*/ 164 h 367"/>
                <a:gd name="T22" fmla="*/ 155 w 335"/>
                <a:gd name="T23" fmla="*/ 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5" h="367">
                  <a:moveTo>
                    <a:pt x="155" y="72"/>
                  </a:moveTo>
                  <a:cubicBezTo>
                    <a:pt x="153" y="65"/>
                    <a:pt x="139" y="0"/>
                    <a:pt x="37" y="11"/>
                  </a:cubicBezTo>
                  <a:cubicBezTo>
                    <a:pt x="37" y="11"/>
                    <a:pt x="88" y="10"/>
                    <a:pt x="100" y="30"/>
                  </a:cubicBezTo>
                  <a:cubicBezTo>
                    <a:pt x="100" y="30"/>
                    <a:pt x="62" y="8"/>
                    <a:pt x="36" y="21"/>
                  </a:cubicBezTo>
                  <a:cubicBezTo>
                    <a:pt x="9" y="34"/>
                    <a:pt x="0" y="84"/>
                    <a:pt x="2" y="100"/>
                  </a:cubicBezTo>
                  <a:cubicBezTo>
                    <a:pt x="4" y="116"/>
                    <a:pt x="27" y="165"/>
                    <a:pt x="45" y="167"/>
                  </a:cubicBezTo>
                  <a:cubicBezTo>
                    <a:pt x="52" y="168"/>
                    <a:pt x="60" y="166"/>
                    <a:pt x="66" y="164"/>
                  </a:cubicBezTo>
                  <a:cubicBezTo>
                    <a:pt x="63" y="172"/>
                    <a:pt x="59" y="180"/>
                    <a:pt x="56" y="190"/>
                  </a:cubicBezTo>
                  <a:cubicBezTo>
                    <a:pt x="28" y="279"/>
                    <a:pt x="81" y="354"/>
                    <a:pt x="114" y="340"/>
                  </a:cubicBezTo>
                  <a:cubicBezTo>
                    <a:pt x="135" y="331"/>
                    <a:pt x="147" y="367"/>
                    <a:pt x="147" y="367"/>
                  </a:cubicBezTo>
                  <a:cubicBezTo>
                    <a:pt x="335" y="164"/>
                    <a:pt x="335" y="164"/>
                    <a:pt x="335" y="164"/>
                  </a:cubicBezTo>
                  <a:cubicBezTo>
                    <a:pt x="335" y="164"/>
                    <a:pt x="233" y="14"/>
                    <a:pt x="155" y="72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03B19A97-D923-431B-ADE8-68E1A3762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" y="2048"/>
              <a:ext cx="283" cy="1083"/>
            </a:xfrm>
            <a:custGeom>
              <a:avLst/>
              <a:gdLst>
                <a:gd name="T0" fmla="*/ 375 w 375"/>
                <a:gd name="T1" fmla="*/ 1420 h 1437"/>
                <a:gd name="T2" fmla="*/ 330 w 375"/>
                <a:gd name="T3" fmla="*/ 1437 h 1437"/>
                <a:gd name="T4" fmla="*/ 107 w 375"/>
                <a:gd name="T5" fmla="*/ 920 h 1437"/>
                <a:gd name="T6" fmla="*/ 113 w 375"/>
                <a:gd name="T7" fmla="*/ 796 h 1437"/>
                <a:gd name="T8" fmla="*/ 108 w 375"/>
                <a:gd name="T9" fmla="*/ 765 h 1437"/>
                <a:gd name="T10" fmla="*/ 102 w 375"/>
                <a:gd name="T11" fmla="*/ 733 h 1437"/>
                <a:gd name="T12" fmla="*/ 77 w 375"/>
                <a:gd name="T13" fmla="*/ 587 h 1437"/>
                <a:gd name="T14" fmla="*/ 0 w 375"/>
                <a:gd name="T15" fmla="*/ 161 h 1437"/>
                <a:gd name="T16" fmla="*/ 12 w 375"/>
                <a:gd name="T17" fmla="*/ 157 h 1437"/>
                <a:gd name="T18" fmla="*/ 145 w 375"/>
                <a:gd name="T19" fmla="*/ 114 h 1437"/>
                <a:gd name="T20" fmla="*/ 173 w 375"/>
                <a:gd name="T21" fmla="*/ 27 h 1437"/>
                <a:gd name="T22" fmla="*/ 272 w 375"/>
                <a:gd name="T23" fmla="*/ 0 h 1437"/>
                <a:gd name="T24" fmla="*/ 314 w 375"/>
                <a:gd name="T25" fmla="*/ 249 h 1437"/>
                <a:gd name="T26" fmla="*/ 323 w 375"/>
                <a:gd name="T27" fmla="*/ 337 h 1437"/>
                <a:gd name="T28" fmla="*/ 314 w 375"/>
                <a:gd name="T29" fmla="*/ 696 h 1437"/>
                <a:gd name="T30" fmla="*/ 296 w 375"/>
                <a:gd name="T31" fmla="*/ 806 h 1437"/>
                <a:gd name="T32" fmla="*/ 293 w 375"/>
                <a:gd name="T33" fmla="*/ 915 h 1437"/>
                <a:gd name="T34" fmla="*/ 375 w 375"/>
                <a:gd name="T35" fmla="*/ 142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5" h="1437">
                  <a:moveTo>
                    <a:pt x="375" y="1420"/>
                  </a:moveTo>
                  <a:cubicBezTo>
                    <a:pt x="330" y="1437"/>
                    <a:pt x="330" y="1437"/>
                    <a:pt x="330" y="1437"/>
                  </a:cubicBezTo>
                  <a:cubicBezTo>
                    <a:pt x="330" y="1437"/>
                    <a:pt x="131" y="1162"/>
                    <a:pt x="107" y="920"/>
                  </a:cubicBezTo>
                  <a:cubicBezTo>
                    <a:pt x="102" y="877"/>
                    <a:pt x="104" y="835"/>
                    <a:pt x="113" y="796"/>
                  </a:cubicBezTo>
                  <a:cubicBezTo>
                    <a:pt x="113" y="796"/>
                    <a:pt x="111" y="785"/>
                    <a:pt x="108" y="765"/>
                  </a:cubicBezTo>
                  <a:cubicBezTo>
                    <a:pt x="106" y="756"/>
                    <a:pt x="104" y="745"/>
                    <a:pt x="102" y="733"/>
                  </a:cubicBezTo>
                  <a:cubicBezTo>
                    <a:pt x="96" y="696"/>
                    <a:pt x="87" y="645"/>
                    <a:pt x="77" y="587"/>
                  </a:cubicBezTo>
                  <a:cubicBezTo>
                    <a:pt x="53" y="455"/>
                    <a:pt x="23" y="285"/>
                    <a:pt x="0" y="161"/>
                  </a:cubicBezTo>
                  <a:cubicBezTo>
                    <a:pt x="12" y="157"/>
                    <a:pt x="12" y="157"/>
                    <a:pt x="12" y="157"/>
                  </a:cubicBezTo>
                  <a:cubicBezTo>
                    <a:pt x="145" y="114"/>
                    <a:pt x="145" y="114"/>
                    <a:pt x="145" y="114"/>
                  </a:cubicBezTo>
                  <a:cubicBezTo>
                    <a:pt x="173" y="27"/>
                    <a:pt x="173" y="27"/>
                    <a:pt x="173" y="27"/>
                  </a:cubicBezTo>
                  <a:cubicBezTo>
                    <a:pt x="272" y="0"/>
                    <a:pt x="272" y="0"/>
                    <a:pt x="272" y="0"/>
                  </a:cubicBezTo>
                  <a:cubicBezTo>
                    <a:pt x="272" y="0"/>
                    <a:pt x="294" y="44"/>
                    <a:pt x="314" y="249"/>
                  </a:cubicBezTo>
                  <a:cubicBezTo>
                    <a:pt x="317" y="275"/>
                    <a:pt x="321" y="305"/>
                    <a:pt x="323" y="337"/>
                  </a:cubicBezTo>
                  <a:cubicBezTo>
                    <a:pt x="331" y="435"/>
                    <a:pt x="331" y="557"/>
                    <a:pt x="314" y="696"/>
                  </a:cubicBezTo>
                  <a:cubicBezTo>
                    <a:pt x="309" y="731"/>
                    <a:pt x="303" y="768"/>
                    <a:pt x="296" y="806"/>
                  </a:cubicBezTo>
                  <a:cubicBezTo>
                    <a:pt x="291" y="833"/>
                    <a:pt x="290" y="871"/>
                    <a:pt x="293" y="915"/>
                  </a:cubicBezTo>
                  <a:cubicBezTo>
                    <a:pt x="303" y="1112"/>
                    <a:pt x="375" y="1420"/>
                    <a:pt x="375" y="1420"/>
                  </a:cubicBezTo>
                  <a:close/>
                </a:path>
              </a:pathLst>
            </a:custGeom>
            <a:solidFill>
              <a:srgbClr val="2B47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2">
              <a:extLst>
                <a:ext uri="{FF2B5EF4-FFF2-40B4-BE49-F238E27FC236}">
                  <a16:creationId xmlns:a16="http://schemas.microsoft.com/office/drawing/2014/main" id="{20D9A85F-A46E-4539-A77D-98C2BB8A6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" y="2048"/>
              <a:ext cx="243" cy="576"/>
            </a:xfrm>
            <a:custGeom>
              <a:avLst/>
              <a:gdLst>
                <a:gd name="T0" fmla="*/ 323 w 323"/>
                <a:gd name="T1" fmla="*/ 337 h 765"/>
                <a:gd name="T2" fmla="*/ 108 w 323"/>
                <a:gd name="T3" fmla="*/ 765 h 765"/>
                <a:gd name="T4" fmla="*/ 102 w 323"/>
                <a:gd name="T5" fmla="*/ 733 h 765"/>
                <a:gd name="T6" fmla="*/ 77 w 323"/>
                <a:gd name="T7" fmla="*/ 587 h 765"/>
                <a:gd name="T8" fmla="*/ 0 w 323"/>
                <a:gd name="T9" fmla="*/ 161 h 765"/>
                <a:gd name="T10" fmla="*/ 12 w 323"/>
                <a:gd name="T11" fmla="*/ 157 h 765"/>
                <a:gd name="T12" fmla="*/ 145 w 323"/>
                <a:gd name="T13" fmla="*/ 114 h 765"/>
                <a:gd name="T14" fmla="*/ 173 w 323"/>
                <a:gd name="T15" fmla="*/ 27 h 765"/>
                <a:gd name="T16" fmla="*/ 272 w 323"/>
                <a:gd name="T17" fmla="*/ 0 h 765"/>
                <a:gd name="T18" fmla="*/ 314 w 323"/>
                <a:gd name="T19" fmla="*/ 249 h 765"/>
                <a:gd name="T20" fmla="*/ 323 w 323"/>
                <a:gd name="T21" fmla="*/ 337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3" h="765">
                  <a:moveTo>
                    <a:pt x="323" y="337"/>
                  </a:moveTo>
                  <a:cubicBezTo>
                    <a:pt x="108" y="765"/>
                    <a:pt x="108" y="765"/>
                    <a:pt x="108" y="765"/>
                  </a:cubicBezTo>
                  <a:cubicBezTo>
                    <a:pt x="106" y="756"/>
                    <a:pt x="104" y="745"/>
                    <a:pt x="102" y="733"/>
                  </a:cubicBezTo>
                  <a:cubicBezTo>
                    <a:pt x="96" y="696"/>
                    <a:pt x="87" y="645"/>
                    <a:pt x="77" y="587"/>
                  </a:cubicBezTo>
                  <a:cubicBezTo>
                    <a:pt x="53" y="455"/>
                    <a:pt x="23" y="285"/>
                    <a:pt x="0" y="161"/>
                  </a:cubicBezTo>
                  <a:cubicBezTo>
                    <a:pt x="12" y="157"/>
                    <a:pt x="12" y="157"/>
                    <a:pt x="12" y="157"/>
                  </a:cubicBezTo>
                  <a:cubicBezTo>
                    <a:pt x="145" y="114"/>
                    <a:pt x="145" y="114"/>
                    <a:pt x="145" y="114"/>
                  </a:cubicBezTo>
                  <a:cubicBezTo>
                    <a:pt x="173" y="27"/>
                    <a:pt x="173" y="27"/>
                    <a:pt x="173" y="27"/>
                  </a:cubicBezTo>
                  <a:cubicBezTo>
                    <a:pt x="272" y="0"/>
                    <a:pt x="272" y="0"/>
                    <a:pt x="272" y="0"/>
                  </a:cubicBezTo>
                  <a:cubicBezTo>
                    <a:pt x="272" y="0"/>
                    <a:pt x="294" y="44"/>
                    <a:pt x="314" y="249"/>
                  </a:cubicBezTo>
                  <a:cubicBezTo>
                    <a:pt x="317" y="275"/>
                    <a:pt x="321" y="305"/>
                    <a:pt x="323" y="337"/>
                  </a:cubicBezTo>
                  <a:close/>
                </a:path>
              </a:pathLst>
            </a:custGeom>
            <a:solidFill>
              <a:srgbClr val="233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id="{CFDA200D-4DA5-4ECA-B1A2-83D6CD12B7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2011"/>
              <a:ext cx="366" cy="1147"/>
            </a:xfrm>
            <a:custGeom>
              <a:avLst/>
              <a:gdLst>
                <a:gd name="T0" fmla="*/ 485 w 485"/>
                <a:gd name="T1" fmla="*/ 104 h 1522"/>
                <a:gd name="T2" fmla="*/ 480 w 485"/>
                <a:gd name="T3" fmla="*/ 62 h 1522"/>
                <a:gd name="T4" fmla="*/ 174 w 485"/>
                <a:gd name="T5" fmla="*/ 0 h 1522"/>
                <a:gd name="T6" fmla="*/ 104 w 485"/>
                <a:gd name="T7" fmla="*/ 241 h 1522"/>
                <a:gd name="T8" fmla="*/ 128 w 485"/>
                <a:gd name="T9" fmla="*/ 783 h 1522"/>
                <a:gd name="T10" fmla="*/ 136 w 485"/>
                <a:gd name="T11" fmla="*/ 858 h 1522"/>
                <a:gd name="T12" fmla="*/ 136 w 485"/>
                <a:gd name="T13" fmla="*/ 859 h 1522"/>
                <a:gd name="T14" fmla="*/ 134 w 485"/>
                <a:gd name="T15" fmla="*/ 868 h 1522"/>
                <a:gd name="T16" fmla="*/ 97 w 485"/>
                <a:gd name="T17" fmla="*/ 945 h 1522"/>
                <a:gd name="T18" fmla="*/ 112 w 485"/>
                <a:gd name="T19" fmla="*/ 1522 h 1522"/>
                <a:gd name="T20" fmla="*/ 141 w 485"/>
                <a:gd name="T21" fmla="*/ 1510 h 1522"/>
                <a:gd name="T22" fmla="*/ 257 w 485"/>
                <a:gd name="T23" fmla="*/ 999 h 1522"/>
                <a:gd name="T24" fmla="*/ 282 w 485"/>
                <a:gd name="T25" fmla="*/ 939 h 1522"/>
                <a:gd name="T26" fmla="*/ 344 w 485"/>
                <a:gd name="T27" fmla="*/ 773 h 1522"/>
                <a:gd name="T28" fmla="*/ 428 w 485"/>
                <a:gd name="T29" fmla="*/ 331 h 1522"/>
                <a:gd name="T30" fmla="*/ 485 w 485"/>
                <a:gd name="T31" fmla="*/ 104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5" h="1522">
                  <a:moveTo>
                    <a:pt x="485" y="104"/>
                  </a:moveTo>
                  <a:cubicBezTo>
                    <a:pt x="480" y="62"/>
                    <a:pt x="480" y="62"/>
                    <a:pt x="480" y="62"/>
                  </a:cubicBezTo>
                  <a:cubicBezTo>
                    <a:pt x="397" y="84"/>
                    <a:pt x="174" y="0"/>
                    <a:pt x="174" y="0"/>
                  </a:cubicBezTo>
                  <a:cubicBezTo>
                    <a:pt x="174" y="0"/>
                    <a:pt x="93" y="71"/>
                    <a:pt x="104" y="241"/>
                  </a:cubicBezTo>
                  <a:cubicBezTo>
                    <a:pt x="109" y="325"/>
                    <a:pt x="118" y="678"/>
                    <a:pt x="128" y="783"/>
                  </a:cubicBezTo>
                  <a:cubicBezTo>
                    <a:pt x="132" y="821"/>
                    <a:pt x="135" y="848"/>
                    <a:pt x="136" y="858"/>
                  </a:cubicBezTo>
                  <a:cubicBezTo>
                    <a:pt x="136" y="859"/>
                    <a:pt x="136" y="859"/>
                    <a:pt x="136" y="859"/>
                  </a:cubicBezTo>
                  <a:cubicBezTo>
                    <a:pt x="136" y="862"/>
                    <a:pt x="135" y="865"/>
                    <a:pt x="134" y="868"/>
                  </a:cubicBezTo>
                  <a:cubicBezTo>
                    <a:pt x="119" y="893"/>
                    <a:pt x="107" y="918"/>
                    <a:pt x="97" y="945"/>
                  </a:cubicBezTo>
                  <a:cubicBezTo>
                    <a:pt x="0" y="1203"/>
                    <a:pt x="112" y="1522"/>
                    <a:pt x="112" y="1522"/>
                  </a:cubicBezTo>
                  <a:cubicBezTo>
                    <a:pt x="141" y="1510"/>
                    <a:pt x="141" y="1510"/>
                    <a:pt x="141" y="1510"/>
                  </a:cubicBezTo>
                  <a:cubicBezTo>
                    <a:pt x="141" y="1510"/>
                    <a:pt x="205" y="1156"/>
                    <a:pt x="257" y="999"/>
                  </a:cubicBezTo>
                  <a:cubicBezTo>
                    <a:pt x="266" y="972"/>
                    <a:pt x="274" y="952"/>
                    <a:pt x="282" y="939"/>
                  </a:cubicBezTo>
                  <a:cubicBezTo>
                    <a:pt x="304" y="903"/>
                    <a:pt x="325" y="843"/>
                    <a:pt x="344" y="773"/>
                  </a:cubicBezTo>
                  <a:cubicBezTo>
                    <a:pt x="380" y="639"/>
                    <a:pt x="409" y="465"/>
                    <a:pt x="428" y="331"/>
                  </a:cubicBezTo>
                  <a:cubicBezTo>
                    <a:pt x="431" y="331"/>
                    <a:pt x="485" y="104"/>
                    <a:pt x="485" y="104"/>
                  </a:cubicBezTo>
                  <a:close/>
                </a:path>
              </a:pathLst>
            </a:custGeom>
            <a:solidFill>
              <a:srgbClr val="2B47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24">
              <a:extLst>
                <a:ext uri="{FF2B5EF4-FFF2-40B4-BE49-F238E27FC236}">
                  <a16:creationId xmlns:a16="http://schemas.microsoft.com/office/drawing/2014/main" id="{038B2ABF-FA64-4ADD-BC72-AA2FAA09E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" y="1629"/>
              <a:ext cx="324" cy="438"/>
            </a:xfrm>
            <a:custGeom>
              <a:avLst/>
              <a:gdLst>
                <a:gd name="T0" fmla="*/ 27 w 430"/>
                <a:gd name="T1" fmla="*/ 260 h 581"/>
                <a:gd name="T2" fmla="*/ 29 w 430"/>
                <a:gd name="T3" fmla="*/ 267 h 581"/>
                <a:gd name="T4" fmla="*/ 159 w 430"/>
                <a:gd name="T5" fmla="*/ 491 h 581"/>
                <a:gd name="T6" fmla="*/ 318 w 430"/>
                <a:gd name="T7" fmla="*/ 556 h 581"/>
                <a:gd name="T8" fmla="*/ 409 w 430"/>
                <a:gd name="T9" fmla="*/ 580 h 581"/>
                <a:gd name="T10" fmla="*/ 416 w 430"/>
                <a:gd name="T11" fmla="*/ 581 h 581"/>
                <a:gd name="T12" fmla="*/ 430 w 430"/>
                <a:gd name="T13" fmla="*/ 541 h 581"/>
                <a:gd name="T14" fmla="*/ 360 w 430"/>
                <a:gd name="T15" fmla="*/ 496 h 581"/>
                <a:gd name="T16" fmla="*/ 227 w 430"/>
                <a:gd name="T17" fmla="*/ 391 h 581"/>
                <a:gd name="T18" fmla="*/ 152 w 430"/>
                <a:gd name="T19" fmla="*/ 98 h 581"/>
                <a:gd name="T20" fmla="*/ 148 w 430"/>
                <a:gd name="T21" fmla="*/ 83 h 581"/>
                <a:gd name="T22" fmla="*/ 145 w 430"/>
                <a:gd name="T23" fmla="*/ 72 h 581"/>
                <a:gd name="T24" fmla="*/ 144 w 430"/>
                <a:gd name="T25" fmla="*/ 69 h 581"/>
                <a:gd name="T26" fmla="*/ 141 w 430"/>
                <a:gd name="T27" fmla="*/ 58 h 581"/>
                <a:gd name="T28" fmla="*/ 140 w 430"/>
                <a:gd name="T29" fmla="*/ 57 h 581"/>
                <a:gd name="T30" fmla="*/ 123 w 430"/>
                <a:gd name="T31" fmla="*/ 17 h 581"/>
                <a:gd name="T32" fmla="*/ 99 w 430"/>
                <a:gd name="T33" fmla="*/ 2 h 581"/>
                <a:gd name="T34" fmla="*/ 71 w 430"/>
                <a:gd name="T35" fmla="*/ 16 h 581"/>
                <a:gd name="T36" fmla="*/ 61 w 430"/>
                <a:gd name="T37" fmla="*/ 24 h 581"/>
                <a:gd name="T38" fmla="*/ 55 w 430"/>
                <a:gd name="T39" fmla="*/ 29 h 581"/>
                <a:gd name="T40" fmla="*/ 21 w 430"/>
                <a:gd name="T41" fmla="*/ 75 h 581"/>
                <a:gd name="T42" fmla="*/ 5 w 430"/>
                <a:gd name="T43" fmla="*/ 129 h 581"/>
                <a:gd name="T44" fmla="*/ 27 w 430"/>
                <a:gd name="T45" fmla="*/ 260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0" h="581">
                  <a:moveTo>
                    <a:pt x="27" y="260"/>
                  </a:moveTo>
                  <a:cubicBezTo>
                    <a:pt x="27" y="263"/>
                    <a:pt x="28" y="265"/>
                    <a:pt x="29" y="267"/>
                  </a:cubicBezTo>
                  <a:cubicBezTo>
                    <a:pt x="62" y="359"/>
                    <a:pt x="120" y="456"/>
                    <a:pt x="159" y="491"/>
                  </a:cubicBezTo>
                  <a:cubicBezTo>
                    <a:pt x="185" y="514"/>
                    <a:pt x="257" y="538"/>
                    <a:pt x="318" y="556"/>
                  </a:cubicBezTo>
                  <a:cubicBezTo>
                    <a:pt x="358" y="567"/>
                    <a:pt x="394" y="576"/>
                    <a:pt x="409" y="580"/>
                  </a:cubicBezTo>
                  <a:cubicBezTo>
                    <a:pt x="414" y="581"/>
                    <a:pt x="416" y="581"/>
                    <a:pt x="416" y="581"/>
                  </a:cubicBezTo>
                  <a:cubicBezTo>
                    <a:pt x="430" y="541"/>
                    <a:pt x="430" y="541"/>
                    <a:pt x="430" y="541"/>
                  </a:cubicBezTo>
                  <a:cubicBezTo>
                    <a:pt x="430" y="541"/>
                    <a:pt x="398" y="522"/>
                    <a:pt x="360" y="496"/>
                  </a:cubicBezTo>
                  <a:cubicBezTo>
                    <a:pt x="306" y="459"/>
                    <a:pt x="239" y="411"/>
                    <a:pt x="227" y="391"/>
                  </a:cubicBezTo>
                  <a:cubicBezTo>
                    <a:pt x="197" y="343"/>
                    <a:pt x="177" y="197"/>
                    <a:pt x="152" y="98"/>
                  </a:cubicBezTo>
                  <a:cubicBezTo>
                    <a:pt x="151" y="93"/>
                    <a:pt x="149" y="88"/>
                    <a:pt x="148" y="83"/>
                  </a:cubicBezTo>
                  <a:cubicBezTo>
                    <a:pt x="147" y="79"/>
                    <a:pt x="146" y="75"/>
                    <a:pt x="145" y="72"/>
                  </a:cubicBezTo>
                  <a:cubicBezTo>
                    <a:pt x="145" y="71"/>
                    <a:pt x="145" y="70"/>
                    <a:pt x="144" y="69"/>
                  </a:cubicBezTo>
                  <a:cubicBezTo>
                    <a:pt x="143" y="65"/>
                    <a:pt x="142" y="61"/>
                    <a:pt x="141" y="58"/>
                  </a:cubicBezTo>
                  <a:cubicBezTo>
                    <a:pt x="141" y="57"/>
                    <a:pt x="140" y="57"/>
                    <a:pt x="140" y="57"/>
                  </a:cubicBezTo>
                  <a:cubicBezTo>
                    <a:pt x="135" y="40"/>
                    <a:pt x="123" y="17"/>
                    <a:pt x="123" y="17"/>
                  </a:cubicBezTo>
                  <a:cubicBezTo>
                    <a:pt x="115" y="6"/>
                    <a:pt x="107" y="0"/>
                    <a:pt x="99" y="2"/>
                  </a:cubicBezTo>
                  <a:cubicBezTo>
                    <a:pt x="99" y="2"/>
                    <a:pt x="87" y="6"/>
                    <a:pt x="71" y="16"/>
                  </a:cubicBezTo>
                  <a:cubicBezTo>
                    <a:pt x="68" y="18"/>
                    <a:pt x="65" y="21"/>
                    <a:pt x="61" y="24"/>
                  </a:cubicBezTo>
                  <a:cubicBezTo>
                    <a:pt x="59" y="25"/>
                    <a:pt x="57" y="27"/>
                    <a:pt x="55" y="29"/>
                  </a:cubicBezTo>
                  <a:cubicBezTo>
                    <a:pt x="43" y="40"/>
                    <a:pt x="31" y="55"/>
                    <a:pt x="21" y="75"/>
                  </a:cubicBezTo>
                  <a:cubicBezTo>
                    <a:pt x="14" y="90"/>
                    <a:pt x="8" y="108"/>
                    <a:pt x="5" y="129"/>
                  </a:cubicBezTo>
                  <a:cubicBezTo>
                    <a:pt x="0" y="165"/>
                    <a:pt x="10" y="212"/>
                    <a:pt x="27" y="260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:a16="http://schemas.microsoft.com/office/drawing/2014/main" id="{CF8BE8E0-5AA1-483F-9C50-61AE4E088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" y="1481"/>
              <a:ext cx="227" cy="266"/>
            </a:xfrm>
            <a:custGeom>
              <a:avLst/>
              <a:gdLst>
                <a:gd name="T0" fmla="*/ 301 w 301"/>
                <a:gd name="T1" fmla="*/ 289 h 353"/>
                <a:gd name="T2" fmla="*/ 209 w 301"/>
                <a:gd name="T3" fmla="*/ 325 h 353"/>
                <a:gd name="T4" fmla="*/ 0 w 301"/>
                <a:gd name="T5" fmla="*/ 151 h 353"/>
                <a:gd name="T6" fmla="*/ 48 w 301"/>
                <a:gd name="T7" fmla="*/ 138 h 353"/>
                <a:gd name="T8" fmla="*/ 77 w 301"/>
                <a:gd name="T9" fmla="*/ 137 h 353"/>
                <a:gd name="T10" fmla="*/ 126 w 301"/>
                <a:gd name="T11" fmla="*/ 0 h 353"/>
                <a:gd name="T12" fmla="*/ 132 w 301"/>
                <a:gd name="T13" fmla="*/ 2 h 353"/>
                <a:gd name="T14" fmla="*/ 242 w 301"/>
                <a:gd name="T15" fmla="*/ 35 h 353"/>
                <a:gd name="T16" fmla="*/ 232 w 301"/>
                <a:gd name="T17" fmla="*/ 103 h 353"/>
                <a:gd name="T18" fmla="*/ 233 w 301"/>
                <a:gd name="T19" fmla="*/ 160 h 353"/>
                <a:gd name="T20" fmla="*/ 247 w 301"/>
                <a:gd name="T21" fmla="*/ 164 h 353"/>
                <a:gd name="T22" fmla="*/ 247 w 301"/>
                <a:gd name="T23" fmla="*/ 164 h 353"/>
                <a:gd name="T24" fmla="*/ 301 w 301"/>
                <a:gd name="T25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1" h="353">
                  <a:moveTo>
                    <a:pt x="301" y="289"/>
                  </a:moveTo>
                  <a:cubicBezTo>
                    <a:pt x="277" y="304"/>
                    <a:pt x="247" y="317"/>
                    <a:pt x="209" y="325"/>
                  </a:cubicBezTo>
                  <a:cubicBezTo>
                    <a:pt x="68" y="353"/>
                    <a:pt x="18" y="233"/>
                    <a:pt x="0" y="151"/>
                  </a:cubicBezTo>
                  <a:cubicBezTo>
                    <a:pt x="19" y="141"/>
                    <a:pt x="37" y="139"/>
                    <a:pt x="48" y="138"/>
                  </a:cubicBezTo>
                  <a:cubicBezTo>
                    <a:pt x="58" y="137"/>
                    <a:pt x="69" y="137"/>
                    <a:pt x="77" y="137"/>
                  </a:cubicBezTo>
                  <a:cubicBezTo>
                    <a:pt x="93" y="125"/>
                    <a:pt x="118" y="76"/>
                    <a:pt x="126" y="0"/>
                  </a:cubicBezTo>
                  <a:cubicBezTo>
                    <a:pt x="132" y="2"/>
                    <a:pt x="132" y="2"/>
                    <a:pt x="132" y="2"/>
                  </a:cubicBezTo>
                  <a:cubicBezTo>
                    <a:pt x="242" y="35"/>
                    <a:pt x="242" y="35"/>
                    <a:pt x="242" y="35"/>
                  </a:cubicBezTo>
                  <a:cubicBezTo>
                    <a:pt x="242" y="35"/>
                    <a:pt x="236" y="70"/>
                    <a:pt x="232" y="103"/>
                  </a:cubicBezTo>
                  <a:cubicBezTo>
                    <a:pt x="230" y="129"/>
                    <a:pt x="229" y="154"/>
                    <a:pt x="233" y="160"/>
                  </a:cubicBezTo>
                  <a:cubicBezTo>
                    <a:pt x="242" y="162"/>
                    <a:pt x="247" y="164"/>
                    <a:pt x="247" y="164"/>
                  </a:cubicBezTo>
                  <a:cubicBezTo>
                    <a:pt x="247" y="164"/>
                    <a:pt x="247" y="164"/>
                    <a:pt x="247" y="164"/>
                  </a:cubicBezTo>
                  <a:cubicBezTo>
                    <a:pt x="248" y="166"/>
                    <a:pt x="279" y="220"/>
                    <a:pt x="301" y="289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FB68A2F9-8667-46E5-8F7F-4ADB6A470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5" y="1482"/>
              <a:ext cx="82" cy="77"/>
            </a:xfrm>
            <a:custGeom>
              <a:avLst/>
              <a:gdLst>
                <a:gd name="T0" fmla="*/ 110 w 110"/>
                <a:gd name="T1" fmla="*/ 33 h 101"/>
                <a:gd name="T2" fmla="*/ 100 w 110"/>
                <a:gd name="T3" fmla="*/ 101 h 101"/>
                <a:gd name="T4" fmla="*/ 0 w 110"/>
                <a:gd name="T5" fmla="*/ 0 h 101"/>
                <a:gd name="T6" fmla="*/ 110 w 110"/>
                <a:gd name="T7" fmla="*/ 3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0" h="101">
                  <a:moveTo>
                    <a:pt x="110" y="33"/>
                  </a:moveTo>
                  <a:cubicBezTo>
                    <a:pt x="110" y="33"/>
                    <a:pt x="104" y="68"/>
                    <a:pt x="100" y="101"/>
                  </a:cubicBezTo>
                  <a:cubicBezTo>
                    <a:pt x="38" y="93"/>
                    <a:pt x="11" y="33"/>
                    <a:pt x="0" y="0"/>
                  </a:cubicBezTo>
                  <a:lnTo>
                    <a:pt x="110" y="33"/>
                  </a:lnTo>
                  <a:close/>
                </a:path>
              </a:pathLst>
            </a:custGeom>
            <a:solidFill>
              <a:srgbClr val="ED9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27">
              <a:extLst>
                <a:ext uri="{FF2B5EF4-FFF2-40B4-BE49-F238E27FC236}">
                  <a16:creationId xmlns:a16="http://schemas.microsoft.com/office/drawing/2014/main" id="{F8025D6C-9FBF-43BF-BD73-8F582CA63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9" y="1336"/>
              <a:ext cx="165" cy="197"/>
            </a:xfrm>
            <a:custGeom>
              <a:avLst/>
              <a:gdLst>
                <a:gd name="T0" fmla="*/ 148 w 219"/>
                <a:gd name="T1" fmla="*/ 261 h 261"/>
                <a:gd name="T2" fmla="*/ 9 w 219"/>
                <a:gd name="T3" fmla="*/ 156 h 261"/>
                <a:gd name="T4" fmla="*/ 100 w 219"/>
                <a:gd name="T5" fmla="*/ 4 h 261"/>
                <a:gd name="T6" fmla="*/ 215 w 219"/>
                <a:gd name="T7" fmla="*/ 77 h 261"/>
                <a:gd name="T8" fmla="*/ 148 w 219"/>
                <a:gd name="T9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61">
                  <a:moveTo>
                    <a:pt x="148" y="261"/>
                  </a:moveTo>
                  <a:cubicBezTo>
                    <a:pt x="148" y="261"/>
                    <a:pt x="0" y="248"/>
                    <a:pt x="9" y="156"/>
                  </a:cubicBezTo>
                  <a:cubicBezTo>
                    <a:pt x="18" y="64"/>
                    <a:pt x="5" y="0"/>
                    <a:pt x="100" y="4"/>
                  </a:cubicBezTo>
                  <a:cubicBezTo>
                    <a:pt x="196" y="8"/>
                    <a:pt x="210" y="45"/>
                    <a:pt x="215" y="77"/>
                  </a:cubicBezTo>
                  <a:cubicBezTo>
                    <a:pt x="219" y="108"/>
                    <a:pt x="187" y="261"/>
                    <a:pt x="148" y="261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3B67BAC1-93A9-4E8C-949A-4257DC66A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" y="1585"/>
              <a:ext cx="408" cy="540"/>
            </a:xfrm>
            <a:custGeom>
              <a:avLst/>
              <a:gdLst>
                <a:gd name="T0" fmla="*/ 542 w 542"/>
                <a:gd name="T1" fmla="*/ 141 h 717"/>
                <a:gd name="T2" fmla="*/ 539 w 542"/>
                <a:gd name="T3" fmla="*/ 130 h 717"/>
                <a:gd name="T4" fmla="*/ 538 w 542"/>
                <a:gd name="T5" fmla="*/ 127 h 717"/>
                <a:gd name="T6" fmla="*/ 535 w 542"/>
                <a:gd name="T7" fmla="*/ 116 h 717"/>
                <a:gd name="T8" fmla="*/ 534 w 542"/>
                <a:gd name="T9" fmla="*/ 115 h 717"/>
                <a:gd name="T10" fmla="*/ 517 w 542"/>
                <a:gd name="T11" fmla="*/ 75 h 717"/>
                <a:gd name="T12" fmla="*/ 500 w 542"/>
                <a:gd name="T13" fmla="*/ 57 h 717"/>
                <a:gd name="T14" fmla="*/ 412 w 542"/>
                <a:gd name="T15" fmla="*/ 26 h 717"/>
                <a:gd name="T16" fmla="*/ 412 w 542"/>
                <a:gd name="T17" fmla="*/ 26 h 717"/>
                <a:gd name="T18" fmla="*/ 446 w 542"/>
                <a:gd name="T19" fmla="*/ 140 h 717"/>
                <a:gd name="T20" fmla="*/ 237 w 542"/>
                <a:gd name="T21" fmla="*/ 109 h 717"/>
                <a:gd name="T22" fmla="*/ 214 w 542"/>
                <a:gd name="T23" fmla="*/ 10 h 717"/>
                <a:gd name="T24" fmla="*/ 213 w 542"/>
                <a:gd name="T25" fmla="*/ 0 h 717"/>
                <a:gd name="T26" fmla="*/ 108 w 542"/>
                <a:gd name="T27" fmla="*/ 22 h 717"/>
                <a:gd name="T28" fmla="*/ 138 w 542"/>
                <a:gd name="T29" fmla="*/ 87 h 717"/>
                <a:gd name="T30" fmla="*/ 141 w 542"/>
                <a:gd name="T31" fmla="*/ 98 h 717"/>
                <a:gd name="T32" fmla="*/ 145 w 542"/>
                <a:gd name="T33" fmla="*/ 119 h 717"/>
                <a:gd name="T34" fmla="*/ 135 w 542"/>
                <a:gd name="T35" fmla="*/ 147 h 717"/>
                <a:gd name="T36" fmla="*/ 111 w 542"/>
                <a:gd name="T37" fmla="*/ 173 h 717"/>
                <a:gd name="T38" fmla="*/ 91 w 542"/>
                <a:gd name="T39" fmla="*/ 193 h 717"/>
                <a:gd name="T40" fmla="*/ 91 w 542"/>
                <a:gd name="T41" fmla="*/ 193 h 717"/>
                <a:gd name="T42" fmla="*/ 113 w 542"/>
                <a:gd name="T43" fmla="*/ 381 h 717"/>
                <a:gd name="T44" fmla="*/ 102 w 542"/>
                <a:gd name="T45" fmla="*/ 436 h 717"/>
                <a:gd name="T46" fmla="*/ 92 w 542"/>
                <a:gd name="T47" fmla="*/ 456 h 717"/>
                <a:gd name="T48" fmla="*/ 24 w 542"/>
                <a:gd name="T49" fmla="*/ 660 h 717"/>
                <a:gd name="T50" fmla="*/ 468 w 542"/>
                <a:gd name="T51" fmla="*/ 661 h 717"/>
                <a:gd name="T52" fmla="*/ 513 w 542"/>
                <a:gd name="T53" fmla="*/ 248 h 717"/>
                <a:gd name="T54" fmla="*/ 515 w 542"/>
                <a:gd name="T55" fmla="*/ 239 h 717"/>
                <a:gd name="T56" fmla="*/ 508 w 542"/>
                <a:gd name="T57" fmla="*/ 150 h 717"/>
                <a:gd name="T58" fmla="*/ 542 w 542"/>
                <a:gd name="T59" fmla="*/ 141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42" h="717">
                  <a:moveTo>
                    <a:pt x="542" y="141"/>
                  </a:moveTo>
                  <a:cubicBezTo>
                    <a:pt x="541" y="137"/>
                    <a:pt x="540" y="133"/>
                    <a:pt x="539" y="130"/>
                  </a:cubicBezTo>
                  <a:cubicBezTo>
                    <a:pt x="539" y="129"/>
                    <a:pt x="539" y="128"/>
                    <a:pt x="538" y="127"/>
                  </a:cubicBezTo>
                  <a:cubicBezTo>
                    <a:pt x="537" y="123"/>
                    <a:pt x="536" y="119"/>
                    <a:pt x="535" y="116"/>
                  </a:cubicBezTo>
                  <a:cubicBezTo>
                    <a:pt x="535" y="115"/>
                    <a:pt x="534" y="115"/>
                    <a:pt x="534" y="115"/>
                  </a:cubicBezTo>
                  <a:cubicBezTo>
                    <a:pt x="529" y="98"/>
                    <a:pt x="517" y="75"/>
                    <a:pt x="517" y="75"/>
                  </a:cubicBezTo>
                  <a:cubicBezTo>
                    <a:pt x="511" y="67"/>
                    <a:pt x="506" y="60"/>
                    <a:pt x="500" y="57"/>
                  </a:cubicBezTo>
                  <a:cubicBezTo>
                    <a:pt x="495" y="54"/>
                    <a:pt x="470" y="39"/>
                    <a:pt x="412" y="26"/>
                  </a:cubicBezTo>
                  <a:cubicBezTo>
                    <a:pt x="412" y="26"/>
                    <a:pt x="412" y="26"/>
                    <a:pt x="412" y="26"/>
                  </a:cubicBezTo>
                  <a:cubicBezTo>
                    <a:pt x="414" y="29"/>
                    <a:pt x="453" y="119"/>
                    <a:pt x="446" y="140"/>
                  </a:cubicBezTo>
                  <a:cubicBezTo>
                    <a:pt x="440" y="162"/>
                    <a:pt x="249" y="123"/>
                    <a:pt x="237" y="109"/>
                  </a:cubicBezTo>
                  <a:cubicBezTo>
                    <a:pt x="227" y="98"/>
                    <a:pt x="217" y="35"/>
                    <a:pt x="214" y="10"/>
                  </a:cubicBezTo>
                  <a:cubicBezTo>
                    <a:pt x="213" y="4"/>
                    <a:pt x="213" y="0"/>
                    <a:pt x="213" y="0"/>
                  </a:cubicBezTo>
                  <a:cubicBezTo>
                    <a:pt x="213" y="0"/>
                    <a:pt x="144" y="1"/>
                    <a:pt x="108" y="22"/>
                  </a:cubicBezTo>
                  <a:cubicBezTo>
                    <a:pt x="108" y="22"/>
                    <a:pt x="127" y="52"/>
                    <a:pt x="138" y="87"/>
                  </a:cubicBezTo>
                  <a:cubicBezTo>
                    <a:pt x="139" y="91"/>
                    <a:pt x="140" y="94"/>
                    <a:pt x="141" y="98"/>
                  </a:cubicBezTo>
                  <a:cubicBezTo>
                    <a:pt x="143" y="105"/>
                    <a:pt x="144" y="112"/>
                    <a:pt x="145" y="119"/>
                  </a:cubicBezTo>
                  <a:cubicBezTo>
                    <a:pt x="146" y="129"/>
                    <a:pt x="142" y="138"/>
                    <a:pt x="135" y="147"/>
                  </a:cubicBezTo>
                  <a:cubicBezTo>
                    <a:pt x="129" y="155"/>
                    <a:pt x="121" y="164"/>
                    <a:pt x="111" y="173"/>
                  </a:cubicBezTo>
                  <a:cubicBezTo>
                    <a:pt x="105" y="180"/>
                    <a:pt x="98" y="186"/>
                    <a:pt x="91" y="193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97" y="236"/>
                    <a:pt x="110" y="305"/>
                    <a:pt x="113" y="381"/>
                  </a:cubicBezTo>
                  <a:cubicBezTo>
                    <a:pt x="114" y="400"/>
                    <a:pt x="110" y="419"/>
                    <a:pt x="102" y="436"/>
                  </a:cubicBezTo>
                  <a:cubicBezTo>
                    <a:pt x="99" y="443"/>
                    <a:pt x="96" y="450"/>
                    <a:pt x="92" y="456"/>
                  </a:cubicBezTo>
                  <a:cubicBezTo>
                    <a:pt x="58" y="507"/>
                    <a:pt x="0" y="607"/>
                    <a:pt x="24" y="660"/>
                  </a:cubicBezTo>
                  <a:cubicBezTo>
                    <a:pt x="32" y="713"/>
                    <a:pt x="486" y="717"/>
                    <a:pt x="468" y="661"/>
                  </a:cubicBezTo>
                  <a:cubicBezTo>
                    <a:pt x="468" y="661"/>
                    <a:pt x="488" y="330"/>
                    <a:pt x="513" y="248"/>
                  </a:cubicBezTo>
                  <a:cubicBezTo>
                    <a:pt x="514" y="245"/>
                    <a:pt x="514" y="242"/>
                    <a:pt x="515" y="239"/>
                  </a:cubicBezTo>
                  <a:cubicBezTo>
                    <a:pt x="522" y="207"/>
                    <a:pt x="516" y="177"/>
                    <a:pt x="508" y="150"/>
                  </a:cubicBezTo>
                  <a:cubicBezTo>
                    <a:pt x="520" y="145"/>
                    <a:pt x="533" y="142"/>
                    <a:pt x="542" y="141"/>
                  </a:cubicBezTo>
                  <a:close/>
                </a:path>
              </a:pathLst>
            </a:custGeom>
            <a:solidFill>
              <a:srgbClr val="FF98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29">
              <a:extLst>
                <a:ext uri="{FF2B5EF4-FFF2-40B4-BE49-F238E27FC236}">
                  <a16:creationId xmlns:a16="http://schemas.microsoft.com/office/drawing/2014/main" id="{825D8D63-1822-496C-B8A7-DEDFE367B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" y="1302"/>
              <a:ext cx="212" cy="154"/>
            </a:xfrm>
            <a:custGeom>
              <a:avLst/>
              <a:gdLst>
                <a:gd name="T0" fmla="*/ 252 w 282"/>
                <a:gd name="T1" fmla="*/ 71 h 205"/>
                <a:gd name="T2" fmla="*/ 203 w 282"/>
                <a:gd name="T3" fmla="*/ 53 h 205"/>
                <a:gd name="T4" fmla="*/ 68 w 282"/>
                <a:gd name="T5" fmla="*/ 61 h 205"/>
                <a:gd name="T6" fmla="*/ 0 w 282"/>
                <a:gd name="T7" fmla="*/ 159 h 205"/>
                <a:gd name="T8" fmla="*/ 89 w 282"/>
                <a:gd name="T9" fmla="*/ 169 h 205"/>
                <a:gd name="T10" fmla="*/ 143 w 282"/>
                <a:gd name="T11" fmla="*/ 139 h 205"/>
                <a:gd name="T12" fmla="*/ 76 w 282"/>
                <a:gd name="T13" fmla="*/ 205 h 205"/>
                <a:gd name="T14" fmla="*/ 198 w 282"/>
                <a:gd name="T15" fmla="*/ 68 h 205"/>
                <a:gd name="T16" fmla="*/ 226 w 282"/>
                <a:gd name="T17" fmla="*/ 114 h 205"/>
                <a:gd name="T18" fmla="*/ 244 w 282"/>
                <a:gd name="T19" fmla="*/ 186 h 205"/>
                <a:gd name="T20" fmla="*/ 252 w 282"/>
                <a:gd name="T21" fmla="*/ 7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2" h="205">
                  <a:moveTo>
                    <a:pt x="252" y="71"/>
                  </a:moveTo>
                  <a:cubicBezTo>
                    <a:pt x="231" y="41"/>
                    <a:pt x="214" y="45"/>
                    <a:pt x="203" y="53"/>
                  </a:cubicBezTo>
                  <a:cubicBezTo>
                    <a:pt x="127" y="0"/>
                    <a:pt x="68" y="61"/>
                    <a:pt x="68" y="61"/>
                  </a:cubicBezTo>
                  <a:cubicBezTo>
                    <a:pt x="51" y="126"/>
                    <a:pt x="0" y="159"/>
                    <a:pt x="0" y="159"/>
                  </a:cubicBezTo>
                  <a:cubicBezTo>
                    <a:pt x="0" y="159"/>
                    <a:pt x="25" y="178"/>
                    <a:pt x="89" y="169"/>
                  </a:cubicBezTo>
                  <a:cubicBezTo>
                    <a:pt x="108" y="166"/>
                    <a:pt x="127" y="154"/>
                    <a:pt x="143" y="139"/>
                  </a:cubicBezTo>
                  <a:cubicBezTo>
                    <a:pt x="113" y="178"/>
                    <a:pt x="76" y="205"/>
                    <a:pt x="76" y="205"/>
                  </a:cubicBezTo>
                  <a:cubicBezTo>
                    <a:pt x="154" y="179"/>
                    <a:pt x="194" y="78"/>
                    <a:pt x="198" y="68"/>
                  </a:cubicBezTo>
                  <a:cubicBezTo>
                    <a:pt x="206" y="77"/>
                    <a:pt x="222" y="96"/>
                    <a:pt x="226" y="114"/>
                  </a:cubicBezTo>
                  <a:cubicBezTo>
                    <a:pt x="231" y="138"/>
                    <a:pt x="230" y="187"/>
                    <a:pt x="244" y="186"/>
                  </a:cubicBezTo>
                  <a:cubicBezTo>
                    <a:pt x="244" y="186"/>
                    <a:pt x="282" y="116"/>
                    <a:pt x="252" y="71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30">
              <a:extLst>
                <a:ext uri="{FF2B5EF4-FFF2-40B4-BE49-F238E27FC236}">
                  <a16:creationId xmlns:a16="http://schemas.microsoft.com/office/drawing/2014/main" id="{1209229B-56D2-4049-BD52-088A560B6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" y="1696"/>
              <a:ext cx="272" cy="328"/>
            </a:xfrm>
            <a:custGeom>
              <a:avLst/>
              <a:gdLst>
                <a:gd name="T0" fmla="*/ 242 w 361"/>
                <a:gd name="T1" fmla="*/ 424 h 435"/>
                <a:gd name="T2" fmla="*/ 11 w 361"/>
                <a:gd name="T3" fmla="*/ 289 h 435"/>
                <a:gd name="T4" fmla="*/ 22 w 361"/>
                <a:gd name="T5" fmla="*/ 234 h 435"/>
                <a:gd name="T6" fmla="*/ 0 w 361"/>
                <a:gd name="T7" fmla="*/ 46 h 435"/>
                <a:gd name="T8" fmla="*/ 0 w 361"/>
                <a:gd name="T9" fmla="*/ 46 h 435"/>
                <a:gd name="T10" fmla="*/ 20 w 361"/>
                <a:gd name="T11" fmla="*/ 26 h 435"/>
                <a:gd name="T12" fmla="*/ 44 w 361"/>
                <a:gd name="T13" fmla="*/ 0 h 435"/>
                <a:gd name="T14" fmla="*/ 242 w 361"/>
                <a:gd name="T15" fmla="*/ 424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1" h="435">
                  <a:moveTo>
                    <a:pt x="242" y="424"/>
                  </a:moveTo>
                  <a:cubicBezTo>
                    <a:pt x="154" y="435"/>
                    <a:pt x="67" y="355"/>
                    <a:pt x="11" y="289"/>
                  </a:cubicBezTo>
                  <a:cubicBezTo>
                    <a:pt x="19" y="272"/>
                    <a:pt x="23" y="253"/>
                    <a:pt x="22" y="234"/>
                  </a:cubicBezTo>
                  <a:cubicBezTo>
                    <a:pt x="19" y="158"/>
                    <a:pt x="6" y="89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7" y="39"/>
                    <a:pt x="14" y="33"/>
                    <a:pt x="20" y="26"/>
                  </a:cubicBezTo>
                  <a:cubicBezTo>
                    <a:pt x="30" y="17"/>
                    <a:pt x="38" y="8"/>
                    <a:pt x="44" y="0"/>
                  </a:cubicBezTo>
                  <a:cubicBezTo>
                    <a:pt x="134" y="110"/>
                    <a:pt x="361" y="408"/>
                    <a:pt x="242" y="424"/>
                  </a:cubicBezTo>
                  <a:close/>
                </a:path>
              </a:pathLst>
            </a:custGeom>
            <a:solidFill>
              <a:srgbClr val="ED7D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31">
              <a:extLst>
                <a:ext uri="{FF2B5EF4-FFF2-40B4-BE49-F238E27FC236}">
                  <a16:creationId xmlns:a16="http://schemas.microsoft.com/office/drawing/2014/main" id="{943CA9D9-A089-4E67-B843-BBDDE6FC07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" y="2025"/>
              <a:ext cx="145" cy="78"/>
            </a:xfrm>
            <a:custGeom>
              <a:avLst/>
              <a:gdLst>
                <a:gd name="T0" fmla="*/ 173 w 193"/>
                <a:gd name="T1" fmla="*/ 74 h 104"/>
                <a:gd name="T2" fmla="*/ 84 w 193"/>
                <a:gd name="T3" fmla="*/ 82 h 104"/>
                <a:gd name="T4" fmla="*/ 9 w 193"/>
                <a:gd name="T5" fmla="*/ 49 h 104"/>
                <a:gd name="T6" fmla="*/ 0 w 193"/>
                <a:gd name="T7" fmla="*/ 46 h 104"/>
                <a:gd name="T8" fmla="*/ 22 w 193"/>
                <a:gd name="T9" fmla="*/ 0 h 104"/>
                <a:gd name="T10" fmla="*/ 24 w 193"/>
                <a:gd name="T11" fmla="*/ 0 h 104"/>
                <a:gd name="T12" fmla="*/ 115 w 193"/>
                <a:gd name="T13" fmla="*/ 19 h 104"/>
                <a:gd name="T14" fmla="*/ 189 w 193"/>
                <a:gd name="T15" fmla="*/ 57 h 104"/>
                <a:gd name="T16" fmla="*/ 173 w 193"/>
                <a:gd name="T17" fmla="*/ 7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3" h="104">
                  <a:moveTo>
                    <a:pt x="173" y="74"/>
                  </a:moveTo>
                  <a:cubicBezTo>
                    <a:pt x="154" y="79"/>
                    <a:pt x="124" y="104"/>
                    <a:pt x="84" y="82"/>
                  </a:cubicBezTo>
                  <a:cubicBezTo>
                    <a:pt x="55" y="67"/>
                    <a:pt x="24" y="55"/>
                    <a:pt x="9" y="49"/>
                  </a:cubicBezTo>
                  <a:cubicBezTo>
                    <a:pt x="3" y="47"/>
                    <a:pt x="0" y="46"/>
                    <a:pt x="0" y="46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3" y="0"/>
                    <a:pt x="24" y="0"/>
                  </a:cubicBezTo>
                  <a:cubicBezTo>
                    <a:pt x="35" y="4"/>
                    <a:pt x="88" y="22"/>
                    <a:pt x="115" y="19"/>
                  </a:cubicBezTo>
                  <a:cubicBezTo>
                    <a:pt x="144" y="16"/>
                    <a:pt x="189" y="57"/>
                    <a:pt x="189" y="57"/>
                  </a:cubicBezTo>
                  <a:cubicBezTo>
                    <a:pt x="189" y="57"/>
                    <a:pt x="193" y="68"/>
                    <a:pt x="173" y="74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32">
              <a:extLst>
                <a:ext uri="{FF2B5EF4-FFF2-40B4-BE49-F238E27FC236}">
                  <a16:creationId xmlns:a16="http://schemas.microsoft.com/office/drawing/2014/main" id="{89273861-D760-498C-B2DC-4D01E63A1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" y="3078"/>
              <a:ext cx="177" cy="98"/>
            </a:xfrm>
            <a:custGeom>
              <a:avLst/>
              <a:gdLst>
                <a:gd name="T0" fmla="*/ 235 w 235"/>
                <a:gd name="T1" fmla="*/ 130 h 130"/>
                <a:gd name="T2" fmla="*/ 5 w 235"/>
                <a:gd name="T3" fmla="*/ 130 h 130"/>
                <a:gd name="T4" fmla="*/ 12 w 235"/>
                <a:gd name="T5" fmla="*/ 68 h 130"/>
                <a:gd name="T6" fmla="*/ 37 w 235"/>
                <a:gd name="T7" fmla="*/ 0 h 130"/>
                <a:gd name="T8" fmla="*/ 108 w 235"/>
                <a:gd name="T9" fmla="*/ 28 h 130"/>
                <a:gd name="T10" fmla="*/ 148 w 235"/>
                <a:gd name="T11" fmla="*/ 79 h 130"/>
                <a:gd name="T12" fmla="*/ 235 w 235"/>
                <a:gd name="T1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130">
                  <a:moveTo>
                    <a:pt x="235" y="130"/>
                  </a:moveTo>
                  <a:cubicBezTo>
                    <a:pt x="5" y="130"/>
                    <a:pt x="5" y="130"/>
                    <a:pt x="5" y="130"/>
                  </a:cubicBezTo>
                  <a:cubicBezTo>
                    <a:pt x="5" y="130"/>
                    <a:pt x="0" y="95"/>
                    <a:pt x="12" y="68"/>
                  </a:cubicBezTo>
                  <a:cubicBezTo>
                    <a:pt x="23" y="43"/>
                    <a:pt x="41" y="31"/>
                    <a:pt x="37" y="0"/>
                  </a:cubicBezTo>
                  <a:cubicBezTo>
                    <a:pt x="51" y="15"/>
                    <a:pt x="75" y="32"/>
                    <a:pt x="108" y="28"/>
                  </a:cubicBezTo>
                  <a:cubicBezTo>
                    <a:pt x="113" y="34"/>
                    <a:pt x="135" y="69"/>
                    <a:pt x="148" y="79"/>
                  </a:cubicBezTo>
                  <a:cubicBezTo>
                    <a:pt x="163" y="90"/>
                    <a:pt x="231" y="86"/>
                    <a:pt x="235" y="130"/>
                  </a:cubicBezTo>
                  <a:close/>
                </a:path>
              </a:pathLst>
            </a:custGeom>
            <a:solidFill>
              <a:srgbClr val="233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33">
              <a:extLst>
                <a:ext uri="{FF2B5EF4-FFF2-40B4-BE49-F238E27FC236}">
                  <a16:creationId xmlns:a16="http://schemas.microsoft.com/office/drawing/2014/main" id="{806B100E-9F8D-4530-809F-D6FD4E0E1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5" y="3085"/>
              <a:ext cx="180" cy="91"/>
            </a:xfrm>
            <a:custGeom>
              <a:avLst/>
              <a:gdLst>
                <a:gd name="T0" fmla="*/ 239 w 239"/>
                <a:gd name="T1" fmla="*/ 120 h 120"/>
                <a:gd name="T2" fmla="*/ 9 w 239"/>
                <a:gd name="T3" fmla="*/ 120 h 120"/>
                <a:gd name="T4" fmla="*/ 16 w 239"/>
                <a:gd name="T5" fmla="*/ 58 h 120"/>
                <a:gd name="T6" fmla="*/ 14 w 239"/>
                <a:gd name="T7" fmla="*/ 5 h 120"/>
                <a:gd name="T8" fmla="*/ 53 w 239"/>
                <a:gd name="T9" fmla="*/ 12 h 120"/>
                <a:gd name="T10" fmla="*/ 87 w 239"/>
                <a:gd name="T11" fmla="*/ 0 h 120"/>
                <a:gd name="T12" fmla="*/ 152 w 239"/>
                <a:gd name="T13" fmla="*/ 69 h 120"/>
                <a:gd name="T14" fmla="*/ 239 w 239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9" h="120">
                  <a:moveTo>
                    <a:pt x="239" y="120"/>
                  </a:moveTo>
                  <a:cubicBezTo>
                    <a:pt x="9" y="120"/>
                    <a:pt x="9" y="120"/>
                    <a:pt x="9" y="120"/>
                  </a:cubicBezTo>
                  <a:cubicBezTo>
                    <a:pt x="9" y="120"/>
                    <a:pt x="0" y="83"/>
                    <a:pt x="16" y="58"/>
                  </a:cubicBezTo>
                  <a:cubicBezTo>
                    <a:pt x="29" y="36"/>
                    <a:pt x="24" y="23"/>
                    <a:pt x="14" y="5"/>
                  </a:cubicBezTo>
                  <a:cubicBezTo>
                    <a:pt x="24" y="9"/>
                    <a:pt x="38" y="13"/>
                    <a:pt x="53" y="12"/>
                  </a:cubicBezTo>
                  <a:cubicBezTo>
                    <a:pt x="64" y="12"/>
                    <a:pt x="76" y="7"/>
                    <a:pt x="87" y="0"/>
                  </a:cubicBezTo>
                  <a:cubicBezTo>
                    <a:pt x="97" y="12"/>
                    <a:pt x="139" y="60"/>
                    <a:pt x="152" y="69"/>
                  </a:cubicBezTo>
                  <a:cubicBezTo>
                    <a:pt x="168" y="80"/>
                    <a:pt x="235" y="76"/>
                    <a:pt x="239" y="120"/>
                  </a:cubicBezTo>
                  <a:close/>
                </a:path>
              </a:pathLst>
            </a:custGeom>
            <a:solidFill>
              <a:srgbClr val="233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34">
              <a:extLst>
                <a:ext uri="{FF2B5EF4-FFF2-40B4-BE49-F238E27FC236}">
                  <a16:creationId xmlns:a16="http://schemas.microsoft.com/office/drawing/2014/main" id="{1F14D417-3540-4C10-982F-510372D30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" y="1483"/>
              <a:ext cx="43" cy="19"/>
            </a:xfrm>
            <a:custGeom>
              <a:avLst/>
              <a:gdLst>
                <a:gd name="T0" fmla="*/ 0 w 57"/>
                <a:gd name="T1" fmla="*/ 12 h 25"/>
                <a:gd name="T2" fmla="*/ 32 w 57"/>
                <a:gd name="T3" fmla="*/ 25 h 25"/>
                <a:gd name="T4" fmla="*/ 57 w 57"/>
                <a:gd name="T5" fmla="*/ 11 h 25"/>
                <a:gd name="T6" fmla="*/ 0 w 57"/>
                <a:gd name="T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25">
                  <a:moveTo>
                    <a:pt x="0" y="12"/>
                  </a:moveTo>
                  <a:cubicBezTo>
                    <a:pt x="0" y="12"/>
                    <a:pt x="2" y="25"/>
                    <a:pt x="32" y="25"/>
                  </a:cubicBezTo>
                  <a:cubicBezTo>
                    <a:pt x="32" y="25"/>
                    <a:pt x="57" y="25"/>
                    <a:pt x="57" y="11"/>
                  </a:cubicBezTo>
                  <a:cubicBezTo>
                    <a:pt x="57" y="11"/>
                    <a:pt x="34" y="0"/>
                    <a:pt x="0" y="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35">
              <a:extLst>
                <a:ext uri="{FF2B5EF4-FFF2-40B4-BE49-F238E27FC236}">
                  <a16:creationId xmlns:a16="http://schemas.microsoft.com/office/drawing/2014/main" id="{E34B155E-C77E-4193-9857-9587080C2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1" y="2026"/>
              <a:ext cx="71" cy="21"/>
            </a:xfrm>
            <a:custGeom>
              <a:avLst/>
              <a:gdLst>
                <a:gd name="T0" fmla="*/ 0 w 95"/>
                <a:gd name="T1" fmla="*/ 16 h 28"/>
                <a:gd name="T2" fmla="*/ 34 w 95"/>
                <a:gd name="T3" fmla="*/ 7 h 28"/>
                <a:gd name="T4" fmla="*/ 90 w 95"/>
                <a:gd name="T5" fmla="*/ 18 h 28"/>
                <a:gd name="T6" fmla="*/ 57 w 95"/>
                <a:gd name="T7" fmla="*/ 20 h 28"/>
                <a:gd name="T8" fmla="*/ 45 w 95"/>
                <a:gd name="T9" fmla="*/ 28 h 28"/>
                <a:gd name="T10" fmla="*/ 0 w 95"/>
                <a:gd name="T11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5" h="28">
                  <a:moveTo>
                    <a:pt x="0" y="16"/>
                  </a:moveTo>
                  <a:cubicBezTo>
                    <a:pt x="0" y="16"/>
                    <a:pt x="19" y="15"/>
                    <a:pt x="34" y="7"/>
                  </a:cubicBezTo>
                  <a:cubicBezTo>
                    <a:pt x="48" y="0"/>
                    <a:pt x="95" y="12"/>
                    <a:pt x="90" y="18"/>
                  </a:cubicBezTo>
                  <a:cubicBezTo>
                    <a:pt x="85" y="24"/>
                    <a:pt x="59" y="17"/>
                    <a:pt x="57" y="20"/>
                  </a:cubicBezTo>
                  <a:cubicBezTo>
                    <a:pt x="54" y="24"/>
                    <a:pt x="45" y="28"/>
                    <a:pt x="45" y="28"/>
                  </a:cubicBezTo>
                  <a:lnTo>
                    <a:pt x="0" y="16"/>
                  </a:ln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36">
              <a:extLst>
                <a:ext uri="{FF2B5EF4-FFF2-40B4-BE49-F238E27FC236}">
                  <a16:creationId xmlns:a16="http://schemas.microsoft.com/office/drawing/2014/main" id="{4AB24B6C-32F5-4761-9D05-1E7A40F6E8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" y="1534"/>
              <a:ext cx="1043" cy="1044"/>
            </a:xfrm>
            <a:custGeom>
              <a:avLst/>
              <a:gdLst>
                <a:gd name="T0" fmla="*/ 1147 w 1384"/>
                <a:gd name="T1" fmla="*/ 1384 h 1384"/>
                <a:gd name="T2" fmla="*/ 237 w 1384"/>
                <a:gd name="T3" fmla="*/ 1384 h 1384"/>
                <a:gd name="T4" fmla="*/ 0 w 1384"/>
                <a:gd name="T5" fmla="*/ 1148 h 1384"/>
                <a:gd name="T6" fmla="*/ 0 w 1384"/>
                <a:gd name="T7" fmla="*/ 237 h 1384"/>
                <a:gd name="T8" fmla="*/ 237 w 1384"/>
                <a:gd name="T9" fmla="*/ 0 h 1384"/>
                <a:gd name="T10" fmla="*/ 1147 w 1384"/>
                <a:gd name="T11" fmla="*/ 0 h 1384"/>
                <a:gd name="T12" fmla="*/ 1384 w 1384"/>
                <a:gd name="T13" fmla="*/ 237 h 1384"/>
                <a:gd name="T14" fmla="*/ 1384 w 1384"/>
                <a:gd name="T15" fmla="*/ 1148 h 1384"/>
                <a:gd name="T16" fmla="*/ 1147 w 1384"/>
                <a:gd name="T17" fmla="*/ 1384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4" h="1384">
                  <a:moveTo>
                    <a:pt x="1147" y="1384"/>
                  </a:moveTo>
                  <a:cubicBezTo>
                    <a:pt x="237" y="1384"/>
                    <a:pt x="237" y="1384"/>
                    <a:pt x="237" y="1384"/>
                  </a:cubicBezTo>
                  <a:cubicBezTo>
                    <a:pt x="106" y="1384"/>
                    <a:pt x="0" y="1278"/>
                    <a:pt x="0" y="1148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106"/>
                    <a:pt x="106" y="0"/>
                    <a:pt x="237" y="0"/>
                  </a:cubicBezTo>
                  <a:cubicBezTo>
                    <a:pt x="1147" y="0"/>
                    <a:pt x="1147" y="0"/>
                    <a:pt x="1147" y="0"/>
                  </a:cubicBezTo>
                  <a:cubicBezTo>
                    <a:pt x="1278" y="0"/>
                    <a:pt x="1384" y="106"/>
                    <a:pt x="1384" y="237"/>
                  </a:cubicBezTo>
                  <a:cubicBezTo>
                    <a:pt x="1384" y="1148"/>
                    <a:pt x="1384" y="1148"/>
                    <a:pt x="1384" y="1148"/>
                  </a:cubicBezTo>
                  <a:cubicBezTo>
                    <a:pt x="1384" y="1278"/>
                    <a:pt x="1278" y="1384"/>
                    <a:pt x="1147" y="1384"/>
                  </a:cubicBezTo>
                  <a:close/>
                </a:path>
              </a:pathLst>
            </a:custGeom>
            <a:solidFill>
              <a:srgbClr val="E3F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DA1D3F0E-D824-450B-8A72-FD677AE63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4" y="1659"/>
              <a:ext cx="774" cy="774"/>
            </a:xfrm>
            <a:custGeom>
              <a:avLst/>
              <a:gdLst>
                <a:gd name="T0" fmla="*/ 1027 w 1027"/>
                <a:gd name="T1" fmla="*/ 176 h 1027"/>
                <a:gd name="T2" fmla="*/ 1027 w 1027"/>
                <a:gd name="T3" fmla="*/ 852 h 1027"/>
                <a:gd name="T4" fmla="*/ 1017 w 1027"/>
                <a:gd name="T5" fmla="*/ 909 h 1027"/>
                <a:gd name="T6" fmla="*/ 875 w 1027"/>
                <a:gd name="T7" fmla="*/ 1026 h 1027"/>
                <a:gd name="T8" fmla="*/ 851 w 1027"/>
                <a:gd name="T9" fmla="*/ 1027 h 1027"/>
                <a:gd name="T10" fmla="*/ 175 w 1027"/>
                <a:gd name="T11" fmla="*/ 1027 h 1027"/>
                <a:gd name="T12" fmla="*/ 10 w 1027"/>
                <a:gd name="T13" fmla="*/ 911 h 1027"/>
                <a:gd name="T14" fmla="*/ 0 w 1027"/>
                <a:gd name="T15" fmla="*/ 852 h 1027"/>
                <a:gd name="T16" fmla="*/ 0 w 1027"/>
                <a:gd name="T17" fmla="*/ 176 h 1027"/>
                <a:gd name="T18" fmla="*/ 175 w 1027"/>
                <a:gd name="T19" fmla="*/ 0 h 1027"/>
                <a:gd name="T20" fmla="*/ 851 w 1027"/>
                <a:gd name="T21" fmla="*/ 0 h 1027"/>
                <a:gd name="T22" fmla="*/ 1027 w 1027"/>
                <a:gd name="T23" fmla="*/ 176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27" h="1027">
                  <a:moveTo>
                    <a:pt x="1027" y="176"/>
                  </a:moveTo>
                  <a:cubicBezTo>
                    <a:pt x="1027" y="852"/>
                    <a:pt x="1027" y="852"/>
                    <a:pt x="1027" y="852"/>
                  </a:cubicBezTo>
                  <a:cubicBezTo>
                    <a:pt x="1027" y="872"/>
                    <a:pt x="1023" y="891"/>
                    <a:pt x="1017" y="909"/>
                  </a:cubicBezTo>
                  <a:cubicBezTo>
                    <a:pt x="996" y="971"/>
                    <a:pt x="941" y="1017"/>
                    <a:pt x="875" y="1026"/>
                  </a:cubicBezTo>
                  <a:cubicBezTo>
                    <a:pt x="867" y="1027"/>
                    <a:pt x="859" y="1027"/>
                    <a:pt x="851" y="1027"/>
                  </a:cubicBezTo>
                  <a:cubicBezTo>
                    <a:pt x="175" y="1027"/>
                    <a:pt x="175" y="1027"/>
                    <a:pt x="175" y="1027"/>
                  </a:cubicBezTo>
                  <a:cubicBezTo>
                    <a:pt x="99" y="1027"/>
                    <a:pt x="35" y="979"/>
                    <a:pt x="10" y="911"/>
                  </a:cubicBezTo>
                  <a:cubicBezTo>
                    <a:pt x="4" y="892"/>
                    <a:pt x="0" y="872"/>
                    <a:pt x="0" y="852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79"/>
                    <a:pt x="78" y="0"/>
                    <a:pt x="175" y="0"/>
                  </a:cubicBezTo>
                  <a:cubicBezTo>
                    <a:pt x="851" y="0"/>
                    <a:pt x="851" y="0"/>
                    <a:pt x="851" y="0"/>
                  </a:cubicBezTo>
                  <a:cubicBezTo>
                    <a:pt x="948" y="0"/>
                    <a:pt x="1027" y="79"/>
                    <a:pt x="1027" y="176"/>
                  </a:cubicBezTo>
                  <a:close/>
                </a:path>
              </a:pathLst>
            </a:custGeom>
            <a:solidFill>
              <a:srgbClr val="D2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38">
              <a:extLst>
                <a:ext uri="{FF2B5EF4-FFF2-40B4-BE49-F238E27FC236}">
                  <a16:creationId xmlns:a16="http://schemas.microsoft.com/office/drawing/2014/main" id="{E5E3ABAF-E5C8-4E11-AE10-1EA7A9BC6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0" y="1941"/>
              <a:ext cx="304" cy="286"/>
            </a:xfrm>
            <a:custGeom>
              <a:avLst/>
              <a:gdLst>
                <a:gd name="T0" fmla="*/ 124 w 403"/>
                <a:gd name="T1" fmla="*/ 91 h 379"/>
                <a:gd name="T2" fmla="*/ 107 w 403"/>
                <a:gd name="T3" fmla="*/ 244 h 379"/>
                <a:gd name="T4" fmla="*/ 0 w 403"/>
                <a:gd name="T5" fmla="*/ 319 h 379"/>
                <a:gd name="T6" fmla="*/ 403 w 403"/>
                <a:gd name="T7" fmla="*/ 379 h 379"/>
                <a:gd name="T8" fmla="*/ 307 w 403"/>
                <a:gd name="T9" fmla="*/ 246 h 379"/>
                <a:gd name="T10" fmla="*/ 293 w 403"/>
                <a:gd name="T11" fmla="*/ 52 h 379"/>
                <a:gd name="T12" fmla="*/ 124 w 403"/>
                <a:gd name="T13" fmla="*/ 91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3" h="379">
                  <a:moveTo>
                    <a:pt x="124" y="91"/>
                  </a:moveTo>
                  <a:cubicBezTo>
                    <a:pt x="124" y="91"/>
                    <a:pt x="121" y="197"/>
                    <a:pt x="107" y="244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403" y="379"/>
                    <a:pt x="403" y="379"/>
                    <a:pt x="403" y="379"/>
                  </a:cubicBezTo>
                  <a:cubicBezTo>
                    <a:pt x="307" y="246"/>
                    <a:pt x="307" y="246"/>
                    <a:pt x="307" y="246"/>
                  </a:cubicBezTo>
                  <a:cubicBezTo>
                    <a:pt x="307" y="246"/>
                    <a:pt x="278" y="105"/>
                    <a:pt x="293" y="52"/>
                  </a:cubicBezTo>
                  <a:cubicBezTo>
                    <a:pt x="309" y="0"/>
                    <a:pt x="124" y="91"/>
                    <a:pt x="124" y="91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39">
              <a:extLst>
                <a:ext uri="{FF2B5EF4-FFF2-40B4-BE49-F238E27FC236}">
                  <a16:creationId xmlns:a16="http://schemas.microsoft.com/office/drawing/2014/main" id="{7BEE5907-A795-4F10-A449-6785B0DE8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3" y="2021"/>
              <a:ext cx="125" cy="58"/>
            </a:xfrm>
            <a:custGeom>
              <a:avLst/>
              <a:gdLst>
                <a:gd name="T0" fmla="*/ 0 w 166"/>
                <a:gd name="T1" fmla="*/ 0 h 77"/>
                <a:gd name="T2" fmla="*/ 92 w 166"/>
                <a:gd name="T3" fmla="*/ 75 h 77"/>
                <a:gd name="T4" fmla="*/ 166 w 166"/>
                <a:gd name="T5" fmla="*/ 5 h 77"/>
                <a:gd name="T6" fmla="*/ 0 w 166"/>
                <a:gd name="T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6" h="77">
                  <a:moveTo>
                    <a:pt x="0" y="0"/>
                  </a:moveTo>
                  <a:cubicBezTo>
                    <a:pt x="0" y="0"/>
                    <a:pt x="32" y="77"/>
                    <a:pt x="92" y="75"/>
                  </a:cubicBezTo>
                  <a:cubicBezTo>
                    <a:pt x="153" y="73"/>
                    <a:pt x="166" y="5"/>
                    <a:pt x="166" y="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9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40">
              <a:extLst>
                <a:ext uri="{FF2B5EF4-FFF2-40B4-BE49-F238E27FC236}">
                  <a16:creationId xmlns:a16="http://schemas.microsoft.com/office/drawing/2014/main" id="{77F1ACDA-D685-4BE4-A9FD-87F3EABDA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3" y="1744"/>
              <a:ext cx="274" cy="231"/>
            </a:xfrm>
            <a:custGeom>
              <a:avLst/>
              <a:gdLst>
                <a:gd name="T0" fmla="*/ 58 w 364"/>
                <a:gd name="T1" fmla="*/ 306 h 306"/>
                <a:gd name="T2" fmla="*/ 25 w 364"/>
                <a:gd name="T3" fmla="*/ 179 h 306"/>
                <a:gd name="T4" fmla="*/ 150 w 364"/>
                <a:gd name="T5" fmla="*/ 12 h 306"/>
                <a:gd name="T6" fmla="*/ 239 w 364"/>
                <a:gd name="T7" fmla="*/ 0 h 306"/>
                <a:gd name="T8" fmla="*/ 231 w 364"/>
                <a:gd name="T9" fmla="*/ 26 h 306"/>
                <a:gd name="T10" fmla="*/ 324 w 364"/>
                <a:gd name="T11" fmla="*/ 59 h 306"/>
                <a:gd name="T12" fmla="*/ 300 w 364"/>
                <a:gd name="T13" fmla="*/ 299 h 306"/>
                <a:gd name="T14" fmla="*/ 58 w 364"/>
                <a:gd name="T15" fmla="*/ 306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306">
                  <a:moveTo>
                    <a:pt x="58" y="306"/>
                  </a:moveTo>
                  <a:cubicBezTo>
                    <a:pt x="58" y="306"/>
                    <a:pt x="38" y="209"/>
                    <a:pt x="25" y="179"/>
                  </a:cubicBezTo>
                  <a:cubicBezTo>
                    <a:pt x="11" y="150"/>
                    <a:pt x="0" y="19"/>
                    <a:pt x="150" y="12"/>
                  </a:cubicBezTo>
                  <a:cubicBezTo>
                    <a:pt x="150" y="12"/>
                    <a:pt x="207" y="19"/>
                    <a:pt x="239" y="0"/>
                  </a:cubicBezTo>
                  <a:cubicBezTo>
                    <a:pt x="239" y="0"/>
                    <a:pt x="239" y="19"/>
                    <a:pt x="231" y="26"/>
                  </a:cubicBezTo>
                  <a:cubicBezTo>
                    <a:pt x="231" y="26"/>
                    <a:pt x="283" y="14"/>
                    <a:pt x="324" y="59"/>
                  </a:cubicBezTo>
                  <a:cubicBezTo>
                    <a:pt x="364" y="104"/>
                    <a:pt x="297" y="262"/>
                    <a:pt x="300" y="299"/>
                  </a:cubicBezTo>
                  <a:lnTo>
                    <a:pt x="58" y="306"/>
                  </a:lnTo>
                  <a:close/>
                </a:path>
              </a:pathLst>
            </a:custGeom>
            <a:solidFill>
              <a:srgbClr val="B64C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41">
              <a:extLst>
                <a:ext uri="{FF2B5EF4-FFF2-40B4-BE49-F238E27FC236}">
                  <a16:creationId xmlns:a16="http://schemas.microsoft.com/office/drawing/2014/main" id="{B4EAF2BA-DA1D-492E-98B7-B55DFD41F9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4" y="1837"/>
              <a:ext cx="187" cy="219"/>
            </a:xfrm>
            <a:custGeom>
              <a:avLst/>
              <a:gdLst>
                <a:gd name="T0" fmla="*/ 124 w 247"/>
                <a:gd name="T1" fmla="*/ 290 h 291"/>
                <a:gd name="T2" fmla="*/ 0 w 247"/>
                <a:gd name="T3" fmla="*/ 160 h 291"/>
                <a:gd name="T4" fmla="*/ 0 w 247"/>
                <a:gd name="T5" fmla="*/ 48 h 291"/>
                <a:gd name="T6" fmla="*/ 41 w 247"/>
                <a:gd name="T7" fmla="*/ 0 h 291"/>
                <a:gd name="T8" fmla="*/ 207 w 247"/>
                <a:gd name="T9" fmla="*/ 0 h 291"/>
                <a:gd name="T10" fmla="*/ 247 w 247"/>
                <a:gd name="T11" fmla="*/ 48 h 291"/>
                <a:gd name="T12" fmla="*/ 247 w 247"/>
                <a:gd name="T13" fmla="*/ 153 h 291"/>
                <a:gd name="T14" fmla="*/ 124 w 247"/>
                <a:gd name="T15" fmla="*/ 29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7" h="291">
                  <a:moveTo>
                    <a:pt x="124" y="290"/>
                  </a:moveTo>
                  <a:cubicBezTo>
                    <a:pt x="80" y="289"/>
                    <a:pt x="0" y="231"/>
                    <a:pt x="0" y="16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21"/>
                    <a:pt x="18" y="0"/>
                    <a:pt x="41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29" y="0"/>
                    <a:pt x="247" y="21"/>
                    <a:pt x="247" y="48"/>
                  </a:cubicBezTo>
                  <a:cubicBezTo>
                    <a:pt x="247" y="153"/>
                    <a:pt x="247" y="153"/>
                    <a:pt x="247" y="153"/>
                  </a:cubicBezTo>
                  <a:cubicBezTo>
                    <a:pt x="247" y="229"/>
                    <a:pt x="174" y="291"/>
                    <a:pt x="124" y="290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42">
              <a:extLst>
                <a:ext uri="{FF2B5EF4-FFF2-40B4-BE49-F238E27FC236}">
                  <a16:creationId xmlns:a16="http://schemas.microsoft.com/office/drawing/2014/main" id="{0CF98825-7EB7-4FE2-A061-678B05678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5" y="1810"/>
              <a:ext cx="205" cy="107"/>
            </a:xfrm>
            <a:custGeom>
              <a:avLst/>
              <a:gdLst>
                <a:gd name="T0" fmla="*/ 13 w 273"/>
                <a:gd name="T1" fmla="*/ 143 h 143"/>
                <a:gd name="T2" fmla="*/ 66 w 273"/>
                <a:gd name="T3" fmla="*/ 66 h 143"/>
                <a:gd name="T4" fmla="*/ 256 w 273"/>
                <a:gd name="T5" fmla="*/ 49 h 143"/>
                <a:gd name="T6" fmla="*/ 13 w 273"/>
                <a:gd name="T7" fmla="*/ 33 h 143"/>
                <a:gd name="T8" fmla="*/ 13 w 273"/>
                <a:gd name="T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3" h="143">
                  <a:moveTo>
                    <a:pt x="13" y="143"/>
                  </a:moveTo>
                  <a:cubicBezTo>
                    <a:pt x="13" y="143"/>
                    <a:pt x="13" y="76"/>
                    <a:pt x="66" y="66"/>
                  </a:cubicBezTo>
                  <a:cubicBezTo>
                    <a:pt x="120" y="55"/>
                    <a:pt x="239" y="99"/>
                    <a:pt x="256" y="49"/>
                  </a:cubicBezTo>
                  <a:cubicBezTo>
                    <a:pt x="273" y="0"/>
                    <a:pt x="25" y="1"/>
                    <a:pt x="13" y="33"/>
                  </a:cubicBezTo>
                  <a:cubicBezTo>
                    <a:pt x="0" y="64"/>
                    <a:pt x="13" y="143"/>
                    <a:pt x="13" y="143"/>
                  </a:cubicBezTo>
                  <a:close/>
                </a:path>
              </a:pathLst>
            </a:custGeom>
            <a:solidFill>
              <a:srgbClr val="B64C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43">
              <a:extLst>
                <a:ext uri="{FF2B5EF4-FFF2-40B4-BE49-F238E27FC236}">
                  <a16:creationId xmlns:a16="http://schemas.microsoft.com/office/drawing/2014/main" id="{CAD20F7F-C148-4D12-BE57-B18180DEE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1" y="2125"/>
              <a:ext cx="759" cy="308"/>
            </a:xfrm>
            <a:custGeom>
              <a:avLst/>
              <a:gdLst>
                <a:gd name="T0" fmla="*/ 753 w 1007"/>
                <a:gd name="T1" fmla="*/ 32 h 408"/>
                <a:gd name="T2" fmla="*/ 752 w 1007"/>
                <a:gd name="T3" fmla="*/ 32 h 408"/>
                <a:gd name="T4" fmla="*/ 735 w 1007"/>
                <a:gd name="T5" fmla="*/ 28 h 408"/>
                <a:gd name="T6" fmla="*/ 735 w 1007"/>
                <a:gd name="T7" fmla="*/ 28 h 408"/>
                <a:gd name="T8" fmla="*/ 611 w 1007"/>
                <a:gd name="T9" fmla="*/ 4 h 408"/>
                <a:gd name="T10" fmla="*/ 598 w 1007"/>
                <a:gd name="T11" fmla="*/ 3 h 408"/>
                <a:gd name="T12" fmla="*/ 528 w 1007"/>
                <a:gd name="T13" fmla="*/ 65 h 408"/>
                <a:gd name="T14" fmla="*/ 513 w 1007"/>
                <a:gd name="T15" fmla="*/ 72 h 408"/>
                <a:gd name="T16" fmla="*/ 500 w 1007"/>
                <a:gd name="T17" fmla="*/ 77 h 408"/>
                <a:gd name="T18" fmla="*/ 482 w 1007"/>
                <a:gd name="T19" fmla="*/ 73 h 408"/>
                <a:gd name="T20" fmla="*/ 473 w 1007"/>
                <a:gd name="T21" fmla="*/ 69 h 408"/>
                <a:gd name="T22" fmla="*/ 398 w 1007"/>
                <a:gd name="T23" fmla="*/ 0 h 408"/>
                <a:gd name="T24" fmla="*/ 381 w 1007"/>
                <a:gd name="T25" fmla="*/ 2 h 408"/>
                <a:gd name="T26" fmla="*/ 281 w 1007"/>
                <a:gd name="T27" fmla="*/ 23 h 408"/>
                <a:gd name="T28" fmla="*/ 281 w 1007"/>
                <a:gd name="T29" fmla="*/ 23 h 408"/>
                <a:gd name="T30" fmla="*/ 0 w 1007"/>
                <a:gd name="T31" fmla="*/ 292 h 408"/>
                <a:gd name="T32" fmla="*/ 165 w 1007"/>
                <a:gd name="T33" fmla="*/ 408 h 408"/>
                <a:gd name="T34" fmla="*/ 841 w 1007"/>
                <a:gd name="T35" fmla="*/ 408 h 408"/>
                <a:gd name="T36" fmla="*/ 865 w 1007"/>
                <a:gd name="T37" fmla="*/ 407 h 408"/>
                <a:gd name="T38" fmla="*/ 1007 w 1007"/>
                <a:gd name="T39" fmla="*/ 290 h 408"/>
                <a:gd name="T40" fmla="*/ 753 w 1007"/>
                <a:gd name="T41" fmla="*/ 3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07" h="408">
                  <a:moveTo>
                    <a:pt x="753" y="32"/>
                  </a:moveTo>
                  <a:cubicBezTo>
                    <a:pt x="753" y="32"/>
                    <a:pt x="753" y="32"/>
                    <a:pt x="752" y="32"/>
                  </a:cubicBezTo>
                  <a:cubicBezTo>
                    <a:pt x="741" y="28"/>
                    <a:pt x="735" y="28"/>
                    <a:pt x="735" y="28"/>
                  </a:cubicBezTo>
                  <a:cubicBezTo>
                    <a:pt x="735" y="28"/>
                    <a:pt x="735" y="28"/>
                    <a:pt x="735" y="28"/>
                  </a:cubicBezTo>
                  <a:cubicBezTo>
                    <a:pt x="691" y="17"/>
                    <a:pt x="650" y="9"/>
                    <a:pt x="611" y="4"/>
                  </a:cubicBezTo>
                  <a:cubicBezTo>
                    <a:pt x="607" y="4"/>
                    <a:pt x="602" y="3"/>
                    <a:pt x="598" y="3"/>
                  </a:cubicBezTo>
                  <a:cubicBezTo>
                    <a:pt x="572" y="38"/>
                    <a:pt x="550" y="54"/>
                    <a:pt x="528" y="65"/>
                  </a:cubicBezTo>
                  <a:cubicBezTo>
                    <a:pt x="523" y="67"/>
                    <a:pt x="518" y="70"/>
                    <a:pt x="513" y="72"/>
                  </a:cubicBezTo>
                  <a:cubicBezTo>
                    <a:pt x="509" y="74"/>
                    <a:pt x="504" y="75"/>
                    <a:pt x="500" y="77"/>
                  </a:cubicBezTo>
                  <a:cubicBezTo>
                    <a:pt x="494" y="76"/>
                    <a:pt x="488" y="75"/>
                    <a:pt x="482" y="73"/>
                  </a:cubicBezTo>
                  <a:cubicBezTo>
                    <a:pt x="479" y="72"/>
                    <a:pt x="476" y="71"/>
                    <a:pt x="473" y="69"/>
                  </a:cubicBezTo>
                  <a:cubicBezTo>
                    <a:pt x="430" y="49"/>
                    <a:pt x="398" y="2"/>
                    <a:pt x="398" y="0"/>
                  </a:cubicBezTo>
                  <a:cubicBezTo>
                    <a:pt x="392" y="1"/>
                    <a:pt x="386" y="2"/>
                    <a:pt x="381" y="2"/>
                  </a:cubicBezTo>
                  <a:cubicBezTo>
                    <a:pt x="330" y="9"/>
                    <a:pt x="296" y="18"/>
                    <a:pt x="281" y="23"/>
                  </a:cubicBezTo>
                  <a:cubicBezTo>
                    <a:pt x="281" y="23"/>
                    <a:pt x="281" y="23"/>
                    <a:pt x="281" y="23"/>
                  </a:cubicBezTo>
                  <a:cubicBezTo>
                    <a:pt x="278" y="23"/>
                    <a:pt x="168" y="38"/>
                    <a:pt x="0" y="292"/>
                  </a:cubicBezTo>
                  <a:cubicBezTo>
                    <a:pt x="25" y="360"/>
                    <a:pt x="89" y="408"/>
                    <a:pt x="165" y="408"/>
                  </a:cubicBezTo>
                  <a:cubicBezTo>
                    <a:pt x="841" y="408"/>
                    <a:pt x="841" y="408"/>
                    <a:pt x="841" y="408"/>
                  </a:cubicBezTo>
                  <a:cubicBezTo>
                    <a:pt x="849" y="408"/>
                    <a:pt x="857" y="408"/>
                    <a:pt x="865" y="407"/>
                  </a:cubicBezTo>
                  <a:cubicBezTo>
                    <a:pt x="931" y="398"/>
                    <a:pt x="986" y="352"/>
                    <a:pt x="1007" y="290"/>
                  </a:cubicBezTo>
                  <a:cubicBezTo>
                    <a:pt x="880" y="97"/>
                    <a:pt x="789" y="46"/>
                    <a:pt x="753" y="32"/>
                  </a:cubicBezTo>
                  <a:close/>
                </a:path>
              </a:pathLst>
            </a:custGeom>
            <a:solidFill>
              <a:srgbClr val="2F51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44">
              <a:extLst>
                <a:ext uri="{FF2B5EF4-FFF2-40B4-BE49-F238E27FC236}">
                  <a16:creationId xmlns:a16="http://schemas.microsoft.com/office/drawing/2014/main" id="{A96DD9FC-3B8E-4E70-BA62-39B99D3BE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8" y="2106"/>
              <a:ext cx="90" cy="77"/>
            </a:xfrm>
            <a:custGeom>
              <a:avLst/>
              <a:gdLst>
                <a:gd name="T0" fmla="*/ 23 w 119"/>
                <a:gd name="T1" fmla="*/ 0 h 102"/>
                <a:gd name="T2" fmla="*/ 0 w 119"/>
                <a:gd name="T3" fmla="*/ 27 h 102"/>
                <a:gd name="T4" fmla="*/ 119 w 119"/>
                <a:gd name="T5" fmla="*/ 102 h 102"/>
                <a:gd name="T6" fmla="*/ 23 w 119"/>
                <a:gd name="T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9" h="102">
                  <a:moveTo>
                    <a:pt x="23" y="0"/>
                  </a:moveTo>
                  <a:cubicBezTo>
                    <a:pt x="23" y="0"/>
                    <a:pt x="5" y="7"/>
                    <a:pt x="0" y="27"/>
                  </a:cubicBezTo>
                  <a:cubicBezTo>
                    <a:pt x="0" y="27"/>
                    <a:pt x="72" y="101"/>
                    <a:pt x="119" y="102"/>
                  </a:cubicBezTo>
                  <a:lnTo>
                    <a:pt x="23" y="0"/>
                  </a:lnTo>
                  <a:close/>
                </a:path>
              </a:pathLst>
            </a:custGeom>
            <a:solidFill>
              <a:srgbClr val="EE9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45">
              <a:extLst>
                <a:ext uri="{FF2B5EF4-FFF2-40B4-BE49-F238E27FC236}">
                  <a16:creationId xmlns:a16="http://schemas.microsoft.com/office/drawing/2014/main" id="{84DC59A4-13F5-4DD5-8404-66F13045C2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8" y="2103"/>
              <a:ext cx="84" cy="83"/>
            </a:xfrm>
            <a:custGeom>
              <a:avLst/>
              <a:gdLst>
                <a:gd name="T0" fmla="*/ 0 w 111"/>
                <a:gd name="T1" fmla="*/ 106 h 109"/>
                <a:gd name="T2" fmla="*/ 92 w 111"/>
                <a:gd name="T3" fmla="*/ 0 h 109"/>
                <a:gd name="T4" fmla="*/ 111 w 111"/>
                <a:gd name="T5" fmla="*/ 33 h 109"/>
                <a:gd name="T6" fmla="*/ 0 w 111"/>
                <a:gd name="T7" fmla="*/ 10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1" h="109">
                  <a:moveTo>
                    <a:pt x="0" y="106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111" y="12"/>
                    <a:pt x="111" y="33"/>
                  </a:cubicBezTo>
                  <a:cubicBezTo>
                    <a:pt x="111" y="33"/>
                    <a:pt x="39" y="109"/>
                    <a:pt x="0" y="106"/>
                  </a:cubicBezTo>
                  <a:close/>
                </a:path>
              </a:pathLst>
            </a:custGeom>
            <a:solidFill>
              <a:srgbClr val="EE9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46">
              <a:extLst>
                <a:ext uri="{FF2B5EF4-FFF2-40B4-BE49-F238E27FC236}">
                  <a16:creationId xmlns:a16="http://schemas.microsoft.com/office/drawing/2014/main" id="{E4A00313-1379-4F6E-8B54-B1FA2E82C1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9" y="2177"/>
              <a:ext cx="70" cy="256"/>
            </a:xfrm>
            <a:custGeom>
              <a:avLst/>
              <a:gdLst>
                <a:gd name="T0" fmla="*/ 93 w 93"/>
                <a:gd name="T1" fmla="*/ 339 h 339"/>
                <a:gd name="T2" fmla="*/ 0 w 93"/>
                <a:gd name="T3" fmla="*/ 339 h 339"/>
                <a:gd name="T4" fmla="*/ 31 w 93"/>
                <a:gd name="T5" fmla="*/ 34 h 339"/>
                <a:gd name="T6" fmla="*/ 34 w 93"/>
                <a:gd name="T7" fmla="*/ 8 h 339"/>
                <a:gd name="T8" fmla="*/ 34 w 93"/>
                <a:gd name="T9" fmla="*/ 5 h 339"/>
                <a:gd name="T10" fmla="*/ 34 w 93"/>
                <a:gd name="T11" fmla="*/ 4 h 339"/>
                <a:gd name="T12" fmla="*/ 35 w 93"/>
                <a:gd name="T13" fmla="*/ 0 h 339"/>
                <a:gd name="T14" fmla="*/ 44 w 93"/>
                <a:gd name="T15" fmla="*/ 0 h 339"/>
                <a:gd name="T16" fmla="*/ 59 w 93"/>
                <a:gd name="T17" fmla="*/ 0 h 339"/>
                <a:gd name="T18" fmla="*/ 59 w 93"/>
                <a:gd name="T19" fmla="*/ 0 h 339"/>
                <a:gd name="T20" fmla="*/ 65 w 93"/>
                <a:gd name="T21" fmla="*/ 0 h 339"/>
                <a:gd name="T22" fmla="*/ 65 w 93"/>
                <a:gd name="T23" fmla="*/ 3 h 339"/>
                <a:gd name="T24" fmla="*/ 66 w 93"/>
                <a:gd name="T25" fmla="*/ 7 h 339"/>
                <a:gd name="T26" fmla="*/ 66 w 93"/>
                <a:gd name="T27" fmla="*/ 11 h 339"/>
                <a:gd name="T28" fmla="*/ 68 w 93"/>
                <a:gd name="T29" fmla="*/ 40 h 339"/>
                <a:gd name="T30" fmla="*/ 93 w 93"/>
                <a:gd name="T31" fmla="*/ 33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3" h="339">
                  <a:moveTo>
                    <a:pt x="93" y="339"/>
                  </a:moveTo>
                  <a:cubicBezTo>
                    <a:pt x="0" y="339"/>
                    <a:pt x="0" y="339"/>
                    <a:pt x="0" y="339"/>
                  </a:cubicBezTo>
                  <a:cubicBezTo>
                    <a:pt x="11" y="215"/>
                    <a:pt x="25" y="92"/>
                    <a:pt x="31" y="34"/>
                  </a:cubicBezTo>
                  <a:cubicBezTo>
                    <a:pt x="32" y="23"/>
                    <a:pt x="33" y="14"/>
                    <a:pt x="34" y="8"/>
                  </a:cubicBezTo>
                  <a:cubicBezTo>
                    <a:pt x="34" y="7"/>
                    <a:pt x="34" y="6"/>
                    <a:pt x="34" y="5"/>
                  </a:cubicBezTo>
                  <a:cubicBezTo>
                    <a:pt x="34" y="5"/>
                    <a:pt x="34" y="4"/>
                    <a:pt x="34" y="4"/>
                  </a:cubicBezTo>
                  <a:cubicBezTo>
                    <a:pt x="35" y="2"/>
                    <a:pt x="35" y="0"/>
                    <a:pt x="3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65" y="1"/>
                    <a:pt x="65" y="3"/>
                  </a:cubicBezTo>
                  <a:cubicBezTo>
                    <a:pt x="65" y="4"/>
                    <a:pt x="65" y="5"/>
                    <a:pt x="66" y="7"/>
                  </a:cubicBezTo>
                  <a:cubicBezTo>
                    <a:pt x="66" y="8"/>
                    <a:pt x="66" y="9"/>
                    <a:pt x="66" y="11"/>
                  </a:cubicBezTo>
                  <a:cubicBezTo>
                    <a:pt x="66" y="18"/>
                    <a:pt x="67" y="27"/>
                    <a:pt x="68" y="40"/>
                  </a:cubicBezTo>
                  <a:cubicBezTo>
                    <a:pt x="73" y="100"/>
                    <a:pt x="83" y="220"/>
                    <a:pt x="93" y="339"/>
                  </a:cubicBezTo>
                  <a:close/>
                </a:path>
              </a:pathLst>
            </a:custGeom>
            <a:solidFill>
              <a:srgbClr val="EE9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47">
              <a:extLst>
                <a:ext uri="{FF2B5EF4-FFF2-40B4-BE49-F238E27FC236}">
                  <a16:creationId xmlns:a16="http://schemas.microsoft.com/office/drawing/2014/main" id="{C25D3D1C-9C6D-4803-93F5-AA7DB5708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6" y="2152"/>
              <a:ext cx="73" cy="37"/>
            </a:xfrm>
            <a:custGeom>
              <a:avLst/>
              <a:gdLst>
                <a:gd name="T0" fmla="*/ 19 w 96"/>
                <a:gd name="T1" fmla="*/ 5 h 49"/>
                <a:gd name="T2" fmla="*/ 88 w 96"/>
                <a:gd name="T3" fmla="*/ 3 h 49"/>
                <a:gd name="T4" fmla="*/ 94 w 96"/>
                <a:gd name="T5" fmla="*/ 14 h 49"/>
                <a:gd name="T6" fmla="*/ 56 w 96"/>
                <a:gd name="T7" fmla="*/ 49 h 49"/>
                <a:gd name="T8" fmla="*/ 19 w 96"/>
                <a:gd name="T9" fmla="*/ 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49">
                  <a:moveTo>
                    <a:pt x="19" y="5"/>
                  </a:moveTo>
                  <a:cubicBezTo>
                    <a:pt x="19" y="5"/>
                    <a:pt x="62" y="0"/>
                    <a:pt x="88" y="3"/>
                  </a:cubicBezTo>
                  <a:cubicBezTo>
                    <a:pt x="93" y="3"/>
                    <a:pt x="96" y="9"/>
                    <a:pt x="94" y="14"/>
                  </a:cubicBezTo>
                  <a:cubicBezTo>
                    <a:pt x="86" y="27"/>
                    <a:pt x="72" y="49"/>
                    <a:pt x="56" y="49"/>
                  </a:cubicBezTo>
                  <a:cubicBezTo>
                    <a:pt x="34" y="49"/>
                    <a:pt x="0" y="6"/>
                    <a:pt x="19" y="5"/>
                  </a:cubicBezTo>
                  <a:close/>
                </a:path>
              </a:pathLst>
            </a:custGeom>
            <a:solidFill>
              <a:srgbClr val="E586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48">
              <a:extLst>
                <a:ext uri="{FF2B5EF4-FFF2-40B4-BE49-F238E27FC236}">
                  <a16:creationId xmlns:a16="http://schemas.microsoft.com/office/drawing/2014/main" id="{B667C846-D9A5-4130-B534-AA5C76377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3" y="2033"/>
              <a:ext cx="140" cy="73"/>
            </a:xfrm>
            <a:custGeom>
              <a:avLst/>
              <a:gdLst>
                <a:gd name="T0" fmla="*/ 172 w 186"/>
                <a:gd name="T1" fmla="*/ 56 h 98"/>
                <a:gd name="T2" fmla="*/ 86 w 186"/>
                <a:gd name="T3" fmla="*/ 79 h 98"/>
                <a:gd name="T4" fmla="*/ 10 w 186"/>
                <a:gd name="T5" fmla="*/ 50 h 98"/>
                <a:gd name="T6" fmla="*/ 0 w 186"/>
                <a:gd name="T7" fmla="*/ 48 h 98"/>
                <a:gd name="T8" fmla="*/ 20 w 186"/>
                <a:gd name="T9" fmla="*/ 0 h 98"/>
                <a:gd name="T10" fmla="*/ 22 w 186"/>
                <a:gd name="T11" fmla="*/ 0 h 98"/>
                <a:gd name="T12" fmla="*/ 115 w 186"/>
                <a:gd name="T13" fmla="*/ 19 h 98"/>
                <a:gd name="T14" fmla="*/ 172 w 186"/>
                <a:gd name="T15" fmla="*/ 5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6" h="98">
                  <a:moveTo>
                    <a:pt x="172" y="56"/>
                  </a:moveTo>
                  <a:cubicBezTo>
                    <a:pt x="160" y="73"/>
                    <a:pt x="128" y="98"/>
                    <a:pt x="86" y="79"/>
                  </a:cubicBezTo>
                  <a:cubicBezTo>
                    <a:pt x="57" y="65"/>
                    <a:pt x="25" y="55"/>
                    <a:pt x="10" y="50"/>
                  </a:cubicBezTo>
                  <a:cubicBezTo>
                    <a:pt x="3" y="49"/>
                    <a:pt x="0" y="48"/>
                    <a:pt x="0" y="48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2" y="0"/>
                  </a:cubicBezTo>
                  <a:cubicBezTo>
                    <a:pt x="32" y="3"/>
                    <a:pt x="86" y="4"/>
                    <a:pt x="115" y="19"/>
                  </a:cubicBezTo>
                  <a:cubicBezTo>
                    <a:pt x="149" y="37"/>
                    <a:pt x="186" y="37"/>
                    <a:pt x="172" y="56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49">
              <a:extLst>
                <a:ext uri="{FF2B5EF4-FFF2-40B4-BE49-F238E27FC236}">
                  <a16:creationId xmlns:a16="http://schemas.microsoft.com/office/drawing/2014/main" id="{A17B29A9-796F-48BA-A14D-57913C84D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" y="1650"/>
              <a:ext cx="431" cy="422"/>
            </a:xfrm>
            <a:custGeom>
              <a:avLst/>
              <a:gdLst>
                <a:gd name="T0" fmla="*/ 572 w 572"/>
                <a:gd name="T1" fmla="*/ 515 h 560"/>
                <a:gd name="T2" fmla="*/ 563 w 572"/>
                <a:gd name="T3" fmla="*/ 560 h 560"/>
                <a:gd name="T4" fmla="*/ 523 w 572"/>
                <a:gd name="T5" fmla="*/ 556 h 560"/>
                <a:gd name="T6" fmla="*/ 512 w 572"/>
                <a:gd name="T7" fmla="*/ 554 h 560"/>
                <a:gd name="T8" fmla="*/ 443 w 572"/>
                <a:gd name="T9" fmla="*/ 546 h 560"/>
                <a:gd name="T10" fmla="*/ 443 w 572"/>
                <a:gd name="T11" fmla="*/ 546 h 560"/>
                <a:gd name="T12" fmla="*/ 308 w 572"/>
                <a:gd name="T13" fmla="*/ 521 h 560"/>
                <a:gd name="T14" fmla="*/ 235 w 572"/>
                <a:gd name="T15" fmla="*/ 496 h 560"/>
                <a:gd name="T16" fmla="*/ 230 w 572"/>
                <a:gd name="T17" fmla="*/ 492 h 560"/>
                <a:gd name="T18" fmla="*/ 86 w 572"/>
                <a:gd name="T19" fmla="*/ 296 h 560"/>
                <a:gd name="T20" fmla="*/ 68 w 572"/>
                <a:gd name="T21" fmla="*/ 259 h 560"/>
                <a:gd name="T22" fmla="*/ 17 w 572"/>
                <a:gd name="T23" fmla="*/ 132 h 560"/>
                <a:gd name="T24" fmla="*/ 3 w 572"/>
                <a:gd name="T25" fmla="*/ 70 h 560"/>
                <a:gd name="T26" fmla="*/ 1 w 572"/>
                <a:gd name="T27" fmla="*/ 53 h 560"/>
                <a:gd name="T28" fmla="*/ 0 w 572"/>
                <a:gd name="T29" fmla="*/ 43 h 560"/>
                <a:gd name="T30" fmla="*/ 112 w 572"/>
                <a:gd name="T31" fmla="*/ 3 h 560"/>
                <a:gd name="T32" fmla="*/ 115 w 572"/>
                <a:gd name="T33" fmla="*/ 9 h 560"/>
                <a:gd name="T34" fmla="*/ 189 w 572"/>
                <a:gd name="T35" fmla="*/ 163 h 560"/>
                <a:gd name="T36" fmla="*/ 228 w 572"/>
                <a:gd name="T37" fmla="*/ 251 h 560"/>
                <a:gd name="T38" fmla="*/ 250 w 572"/>
                <a:gd name="T39" fmla="*/ 299 h 560"/>
                <a:gd name="T40" fmla="*/ 284 w 572"/>
                <a:gd name="T41" fmla="*/ 364 h 560"/>
                <a:gd name="T42" fmla="*/ 330 w 572"/>
                <a:gd name="T43" fmla="*/ 398 h 560"/>
                <a:gd name="T44" fmla="*/ 474 w 572"/>
                <a:gd name="T45" fmla="*/ 471 h 560"/>
                <a:gd name="T46" fmla="*/ 529 w 572"/>
                <a:gd name="T47" fmla="*/ 496 h 560"/>
                <a:gd name="T48" fmla="*/ 572 w 572"/>
                <a:gd name="T49" fmla="*/ 515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2" h="560">
                  <a:moveTo>
                    <a:pt x="572" y="515"/>
                  </a:moveTo>
                  <a:cubicBezTo>
                    <a:pt x="563" y="560"/>
                    <a:pt x="563" y="560"/>
                    <a:pt x="563" y="560"/>
                  </a:cubicBezTo>
                  <a:cubicBezTo>
                    <a:pt x="563" y="560"/>
                    <a:pt x="548" y="558"/>
                    <a:pt x="523" y="556"/>
                  </a:cubicBezTo>
                  <a:cubicBezTo>
                    <a:pt x="516" y="555"/>
                    <a:pt x="512" y="554"/>
                    <a:pt x="512" y="554"/>
                  </a:cubicBezTo>
                  <a:cubicBezTo>
                    <a:pt x="492" y="552"/>
                    <a:pt x="469" y="549"/>
                    <a:pt x="443" y="546"/>
                  </a:cubicBezTo>
                  <a:cubicBezTo>
                    <a:pt x="443" y="546"/>
                    <a:pt x="443" y="546"/>
                    <a:pt x="443" y="546"/>
                  </a:cubicBezTo>
                  <a:cubicBezTo>
                    <a:pt x="399" y="539"/>
                    <a:pt x="349" y="531"/>
                    <a:pt x="308" y="521"/>
                  </a:cubicBezTo>
                  <a:cubicBezTo>
                    <a:pt x="278" y="513"/>
                    <a:pt x="252" y="505"/>
                    <a:pt x="235" y="496"/>
                  </a:cubicBezTo>
                  <a:cubicBezTo>
                    <a:pt x="233" y="495"/>
                    <a:pt x="231" y="494"/>
                    <a:pt x="230" y="492"/>
                  </a:cubicBezTo>
                  <a:cubicBezTo>
                    <a:pt x="187" y="467"/>
                    <a:pt x="131" y="385"/>
                    <a:pt x="86" y="296"/>
                  </a:cubicBezTo>
                  <a:cubicBezTo>
                    <a:pt x="80" y="283"/>
                    <a:pt x="74" y="271"/>
                    <a:pt x="68" y="259"/>
                  </a:cubicBezTo>
                  <a:cubicBezTo>
                    <a:pt x="47" y="214"/>
                    <a:pt x="29" y="170"/>
                    <a:pt x="17" y="132"/>
                  </a:cubicBezTo>
                  <a:cubicBezTo>
                    <a:pt x="10" y="109"/>
                    <a:pt x="5" y="88"/>
                    <a:pt x="3" y="70"/>
                  </a:cubicBezTo>
                  <a:cubicBezTo>
                    <a:pt x="2" y="64"/>
                    <a:pt x="1" y="58"/>
                    <a:pt x="1" y="53"/>
                  </a:cubicBezTo>
                  <a:cubicBezTo>
                    <a:pt x="1" y="49"/>
                    <a:pt x="0" y="46"/>
                    <a:pt x="0" y="43"/>
                  </a:cubicBezTo>
                  <a:cubicBezTo>
                    <a:pt x="18" y="28"/>
                    <a:pt x="57" y="0"/>
                    <a:pt x="112" y="3"/>
                  </a:cubicBezTo>
                  <a:cubicBezTo>
                    <a:pt x="113" y="5"/>
                    <a:pt x="114" y="7"/>
                    <a:pt x="115" y="9"/>
                  </a:cubicBezTo>
                  <a:cubicBezTo>
                    <a:pt x="139" y="51"/>
                    <a:pt x="164" y="107"/>
                    <a:pt x="189" y="163"/>
                  </a:cubicBezTo>
                  <a:cubicBezTo>
                    <a:pt x="202" y="193"/>
                    <a:pt x="215" y="223"/>
                    <a:pt x="228" y="251"/>
                  </a:cubicBezTo>
                  <a:cubicBezTo>
                    <a:pt x="235" y="268"/>
                    <a:pt x="243" y="285"/>
                    <a:pt x="250" y="299"/>
                  </a:cubicBezTo>
                  <a:cubicBezTo>
                    <a:pt x="263" y="327"/>
                    <a:pt x="274" y="350"/>
                    <a:pt x="284" y="364"/>
                  </a:cubicBezTo>
                  <a:cubicBezTo>
                    <a:pt x="291" y="373"/>
                    <a:pt x="308" y="385"/>
                    <a:pt x="330" y="398"/>
                  </a:cubicBezTo>
                  <a:cubicBezTo>
                    <a:pt x="369" y="422"/>
                    <a:pt x="425" y="449"/>
                    <a:pt x="474" y="471"/>
                  </a:cubicBezTo>
                  <a:cubicBezTo>
                    <a:pt x="494" y="481"/>
                    <a:pt x="513" y="489"/>
                    <a:pt x="529" y="496"/>
                  </a:cubicBezTo>
                  <a:cubicBezTo>
                    <a:pt x="555" y="507"/>
                    <a:pt x="572" y="515"/>
                    <a:pt x="572" y="515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50">
              <a:extLst>
                <a:ext uri="{FF2B5EF4-FFF2-40B4-BE49-F238E27FC236}">
                  <a16:creationId xmlns:a16="http://schemas.microsoft.com/office/drawing/2014/main" id="{B7F407BC-CB74-4945-9261-CE26CDA37B4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" y="1593"/>
              <a:ext cx="92" cy="96"/>
            </a:xfrm>
            <a:custGeom>
              <a:avLst/>
              <a:gdLst>
                <a:gd name="T0" fmla="*/ 122 w 122"/>
                <a:gd name="T1" fmla="*/ 84 h 127"/>
                <a:gd name="T2" fmla="*/ 8 w 122"/>
                <a:gd name="T3" fmla="*/ 127 h 127"/>
                <a:gd name="T4" fmla="*/ 48 w 122"/>
                <a:gd name="T5" fmla="*/ 10 h 127"/>
                <a:gd name="T6" fmla="*/ 122 w 122"/>
                <a:gd name="T7" fmla="*/ 8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2" h="127">
                  <a:moveTo>
                    <a:pt x="122" y="84"/>
                  </a:moveTo>
                  <a:cubicBezTo>
                    <a:pt x="54" y="71"/>
                    <a:pt x="8" y="127"/>
                    <a:pt x="8" y="127"/>
                  </a:cubicBezTo>
                  <a:cubicBezTo>
                    <a:pt x="0" y="28"/>
                    <a:pt x="48" y="10"/>
                    <a:pt x="48" y="10"/>
                  </a:cubicBezTo>
                  <a:cubicBezTo>
                    <a:pt x="68" y="0"/>
                    <a:pt x="94" y="32"/>
                    <a:pt x="122" y="84"/>
                  </a:cubicBezTo>
                  <a:close/>
                </a:path>
              </a:pathLst>
            </a:custGeom>
            <a:solidFill>
              <a:srgbClr val="FF98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82A71ED6-A109-49DA-B7FF-9264FEA16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7" y="2621"/>
              <a:ext cx="821" cy="152"/>
            </a:xfrm>
            <a:custGeom>
              <a:avLst/>
              <a:gdLst>
                <a:gd name="T0" fmla="*/ 1058 w 1089"/>
                <a:gd name="T1" fmla="*/ 202 h 202"/>
                <a:gd name="T2" fmla="*/ 31 w 1089"/>
                <a:gd name="T3" fmla="*/ 202 h 202"/>
                <a:gd name="T4" fmla="*/ 0 w 1089"/>
                <a:gd name="T5" fmla="*/ 171 h 202"/>
                <a:gd name="T6" fmla="*/ 0 w 1089"/>
                <a:gd name="T7" fmla="*/ 31 h 202"/>
                <a:gd name="T8" fmla="*/ 31 w 1089"/>
                <a:gd name="T9" fmla="*/ 0 h 202"/>
                <a:gd name="T10" fmla="*/ 1058 w 1089"/>
                <a:gd name="T11" fmla="*/ 0 h 202"/>
                <a:gd name="T12" fmla="*/ 1089 w 1089"/>
                <a:gd name="T13" fmla="*/ 31 h 202"/>
                <a:gd name="T14" fmla="*/ 1089 w 1089"/>
                <a:gd name="T15" fmla="*/ 171 h 202"/>
                <a:gd name="T16" fmla="*/ 1058 w 1089"/>
                <a:gd name="T1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9" h="202">
                  <a:moveTo>
                    <a:pt x="1058" y="202"/>
                  </a:moveTo>
                  <a:cubicBezTo>
                    <a:pt x="31" y="202"/>
                    <a:pt x="31" y="202"/>
                    <a:pt x="31" y="202"/>
                  </a:cubicBezTo>
                  <a:cubicBezTo>
                    <a:pt x="14" y="202"/>
                    <a:pt x="0" y="188"/>
                    <a:pt x="0" y="17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1058" y="0"/>
                    <a:pt x="1058" y="0"/>
                    <a:pt x="1058" y="0"/>
                  </a:cubicBezTo>
                  <a:cubicBezTo>
                    <a:pt x="1075" y="0"/>
                    <a:pt x="1089" y="14"/>
                    <a:pt x="1089" y="31"/>
                  </a:cubicBezTo>
                  <a:cubicBezTo>
                    <a:pt x="1089" y="171"/>
                    <a:pt x="1089" y="171"/>
                    <a:pt x="1089" y="171"/>
                  </a:cubicBezTo>
                  <a:cubicBezTo>
                    <a:pt x="1089" y="188"/>
                    <a:pt x="1075" y="202"/>
                    <a:pt x="1058" y="202"/>
                  </a:cubicBezTo>
                  <a:close/>
                </a:path>
              </a:pathLst>
            </a:custGeom>
            <a:solidFill>
              <a:srgbClr val="EE9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52">
              <a:extLst>
                <a:ext uri="{FF2B5EF4-FFF2-40B4-BE49-F238E27FC236}">
                  <a16:creationId xmlns:a16="http://schemas.microsoft.com/office/drawing/2014/main" id="{5F2F7800-7645-4EDD-ADD0-40A92E715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5" y="2773"/>
              <a:ext cx="171" cy="1392"/>
            </a:xfrm>
            <a:custGeom>
              <a:avLst/>
              <a:gdLst>
                <a:gd name="T0" fmla="*/ 227 w 227"/>
                <a:gd name="T1" fmla="*/ 0 h 1846"/>
                <a:gd name="T2" fmla="*/ 214 w 227"/>
                <a:gd name="T3" fmla="*/ 119 h 1846"/>
                <a:gd name="T4" fmla="*/ 27 w 227"/>
                <a:gd name="T5" fmla="*/ 1835 h 1846"/>
                <a:gd name="T6" fmla="*/ 17 w 227"/>
                <a:gd name="T7" fmla="*/ 1846 h 1846"/>
                <a:gd name="T8" fmla="*/ 1 w 227"/>
                <a:gd name="T9" fmla="*/ 1824 h 1846"/>
                <a:gd name="T10" fmla="*/ 149 w 227"/>
                <a:gd name="T11" fmla="*/ 67 h 1846"/>
                <a:gd name="T12" fmla="*/ 155 w 227"/>
                <a:gd name="T13" fmla="*/ 0 h 1846"/>
                <a:gd name="T14" fmla="*/ 227 w 227"/>
                <a:gd name="T15" fmla="*/ 0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7" h="1846">
                  <a:moveTo>
                    <a:pt x="227" y="0"/>
                  </a:moveTo>
                  <a:cubicBezTo>
                    <a:pt x="214" y="119"/>
                    <a:pt x="214" y="119"/>
                    <a:pt x="214" y="119"/>
                  </a:cubicBezTo>
                  <a:cubicBezTo>
                    <a:pt x="27" y="1835"/>
                    <a:pt x="27" y="1835"/>
                    <a:pt x="27" y="1835"/>
                  </a:cubicBezTo>
                  <a:cubicBezTo>
                    <a:pt x="26" y="1841"/>
                    <a:pt x="22" y="1846"/>
                    <a:pt x="17" y="1846"/>
                  </a:cubicBezTo>
                  <a:cubicBezTo>
                    <a:pt x="7" y="1846"/>
                    <a:pt x="0" y="1836"/>
                    <a:pt x="1" y="1824"/>
                  </a:cubicBezTo>
                  <a:cubicBezTo>
                    <a:pt x="149" y="67"/>
                    <a:pt x="149" y="67"/>
                    <a:pt x="149" y="67"/>
                  </a:cubicBezTo>
                  <a:cubicBezTo>
                    <a:pt x="155" y="0"/>
                    <a:pt x="155" y="0"/>
                    <a:pt x="155" y="0"/>
                  </a:cubicBezTo>
                  <a:lnTo>
                    <a:pt x="227" y="0"/>
                  </a:lnTo>
                  <a:close/>
                </a:path>
              </a:pathLst>
            </a:custGeom>
            <a:solidFill>
              <a:srgbClr val="EFC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8BD61056-273D-466C-B457-12FB0E2B9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" y="2773"/>
              <a:ext cx="59" cy="90"/>
            </a:xfrm>
            <a:custGeom>
              <a:avLst/>
              <a:gdLst>
                <a:gd name="T0" fmla="*/ 78 w 78"/>
                <a:gd name="T1" fmla="*/ 0 h 119"/>
                <a:gd name="T2" fmla="*/ 65 w 78"/>
                <a:gd name="T3" fmla="*/ 119 h 119"/>
                <a:gd name="T4" fmla="*/ 0 w 78"/>
                <a:gd name="T5" fmla="*/ 67 h 119"/>
                <a:gd name="T6" fmla="*/ 6 w 78"/>
                <a:gd name="T7" fmla="*/ 0 h 119"/>
                <a:gd name="T8" fmla="*/ 78 w 78"/>
                <a:gd name="T9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119">
                  <a:moveTo>
                    <a:pt x="78" y="0"/>
                  </a:moveTo>
                  <a:cubicBezTo>
                    <a:pt x="65" y="119"/>
                    <a:pt x="65" y="119"/>
                    <a:pt x="65" y="119"/>
                  </a:cubicBezTo>
                  <a:cubicBezTo>
                    <a:pt x="56" y="72"/>
                    <a:pt x="0" y="67"/>
                    <a:pt x="0" y="67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78" y="0"/>
                  </a:lnTo>
                  <a:close/>
                </a:path>
              </a:pathLst>
            </a:custGeom>
            <a:solidFill>
              <a:srgbClr val="CCA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B5ADC239-8822-4293-BBEE-76BAD7B13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" y="2773"/>
              <a:ext cx="171" cy="1392"/>
            </a:xfrm>
            <a:custGeom>
              <a:avLst/>
              <a:gdLst>
                <a:gd name="T0" fmla="*/ 210 w 227"/>
                <a:gd name="T1" fmla="*/ 1846 h 1846"/>
                <a:gd name="T2" fmla="*/ 200 w 227"/>
                <a:gd name="T3" fmla="*/ 1835 h 1846"/>
                <a:gd name="T4" fmla="*/ 13 w 227"/>
                <a:gd name="T5" fmla="*/ 119 h 1846"/>
                <a:gd name="T6" fmla="*/ 5 w 227"/>
                <a:gd name="T7" fmla="*/ 45 h 1846"/>
                <a:gd name="T8" fmla="*/ 0 w 227"/>
                <a:gd name="T9" fmla="*/ 0 h 1846"/>
                <a:gd name="T10" fmla="*/ 72 w 227"/>
                <a:gd name="T11" fmla="*/ 0 h 1846"/>
                <a:gd name="T12" fmla="*/ 78 w 227"/>
                <a:gd name="T13" fmla="*/ 67 h 1846"/>
                <a:gd name="T14" fmla="*/ 82 w 227"/>
                <a:gd name="T15" fmla="*/ 119 h 1846"/>
                <a:gd name="T16" fmla="*/ 226 w 227"/>
                <a:gd name="T17" fmla="*/ 1824 h 1846"/>
                <a:gd name="T18" fmla="*/ 210 w 227"/>
                <a:gd name="T19" fmla="*/ 1846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1846">
                  <a:moveTo>
                    <a:pt x="210" y="1846"/>
                  </a:moveTo>
                  <a:cubicBezTo>
                    <a:pt x="205" y="1846"/>
                    <a:pt x="201" y="1841"/>
                    <a:pt x="200" y="1835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82" y="119"/>
                    <a:pt x="82" y="119"/>
                    <a:pt x="82" y="119"/>
                  </a:cubicBezTo>
                  <a:cubicBezTo>
                    <a:pt x="226" y="1824"/>
                    <a:pt x="226" y="1824"/>
                    <a:pt x="226" y="1824"/>
                  </a:cubicBezTo>
                  <a:cubicBezTo>
                    <a:pt x="227" y="1836"/>
                    <a:pt x="220" y="1846"/>
                    <a:pt x="210" y="1846"/>
                  </a:cubicBezTo>
                  <a:close/>
                </a:path>
              </a:pathLst>
            </a:custGeom>
            <a:solidFill>
              <a:srgbClr val="EFC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55">
              <a:extLst>
                <a:ext uri="{FF2B5EF4-FFF2-40B4-BE49-F238E27FC236}">
                  <a16:creationId xmlns:a16="http://schemas.microsoft.com/office/drawing/2014/main" id="{48E7202B-B031-48A2-9EDA-E6D3E6253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" y="2773"/>
              <a:ext cx="62" cy="90"/>
            </a:xfrm>
            <a:custGeom>
              <a:avLst/>
              <a:gdLst>
                <a:gd name="T0" fmla="*/ 82 w 82"/>
                <a:gd name="T1" fmla="*/ 119 h 119"/>
                <a:gd name="T2" fmla="*/ 5 w 82"/>
                <a:gd name="T3" fmla="*/ 45 h 119"/>
                <a:gd name="T4" fmla="*/ 5 w 82"/>
                <a:gd name="T5" fmla="*/ 45 h 119"/>
                <a:gd name="T6" fmla="*/ 0 w 82"/>
                <a:gd name="T7" fmla="*/ 0 h 119"/>
                <a:gd name="T8" fmla="*/ 72 w 82"/>
                <a:gd name="T9" fmla="*/ 0 h 119"/>
                <a:gd name="T10" fmla="*/ 78 w 82"/>
                <a:gd name="T11" fmla="*/ 67 h 119"/>
                <a:gd name="T12" fmla="*/ 82 w 82"/>
                <a:gd name="T13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119">
                  <a:moveTo>
                    <a:pt x="82" y="119"/>
                  </a:moveTo>
                  <a:cubicBezTo>
                    <a:pt x="64" y="62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8" y="67"/>
                    <a:pt x="78" y="67"/>
                    <a:pt x="78" y="67"/>
                  </a:cubicBezTo>
                  <a:lnTo>
                    <a:pt x="82" y="119"/>
                  </a:lnTo>
                  <a:close/>
                </a:path>
              </a:pathLst>
            </a:custGeom>
            <a:solidFill>
              <a:srgbClr val="CCA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56">
              <a:extLst>
                <a:ext uri="{FF2B5EF4-FFF2-40B4-BE49-F238E27FC236}">
                  <a16:creationId xmlns:a16="http://schemas.microsoft.com/office/drawing/2014/main" id="{88E47550-B83C-4E58-AD6E-405ADE14F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" y="3176"/>
              <a:ext cx="820" cy="98"/>
            </a:xfrm>
            <a:custGeom>
              <a:avLst/>
              <a:gdLst>
                <a:gd name="T0" fmla="*/ 1064 w 1089"/>
                <a:gd name="T1" fmla="*/ 130 h 130"/>
                <a:gd name="T2" fmla="*/ 25 w 1089"/>
                <a:gd name="T3" fmla="*/ 130 h 130"/>
                <a:gd name="T4" fmla="*/ 0 w 1089"/>
                <a:gd name="T5" fmla="*/ 105 h 130"/>
                <a:gd name="T6" fmla="*/ 0 w 1089"/>
                <a:gd name="T7" fmla="*/ 25 h 130"/>
                <a:gd name="T8" fmla="*/ 25 w 1089"/>
                <a:gd name="T9" fmla="*/ 0 h 130"/>
                <a:gd name="T10" fmla="*/ 1064 w 1089"/>
                <a:gd name="T11" fmla="*/ 0 h 130"/>
                <a:gd name="T12" fmla="*/ 1089 w 1089"/>
                <a:gd name="T13" fmla="*/ 25 h 130"/>
                <a:gd name="T14" fmla="*/ 1089 w 1089"/>
                <a:gd name="T15" fmla="*/ 105 h 130"/>
                <a:gd name="T16" fmla="*/ 1064 w 1089"/>
                <a:gd name="T1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9" h="130">
                  <a:moveTo>
                    <a:pt x="1064" y="130"/>
                  </a:moveTo>
                  <a:cubicBezTo>
                    <a:pt x="25" y="130"/>
                    <a:pt x="25" y="130"/>
                    <a:pt x="25" y="130"/>
                  </a:cubicBezTo>
                  <a:cubicBezTo>
                    <a:pt x="12" y="130"/>
                    <a:pt x="0" y="118"/>
                    <a:pt x="0" y="10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2" y="0"/>
                    <a:pt x="25" y="0"/>
                  </a:cubicBezTo>
                  <a:cubicBezTo>
                    <a:pt x="1064" y="0"/>
                    <a:pt x="1064" y="0"/>
                    <a:pt x="1064" y="0"/>
                  </a:cubicBezTo>
                  <a:cubicBezTo>
                    <a:pt x="1078" y="0"/>
                    <a:pt x="1089" y="11"/>
                    <a:pt x="1089" y="25"/>
                  </a:cubicBezTo>
                  <a:cubicBezTo>
                    <a:pt x="1089" y="105"/>
                    <a:pt x="1089" y="105"/>
                    <a:pt x="1089" y="105"/>
                  </a:cubicBezTo>
                  <a:cubicBezTo>
                    <a:pt x="1089" y="118"/>
                    <a:pt x="1078" y="130"/>
                    <a:pt x="1064" y="130"/>
                  </a:cubicBezTo>
                  <a:close/>
                </a:path>
              </a:pathLst>
            </a:custGeom>
            <a:solidFill>
              <a:srgbClr val="EE9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57">
              <a:extLst>
                <a:ext uri="{FF2B5EF4-FFF2-40B4-BE49-F238E27FC236}">
                  <a16:creationId xmlns:a16="http://schemas.microsoft.com/office/drawing/2014/main" id="{AE76767E-CA5C-434B-97A8-FDF7F76A2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" y="3274"/>
              <a:ext cx="172" cy="891"/>
            </a:xfrm>
            <a:custGeom>
              <a:avLst/>
              <a:gdLst>
                <a:gd name="T0" fmla="*/ 227 w 227"/>
                <a:gd name="T1" fmla="*/ 0 h 1182"/>
                <a:gd name="T2" fmla="*/ 214 w 227"/>
                <a:gd name="T3" fmla="*/ 76 h 1182"/>
                <a:gd name="T4" fmla="*/ 27 w 227"/>
                <a:gd name="T5" fmla="*/ 1175 h 1182"/>
                <a:gd name="T6" fmla="*/ 17 w 227"/>
                <a:gd name="T7" fmla="*/ 1182 h 1182"/>
                <a:gd name="T8" fmla="*/ 1 w 227"/>
                <a:gd name="T9" fmla="*/ 1168 h 1182"/>
                <a:gd name="T10" fmla="*/ 150 w 227"/>
                <a:gd name="T11" fmla="*/ 42 h 1182"/>
                <a:gd name="T12" fmla="*/ 155 w 227"/>
                <a:gd name="T13" fmla="*/ 0 h 1182"/>
                <a:gd name="T14" fmla="*/ 227 w 227"/>
                <a:gd name="T15" fmla="*/ 0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7" h="1182">
                  <a:moveTo>
                    <a:pt x="227" y="0"/>
                  </a:moveTo>
                  <a:cubicBezTo>
                    <a:pt x="214" y="76"/>
                    <a:pt x="214" y="76"/>
                    <a:pt x="214" y="76"/>
                  </a:cubicBezTo>
                  <a:cubicBezTo>
                    <a:pt x="27" y="1175"/>
                    <a:pt x="27" y="1175"/>
                    <a:pt x="27" y="1175"/>
                  </a:cubicBezTo>
                  <a:cubicBezTo>
                    <a:pt x="27" y="1179"/>
                    <a:pt x="22" y="1182"/>
                    <a:pt x="17" y="1182"/>
                  </a:cubicBezTo>
                  <a:cubicBezTo>
                    <a:pt x="8" y="1182"/>
                    <a:pt x="0" y="1175"/>
                    <a:pt x="1" y="1168"/>
                  </a:cubicBezTo>
                  <a:cubicBezTo>
                    <a:pt x="150" y="42"/>
                    <a:pt x="150" y="42"/>
                    <a:pt x="150" y="42"/>
                  </a:cubicBezTo>
                  <a:cubicBezTo>
                    <a:pt x="155" y="0"/>
                    <a:pt x="155" y="0"/>
                    <a:pt x="155" y="0"/>
                  </a:cubicBezTo>
                  <a:lnTo>
                    <a:pt x="227" y="0"/>
                  </a:lnTo>
                  <a:close/>
                </a:path>
              </a:pathLst>
            </a:custGeom>
            <a:solidFill>
              <a:srgbClr val="EFC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58">
              <a:extLst>
                <a:ext uri="{FF2B5EF4-FFF2-40B4-BE49-F238E27FC236}">
                  <a16:creationId xmlns:a16="http://schemas.microsoft.com/office/drawing/2014/main" id="{718B71D9-8A28-4B23-9DE0-37EFC0762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" y="3274"/>
              <a:ext cx="58" cy="57"/>
            </a:xfrm>
            <a:custGeom>
              <a:avLst/>
              <a:gdLst>
                <a:gd name="T0" fmla="*/ 77 w 77"/>
                <a:gd name="T1" fmla="*/ 0 h 76"/>
                <a:gd name="T2" fmla="*/ 64 w 77"/>
                <a:gd name="T3" fmla="*/ 76 h 76"/>
                <a:gd name="T4" fmla="*/ 0 w 77"/>
                <a:gd name="T5" fmla="*/ 42 h 76"/>
                <a:gd name="T6" fmla="*/ 5 w 77"/>
                <a:gd name="T7" fmla="*/ 0 h 76"/>
                <a:gd name="T8" fmla="*/ 77 w 77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6">
                  <a:moveTo>
                    <a:pt x="77" y="0"/>
                  </a:moveTo>
                  <a:cubicBezTo>
                    <a:pt x="64" y="76"/>
                    <a:pt x="64" y="76"/>
                    <a:pt x="64" y="76"/>
                  </a:cubicBezTo>
                  <a:cubicBezTo>
                    <a:pt x="55" y="45"/>
                    <a:pt x="0" y="42"/>
                    <a:pt x="0" y="42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77" y="0"/>
                  </a:lnTo>
                  <a:close/>
                </a:path>
              </a:pathLst>
            </a:custGeom>
            <a:solidFill>
              <a:srgbClr val="CCA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59">
              <a:extLst>
                <a:ext uri="{FF2B5EF4-FFF2-40B4-BE49-F238E27FC236}">
                  <a16:creationId xmlns:a16="http://schemas.microsoft.com/office/drawing/2014/main" id="{824763CD-7985-4761-944B-DBA3DC36C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5" y="3274"/>
              <a:ext cx="171" cy="891"/>
            </a:xfrm>
            <a:custGeom>
              <a:avLst/>
              <a:gdLst>
                <a:gd name="T0" fmla="*/ 210 w 227"/>
                <a:gd name="T1" fmla="*/ 1182 h 1182"/>
                <a:gd name="T2" fmla="*/ 200 w 227"/>
                <a:gd name="T3" fmla="*/ 1175 h 1182"/>
                <a:gd name="T4" fmla="*/ 12 w 227"/>
                <a:gd name="T5" fmla="*/ 76 h 1182"/>
                <a:gd name="T6" fmla="*/ 4 w 227"/>
                <a:gd name="T7" fmla="*/ 28 h 1182"/>
                <a:gd name="T8" fmla="*/ 0 w 227"/>
                <a:gd name="T9" fmla="*/ 0 h 1182"/>
                <a:gd name="T10" fmla="*/ 71 w 227"/>
                <a:gd name="T11" fmla="*/ 0 h 1182"/>
                <a:gd name="T12" fmla="*/ 77 w 227"/>
                <a:gd name="T13" fmla="*/ 42 h 1182"/>
                <a:gd name="T14" fmla="*/ 81 w 227"/>
                <a:gd name="T15" fmla="*/ 75 h 1182"/>
                <a:gd name="T16" fmla="*/ 226 w 227"/>
                <a:gd name="T17" fmla="*/ 1168 h 1182"/>
                <a:gd name="T18" fmla="*/ 210 w 227"/>
                <a:gd name="T19" fmla="*/ 1182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1182">
                  <a:moveTo>
                    <a:pt x="210" y="1182"/>
                  </a:moveTo>
                  <a:cubicBezTo>
                    <a:pt x="204" y="1182"/>
                    <a:pt x="200" y="1179"/>
                    <a:pt x="200" y="1175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226" y="1168"/>
                    <a:pt x="226" y="1168"/>
                    <a:pt x="226" y="1168"/>
                  </a:cubicBezTo>
                  <a:cubicBezTo>
                    <a:pt x="227" y="1175"/>
                    <a:pt x="219" y="1182"/>
                    <a:pt x="210" y="1182"/>
                  </a:cubicBezTo>
                  <a:close/>
                </a:path>
              </a:pathLst>
            </a:custGeom>
            <a:solidFill>
              <a:srgbClr val="EFCB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60">
              <a:extLst>
                <a:ext uri="{FF2B5EF4-FFF2-40B4-BE49-F238E27FC236}">
                  <a16:creationId xmlns:a16="http://schemas.microsoft.com/office/drawing/2014/main" id="{C475288C-0A15-44FA-AF26-6DD2C7AC7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5" y="3274"/>
              <a:ext cx="61" cy="56"/>
            </a:xfrm>
            <a:custGeom>
              <a:avLst/>
              <a:gdLst>
                <a:gd name="T0" fmla="*/ 81 w 81"/>
                <a:gd name="T1" fmla="*/ 75 h 75"/>
                <a:gd name="T2" fmla="*/ 4 w 81"/>
                <a:gd name="T3" fmla="*/ 28 h 75"/>
                <a:gd name="T4" fmla="*/ 4 w 81"/>
                <a:gd name="T5" fmla="*/ 28 h 75"/>
                <a:gd name="T6" fmla="*/ 0 w 81"/>
                <a:gd name="T7" fmla="*/ 0 h 75"/>
                <a:gd name="T8" fmla="*/ 71 w 81"/>
                <a:gd name="T9" fmla="*/ 0 h 75"/>
                <a:gd name="T10" fmla="*/ 77 w 81"/>
                <a:gd name="T11" fmla="*/ 42 h 75"/>
                <a:gd name="T12" fmla="*/ 81 w 81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75">
                  <a:moveTo>
                    <a:pt x="81" y="75"/>
                  </a:moveTo>
                  <a:cubicBezTo>
                    <a:pt x="63" y="39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7" y="42"/>
                    <a:pt x="77" y="42"/>
                    <a:pt x="77" y="42"/>
                  </a:cubicBezTo>
                  <a:lnTo>
                    <a:pt x="81" y="75"/>
                  </a:lnTo>
                  <a:close/>
                </a:path>
              </a:pathLst>
            </a:custGeom>
            <a:solidFill>
              <a:srgbClr val="CCA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61">
              <a:extLst>
                <a:ext uri="{FF2B5EF4-FFF2-40B4-BE49-F238E27FC236}">
                  <a16:creationId xmlns:a16="http://schemas.microsoft.com/office/drawing/2014/main" id="{64D4DF22-8FD4-4FB1-B072-A79C6AACF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2" y="261"/>
              <a:ext cx="1054" cy="1053"/>
            </a:xfrm>
            <a:custGeom>
              <a:avLst/>
              <a:gdLst>
                <a:gd name="T0" fmla="*/ 1159 w 1398"/>
                <a:gd name="T1" fmla="*/ 1398 h 1398"/>
                <a:gd name="T2" fmla="*/ 239 w 1398"/>
                <a:gd name="T3" fmla="*/ 1398 h 1398"/>
                <a:gd name="T4" fmla="*/ 0 w 1398"/>
                <a:gd name="T5" fmla="*/ 1159 h 1398"/>
                <a:gd name="T6" fmla="*/ 0 w 1398"/>
                <a:gd name="T7" fmla="*/ 239 h 1398"/>
                <a:gd name="T8" fmla="*/ 239 w 1398"/>
                <a:gd name="T9" fmla="*/ 0 h 1398"/>
                <a:gd name="T10" fmla="*/ 1159 w 1398"/>
                <a:gd name="T11" fmla="*/ 0 h 1398"/>
                <a:gd name="T12" fmla="*/ 1398 w 1398"/>
                <a:gd name="T13" fmla="*/ 239 h 1398"/>
                <a:gd name="T14" fmla="*/ 1398 w 1398"/>
                <a:gd name="T15" fmla="*/ 1159 h 1398"/>
                <a:gd name="T16" fmla="*/ 1159 w 1398"/>
                <a:gd name="T17" fmla="*/ 1398 h 1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8" h="1398">
                  <a:moveTo>
                    <a:pt x="1159" y="1398"/>
                  </a:moveTo>
                  <a:cubicBezTo>
                    <a:pt x="239" y="1398"/>
                    <a:pt x="239" y="1398"/>
                    <a:pt x="239" y="1398"/>
                  </a:cubicBezTo>
                  <a:cubicBezTo>
                    <a:pt x="107" y="1398"/>
                    <a:pt x="0" y="1291"/>
                    <a:pt x="0" y="1159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107"/>
                    <a:pt x="107" y="0"/>
                    <a:pt x="239" y="0"/>
                  </a:cubicBezTo>
                  <a:cubicBezTo>
                    <a:pt x="1159" y="0"/>
                    <a:pt x="1159" y="0"/>
                    <a:pt x="1159" y="0"/>
                  </a:cubicBezTo>
                  <a:cubicBezTo>
                    <a:pt x="1291" y="0"/>
                    <a:pt x="1398" y="107"/>
                    <a:pt x="1398" y="239"/>
                  </a:cubicBezTo>
                  <a:cubicBezTo>
                    <a:pt x="1398" y="1159"/>
                    <a:pt x="1398" y="1159"/>
                    <a:pt x="1398" y="1159"/>
                  </a:cubicBezTo>
                  <a:cubicBezTo>
                    <a:pt x="1398" y="1291"/>
                    <a:pt x="1291" y="1398"/>
                    <a:pt x="1159" y="1398"/>
                  </a:cubicBezTo>
                  <a:close/>
                </a:path>
              </a:pathLst>
            </a:custGeom>
            <a:solidFill>
              <a:srgbClr val="E3F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62">
              <a:extLst>
                <a:ext uri="{FF2B5EF4-FFF2-40B4-BE49-F238E27FC236}">
                  <a16:creationId xmlns:a16="http://schemas.microsoft.com/office/drawing/2014/main" id="{694FC720-A0E4-4B2F-B053-63D66C204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8" y="387"/>
              <a:ext cx="782" cy="781"/>
            </a:xfrm>
            <a:custGeom>
              <a:avLst/>
              <a:gdLst>
                <a:gd name="T0" fmla="*/ 1037 w 1037"/>
                <a:gd name="T1" fmla="*/ 177 h 1037"/>
                <a:gd name="T2" fmla="*/ 1037 w 1037"/>
                <a:gd name="T3" fmla="*/ 860 h 1037"/>
                <a:gd name="T4" fmla="*/ 1032 w 1037"/>
                <a:gd name="T5" fmla="*/ 905 h 1037"/>
                <a:gd name="T6" fmla="*/ 924 w 1037"/>
                <a:gd name="T7" fmla="*/ 1025 h 1037"/>
                <a:gd name="T8" fmla="*/ 918 w 1037"/>
                <a:gd name="T9" fmla="*/ 1028 h 1037"/>
                <a:gd name="T10" fmla="*/ 860 w 1037"/>
                <a:gd name="T11" fmla="*/ 1037 h 1037"/>
                <a:gd name="T12" fmla="*/ 177 w 1037"/>
                <a:gd name="T13" fmla="*/ 1037 h 1037"/>
                <a:gd name="T14" fmla="*/ 151 w 1037"/>
                <a:gd name="T15" fmla="*/ 1035 h 1037"/>
                <a:gd name="T16" fmla="*/ 22 w 1037"/>
                <a:gd name="T17" fmla="*/ 946 h 1037"/>
                <a:gd name="T18" fmla="*/ 0 w 1037"/>
                <a:gd name="T19" fmla="*/ 860 h 1037"/>
                <a:gd name="T20" fmla="*/ 0 w 1037"/>
                <a:gd name="T21" fmla="*/ 177 h 1037"/>
                <a:gd name="T22" fmla="*/ 177 w 1037"/>
                <a:gd name="T23" fmla="*/ 0 h 1037"/>
                <a:gd name="T24" fmla="*/ 860 w 1037"/>
                <a:gd name="T25" fmla="*/ 0 h 1037"/>
                <a:gd name="T26" fmla="*/ 1037 w 1037"/>
                <a:gd name="T27" fmla="*/ 177 h 1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7" h="1037">
                  <a:moveTo>
                    <a:pt x="1037" y="177"/>
                  </a:moveTo>
                  <a:cubicBezTo>
                    <a:pt x="1037" y="860"/>
                    <a:pt x="1037" y="860"/>
                    <a:pt x="1037" y="860"/>
                  </a:cubicBezTo>
                  <a:cubicBezTo>
                    <a:pt x="1037" y="875"/>
                    <a:pt x="1035" y="890"/>
                    <a:pt x="1032" y="905"/>
                  </a:cubicBezTo>
                  <a:cubicBezTo>
                    <a:pt x="1017" y="960"/>
                    <a:pt x="977" y="1005"/>
                    <a:pt x="924" y="1025"/>
                  </a:cubicBezTo>
                  <a:cubicBezTo>
                    <a:pt x="922" y="1026"/>
                    <a:pt x="920" y="1027"/>
                    <a:pt x="918" y="1028"/>
                  </a:cubicBezTo>
                  <a:cubicBezTo>
                    <a:pt x="900" y="1034"/>
                    <a:pt x="880" y="1037"/>
                    <a:pt x="860" y="1037"/>
                  </a:cubicBezTo>
                  <a:cubicBezTo>
                    <a:pt x="177" y="1037"/>
                    <a:pt x="177" y="1037"/>
                    <a:pt x="177" y="1037"/>
                  </a:cubicBezTo>
                  <a:cubicBezTo>
                    <a:pt x="168" y="1037"/>
                    <a:pt x="159" y="1037"/>
                    <a:pt x="151" y="1035"/>
                  </a:cubicBezTo>
                  <a:cubicBezTo>
                    <a:pt x="95" y="1027"/>
                    <a:pt x="48" y="993"/>
                    <a:pt x="22" y="946"/>
                  </a:cubicBezTo>
                  <a:cubicBezTo>
                    <a:pt x="8" y="921"/>
                    <a:pt x="0" y="891"/>
                    <a:pt x="0" y="860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79"/>
                    <a:pt x="79" y="0"/>
                    <a:pt x="177" y="0"/>
                  </a:cubicBezTo>
                  <a:cubicBezTo>
                    <a:pt x="860" y="0"/>
                    <a:pt x="860" y="0"/>
                    <a:pt x="860" y="0"/>
                  </a:cubicBezTo>
                  <a:cubicBezTo>
                    <a:pt x="958" y="0"/>
                    <a:pt x="1037" y="79"/>
                    <a:pt x="1037" y="177"/>
                  </a:cubicBezTo>
                  <a:close/>
                </a:path>
              </a:pathLst>
            </a:custGeom>
            <a:solidFill>
              <a:srgbClr val="D2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63">
              <a:extLst>
                <a:ext uri="{FF2B5EF4-FFF2-40B4-BE49-F238E27FC236}">
                  <a16:creationId xmlns:a16="http://schemas.microsoft.com/office/drawing/2014/main" id="{2B0E1C63-845E-44E6-90D4-5CD77D6A0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3" y="653"/>
              <a:ext cx="267" cy="251"/>
            </a:xfrm>
            <a:custGeom>
              <a:avLst/>
              <a:gdLst>
                <a:gd name="T0" fmla="*/ 109 w 355"/>
                <a:gd name="T1" fmla="*/ 80 h 333"/>
                <a:gd name="T2" fmla="*/ 94 w 355"/>
                <a:gd name="T3" fmla="*/ 215 h 333"/>
                <a:gd name="T4" fmla="*/ 0 w 355"/>
                <a:gd name="T5" fmla="*/ 280 h 333"/>
                <a:gd name="T6" fmla="*/ 355 w 355"/>
                <a:gd name="T7" fmla="*/ 333 h 333"/>
                <a:gd name="T8" fmla="*/ 270 w 355"/>
                <a:gd name="T9" fmla="*/ 216 h 333"/>
                <a:gd name="T10" fmla="*/ 258 w 355"/>
                <a:gd name="T11" fmla="*/ 46 h 333"/>
                <a:gd name="T12" fmla="*/ 109 w 355"/>
                <a:gd name="T13" fmla="*/ 8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5" h="333">
                  <a:moveTo>
                    <a:pt x="109" y="80"/>
                  </a:moveTo>
                  <a:cubicBezTo>
                    <a:pt x="109" y="80"/>
                    <a:pt x="106" y="173"/>
                    <a:pt x="94" y="215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355" y="333"/>
                    <a:pt x="355" y="333"/>
                    <a:pt x="355" y="333"/>
                  </a:cubicBezTo>
                  <a:cubicBezTo>
                    <a:pt x="270" y="216"/>
                    <a:pt x="270" y="216"/>
                    <a:pt x="270" y="216"/>
                  </a:cubicBezTo>
                  <a:cubicBezTo>
                    <a:pt x="270" y="216"/>
                    <a:pt x="245" y="92"/>
                    <a:pt x="258" y="46"/>
                  </a:cubicBezTo>
                  <a:cubicBezTo>
                    <a:pt x="272" y="0"/>
                    <a:pt x="109" y="80"/>
                    <a:pt x="109" y="80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64">
              <a:extLst>
                <a:ext uri="{FF2B5EF4-FFF2-40B4-BE49-F238E27FC236}">
                  <a16:creationId xmlns:a16="http://schemas.microsoft.com/office/drawing/2014/main" id="{1F9C57FB-86A5-45F2-9523-A2E7DF67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5" y="723"/>
              <a:ext cx="110" cy="50"/>
            </a:xfrm>
            <a:custGeom>
              <a:avLst/>
              <a:gdLst>
                <a:gd name="T0" fmla="*/ 0 w 146"/>
                <a:gd name="T1" fmla="*/ 0 h 67"/>
                <a:gd name="T2" fmla="*/ 81 w 146"/>
                <a:gd name="T3" fmla="*/ 66 h 67"/>
                <a:gd name="T4" fmla="*/ 146 w 146"/>
                <a:gd name="T5" fmla="*/ 5 h 67"/>
                <a:gd name="T6" fmla="*/ 0 w 146"/>
                <a:gd name="T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67">
                  <a:moveTo>
                    <a:pt x="0" y="0"/>
                  </a:moveTo>
                  <a:cubicBezTo>
                    <a:pt x="0" y="0"/>
                    <a:pt x="28" y="67"/>
                    <a:pt x="81" y="66"/>
                  </a:cubicBezTo>
                  <a:cubicBezTo>
                    <a:pt x="134" y="64"/>
                    <a:pt x="146" y="5"/>
                    <a:pt x="146" y="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9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65">
              <a:extLst>
                <a:ext uri="{FF2B5EF4-FFF2-40B4-BE49-F238E27FC236}">
                  <a16:creationId xmlns:a16="http://schemas.microsoft.com/office/drawing/2014/main" id="{DF105986-7B3C-4269-ABA6-B44030757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3" y="479"/>
              <a:ext cx="241" cy="202"/>
            </a:xfrm>
            <a:custGeom>
              <a:avLst/>
              <a:gdLst>
                <a:gd name="T0" fmla="*/ 50 w 320"/>
                <a:gd name="T1" fmla="*/ 268 h 268"/>
                <a:gd name="T2" fmla="*/ 21 w 320"/>
                <a:gd name="T3" fmla="*/ 157 h 268"/>
                <a:gd name="T4" fmla="*/ 131 w 320"/>
                <a:gd name="T5" fmla="*/ 10 h 268"/>
                <a:gd name="T6" fmla="*/ 210 w 320"/>
                <a:gd name="T7" fmla="*/ 0 h 268"/>
                <a:gd name="T8" fmla="*/ 203 w 320"/>
                <a:gd name="T9" fmla="*/ 22 h 268"/>
                <a:gd name="T10" fmla="*/ 284 w 320"/>
                <a:gd name="T11" fmla="*/ 51 h 268"/>
                <a:gd name="T12" fmla="*/ 263 w 320"/>
                <a:gd name="T13" fmla="*/ 262 h 268"/>
                <a:gd name="T14" fmla="*/ 50 w 320"/>
                <a:gd name="T15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0" h="268">
                  <a:moveTo>
                    <a:pt x="50" y="268"/>
                  </a:moveTo>
                  <a:cubicBezTo>
                    <a:pt x="50" y="268"/>
                    <a:pt x="33" y="183"/>
                    <a:pt x="21" y="157"/>
                  </a:cubicBezTo>
                  <a:cubicBezTo>
                    <a:pt x="10" y="131"/>
                    <a:pt x="0" y="16"/>
                    <a:pt x="131" y="10"/>
                  </a:cubicBezTo>
                  <a:cubicBezTo>
                    <a:pt x="131" y="10"/>
                    <a:pt x="182" y="16"/>
                    <a:pt x="210" y="0"/>
                  </a:cubicBezTo>
                  <a:cubicBezTo>
                    <a:pt x="210" y="0"/>
                    <a:pt x="210" y="16"/>
                    <a:pt x="203" y="22"/>
                  </a:cubicBezTo>
                  <a:cubicBezTo>
                    <a:pt x="203" y="22"/>
                    <a:pt x="248" y="11"/>
                    <a:pt x="284" y="51"/>
                  </a:cubicBezTo>
                  <a:cubicBezTo>
                    <a:pt x="320" y="91"/>
                    <a:pt x="260" y="230"/>
                    <a:pt x="263" y="262"/>
                  </a:cubicBezTo>
                  <a:lnTo>
                    <a:pt x="50" y="268"/>
                  </a:ln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66">
              <a:extLst>
                <a:ext uri="{FF2B5EF4-FFF2-40B4-BE49-F238E27FC236}">
                  <a16:creationId xmlns:a16="http://schemas.microsoft.com/office/drawing/2014/main" id="{3DD056A7-09F0-44D8-9707-21B9B3E34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9" y="561"/>
              <a:ext cx="164" cy="192"/>
            </a:xfrm>
            <a:custGeom>
              <a:avLst/>
              <a:gdLst>
                <a:gd name="T0" fmla="*/ 217 w 217"/>
                <a:gd name="T1" fmla="*/ 42 h 255"/>
                <a:gd name="T2" fmla="*/ 217 w 217"/>
                <a:gd name="T3" fmla="*/ 134 h 255"/>
                <a:gd name="T4" fmla="*/ 208 w 217"/>
                <a:gd name="T5" fmla="*/ 179 h 255"/>
                <a:gd name="T6" fmla="*/ 208 w 217"/>
                <a:gd name="T7" fmla="*/ 179 h 255"/>
                <a:gd name="T8" fmla="*/ 160 w 217"/>
                <a:gd name="T9" fmla="*/ 236 h 255"/>
                <a:gd name="T10" fmla="*/ 109 w 217"/>
                <a:gd name="T11" fmla="*/ 255 h 255"/>
                <a:gd name="T12" fmla="*/ 60 w 217"/>
                <a:gd name="T13" fmla="*/ 236 h 255"/>
                <a:gd name="T14" fmla="*/ 5 w 217"/>
                <a:gd name="T15" fmla="*/ 169 h 255"/>
                <a:gd name="T16" fmla="*/ 5 w 217"/>
                <a:gd name="T17" fmla="*/ 168 h 255"/>
                <a:gd name="T18" fmla="*/ 4 w 217"/>
                <a:gd name="T19" fmla="*/ 167 h 255"/>
                <a:gd name="T20" fmla="*/ 0 w 217"/>
                <a:gd name="T21" fmla="*/ 140 h 255"/>
                <a:gd name="T22" fmla="*/ 0 w 217"/>
                <a:gd name="T23" fmla="*/ 42 h 255"/>
                <a:gd name="T24" fmla="*/ 36 w 217"/>
                <a:gd name="T25" fmla="*/ 0 h 255"/>
                <a:gd name="T26" fmla="*/ 182 w 217"/>
                <a:gd name="T27" fmla="*/ 0 h 255"/>
                <a:gd name="T28" fmla="*/ 217 w 217"/>
                <a:gd name="T29" fmla="*/ 42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" h="255">
                  <a:moveTo>
                    <a:pt x="217" y="42"/>
                  </a:moveTo>
                  <a:cubicBezTo>
                    <a:pt x="217" y="134"/>
                    <a:pt x="217" y="134"/>
                    <a:pt x="217" y="134"/>
                  </a:cubicBezTo>
                  <a:cubicBezTo>
                    <a:pt x="217" y="150"/>
                    <a:pt x="214" y="165"/>
                    <a:pt x="208" y="179"/>
                  </a:cubicBezTo>
                  <a:cubicBezTo>
                    <a:pt x="208" y="179"/>
                    <a:pt x="208" y="179"/>
                    <a:pt x="208" y="179"/>
                  </a:cubicBezTo>
                  <a:cubicBezTo>
                    <a:pt x="197" y="202"/>
                    <a:pt x="180" y="222"/>
                    <a:pt x="160" y="236"/>
                  </a:cubicBezTo>
                  <a:cubicBezTo>
                    <a:pt x="143" y="248"/>
                    <a:pt x="124" y="255"/>
                    <a:pt x="109" y="255"/>
                  </a:cubicBezTo>
                  <a:cubicBezTo>
                    <a:pt x="95" y="254"/>
                    <a:pt x="77" y="248"/>
                    <a:pt x="60" y="236"/>
                  </a:cubicBezTo>
                  <a:cubicBezTo>
                    <a:pt x="36" y="221"/>
                    <a:pt x="14" y="197"/>
                    <a:pt x="5" y="169"/>
                  </a:cubicBezTo>
                  <a:cubicBezTo>
                    <a:pt x="5" y="168"/>
                    <a:pt x="5" y="168"/>
                    <a:pt x="5" y="168"/>
                  </a:cubicBezTo>
                  <a:cubicBezTo>
                    <a:pt x="4" y="167"/>
                    <a:pt x="4" y="167"/>
                    <a:pt x="4" y="167"/>
                  </a:cubicBezTo>
                  <a:cubicBezTo>
                    <a:pt x="2" y="158"/>
                    <a:pt x="0" y="149"/>
                    <a:pt x="0" y="14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6" y="0"/>
                    <a:pt x="36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201" y="0"/>
                    <a:pt x="217" y="18"/>
                    <a:pt x="217" y="42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67">
              <a:extLst>
                <a:ext uri="{FF2B5EF4-FFF2-40B4-BE49-F238E27FC236}">
                  <a16:creationId xmlns:a16="http://schemas.microsoft.com/office/drawing/2014/main" id="{D18A157D-AE02-4892-8861-2ADC09BDA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5" y="815"/>
              <a:ext cx="761" cy="355"/>
            </a:xfrm>
            <a:custGeom>
              <a:avLst/>
              <a:gdLst>
                <a:gd name="T0" fmla="*/ 720 w 1010"/>
                <a:gd name="T1" fmla="*/ 24 h 471"/>
                <a:gd name="T2" fmla="*/ 599 w 1010"/>
                <a:gd name="T3" fmla="*/ 1 h 471"/>
                <a:gd name="T4" fmla="*/ 513 w 1010"/>
                <a:gd name="T5" fmla="*/ 69 h 471"/>
                <a:gd name="T6" fmla="*/ 423 w 1010"/>
                <a:gd name="T7" fmla="*/ 0 h 471"/>
                <a:gd name="T8" fmla="*/ 321 w 1010"/>
                <a:gd name="T9" fmla="*/ 21 h 471"/>
                <a:gd name="T10" fmla="*/ 321 w 1010"/>
                <a:gd name="T11" fmla="*/ 21 h 471"/>
                <a:gd name="T12" fmla="*/ 0 w 1010"/>
                <a:gd name="T13" fmla="*/ 380 h 471"/>
                <a:gd name="T14" fmla="*/ 129 w 1010"/>
                <a:gd name="T15" fmla="*/ 469 h 471"/>
                <a:gd name="T16" fmla="*/ 246 w 1010"/>
                <a:gd name="T17" fmla="*/ 367 h 471"/>
                <a:gd name="T18" fmla="*/ 246 w 1010"/>
                <a:gd name="T19" fmla="*/ 398 h 471"/>
                <a:gd name="T20" fmla="*/ 248 w 1010"/>
                <a:gd name="T21" fmla="*/ 471 h 471"/>
                <a:gd name="T22" fmla="*/ 762 w 1010"/>
                <a:gd name="T23" fmla="*/ 471 h 471"/>
                <a:gd name="T24" fmla="*/ 759 w 1010"/>
                <a:gd name="T25" fmla="*/ 435 h 471"/>
                <a:gd name="T26" fmla="*/ 754 w 1010"/>
                <a:gd name="T27" fmla="*/ 338 h 471"/>
                <a:gd name="T28" fmla="*/ 754 w 1010"/>
                <a:gd name="T29" fmla="*/ 338 h 471"/>
                <a:gd name="T30" fmla="*/ 754 w 1010"/>
                <a:gd name="T31" fmla="*/ 337 h 471"/>
                <a:gd name="T32" fmla="*/ 754 w 1010"/>
                <a:gd name="T33" fmla="*/ 337 h 471"/>
                <a:gd name="T34" fmla="*/ 780 w 1010"/>
                <a:gd name="T35" fmla="*/ 359 h 471"/>
                <a:gd name="T36" fmla="*/ 786 w 1010"/>
                <a:gd name="T37" fmla="*/ 364 h 471"/>
                <a:gd name="T38" fmla="*/ 791 w 1010"/>
                <a:gd name="T39" fmla="*/ 369 h 471"/>
                <a:gd name="T40" fmla="*/ 799 w 1010"/>
                <a:gd name="T41" fmla="*/ 375 h 471"/>
                <a:gd name="T42" fmla="*/ 812 w 1010"/>
                <a:gd name="T43" fmla="*/ 387 h 471"/>
                <a:gd name="T44" fmla="*/ 818 w 1010"/>
                <a:gd name="T45" fmla="*/ 392 h 471"/>
                <a:gd name="T46" fmla="*/ 821 w 1010"/>
                <a:gd name="T47" fmla="*/ 395 h 471"/>
                <a:gd name="T48" fmla="*/ 825 w 1010"/>
                <a:gd name="T49" fmla="*/ 398 h 471"/>
                <a:gd name="T50" fmla="*/ 828 w 1010"/>
                <a:gd name="T51" fmla="*/ 401 h 471"/>
                <a:gd name="T52" fmla="*/ 835 w 1010"/>
                <a:gd name="T53" fmla="*/ 406 h 471"/>
                <a:gd name="T54" fmla="*/ 840 w 1010"/>
                <a:gd name="T55" fmla="*/ 411 h 471"/>
                <a:gd name="T56" fmla="*/ 844 w 1010"/>
                <a:gd name="T57" fmla="*/ 415 h 471"/>
                <a:gd name="T58" fmla="*/ 860 w 1010"/>
                <a:gd name="T59" fmla="*/ 429 h 471"/>
                <a:gd name="T60" fmla="*/ 866 w 1010"/>
                <a:gd name="T61" fmla="*/ 434 h 471"/>
                <a:gd name="T62" fmla="*/ 873 w 1010"/>
                <a:gd name="T63" fmla="*/ 439 h 471"/>
                <a:gd name="T64" fmla="*/ 877 w 1010"/>
                <a:gd name="T65" fmla="*/ 443 h 471"/>
                <a:gd name="T66" fmla="*/ 879 w 1010"/>
                <a:gd name="T67" fmla="*/ 445 h 471"/>
                <a:gd name="T68" fmla="*/ 885 w 1010"/>
                <a:gd name="T69" fmla="*/ 450 h 471"/>
                <a:gd name="T70" fmla="*/ 891 w 1010"/>
                <a:gd name="T71" fmla="*/ 455 h 471"/>
                <a:gd name="T72" fmla="*/ 893 w 1010"/>
                <a:gd name="T73" fmla="*/ 457 h 471"/>
                <a:gd name="T74" fmla="*/ 896 w 1010"/>
                <a:gd name="T75" fmla="*/ 460 h 471"/>
                <a:gd name="T76" fmla="*/ 902 w 1010"/>
                <a:gd name="T77" fmla="*/ 457 h 471"/>
                <a:gd name="T78" fmla="*/ 1010 w 1010"/>
                <a:gd name="T79" fmla="*/ 337 h 471"/>
                <a:gd name="T80" fmla="*/ 720 w 1010"/>
                <a:gd name="T81" fmla="*/ 24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10" h="471">
                  <a:moveTo>
                    <a:pt x="720" y="24"/>
                  </a:moveTo>
                  <a:cubicBezTo>
                    <a:pt x="720" y="24"/>
                    <a:pt x="637" y="6"/>
                    <a:pt x="599" y="1"/>
                  </a:cubicBezTo>
                  <a:cubicBezTo>
                    <a:pt x="566" y="45"/>
                    <a:pt x="543" y="57"/>
                    <a:pt x="513" y="69"/>
                  </a:cubicBezTo>
                  <a:cubicBezTo>
                    <a:pt x="464" y="62"/>
                    <a:pt x="423" y="1"/>
                    <a:pt x="423" y="0"/>
                  </a:cubicBezTo>
                  <a:cubicBezTo>
                    <a:pt x="371" y="5"/>
                    <a:pt x="335" y="16"/>
                    <a:pt x="321" y="21"/>
                  </a:cubicBezTo>
                  <a:cubicBezTo>
                    <a:pt x="321" y="21"/>
                    <a:pt x="321" y="21"/>
                    <a:pt x="321" y="21"/>
                  </a:cubicBezTo>
                  <a:cubicBezTo>
                    <a:pt x="317" y="21"/>
                    <a:pt x="188" y="39"/>
                    <a:pt x="0" y="380"/>
                  </a:cubicBezTo>
                  <a:cubicBezTo>
                    <a:pt x="26" y="427"/>
                    <a:pt x="73" y="461"/>
                    <a:pt x="129" y="469"/>
                  </a:cubicBezTo>
                  <a:cubicBezTo>
                    <a:pt x="153" y="448"/>
                    <a:pt x="205" y="403"/>
                    <a:pt x="246" y="367"/>
                  </a:cubicBezTo>
                  <a:cubicBezTo>
                    <a:pt x="245" y="379"/>
                    <a:pt x="245" y="389"/>
                    <a:pt x="246" y="398"/>
                  </a:cubicBezTo>
                  <a:cubicBezTo>
                    <a:pt x="246" y="422"/>
                    <a:pt x="247" y="447"/>
                    <a:pt x="248" y="471"/>
                  </a:cubicBezTo>
                  <a:cubicBezTo>
                    <a:pt x="762" y="471"/>
                    <a:pt x="762" y="471"/>
                    <a:pt x="762" y="471"/>
                  </a:cubicBezTo>
                  <a:cubicBezTo>
                    <a:pt x="761" y="459"/>
                    <a:pt x="760" y="447"/>
                    <a:pt x="759" y="435"/>
                  </a:cubicBezTo>
                  <a:cubicBezTo>
                    <a:pt x="757" y="400"/>
                    <a:pt x="756" y="368"/>
                    <a:pt x="754" y="338"/>
                  </a:cubicBezTo>
                  <a:cubicBezTo>
                    <a:pt x="754" y="338"/>
                    <a:pt x="754" y="338"/>
                    <a:pt x="754" y="338"/>
                  </a:cubicBezTo>
                  <a:cubicBezTo>
                    <a:pt x="754" y="337"/>
                    <a:pt x="754" y="337"/>
                    <a:pt x="754" y="337"/>
                  </a:cubicBezTo>
                  <a:cubicBezTo>
                    <a:pt x="754" y="337"/>
                    <a:pt x="754" y="337"/>
                    <a:pt x="754" y="337"/>
                  </a:cubicBezTo>
                  <a:cubicBezTo>
                    <a:pt x="762" y="343"/>
                    <a:pt x="771" y="351"/>
                    <a:pt x="780" y="359"/>
                  </a:cubicBezTo>
                  <a:cubicBezTo>
                    <a:pt x="782" y="361"/>
                    <a:pt x="784" y="363"/>
                    <a:pt x="786" y="364"/>
                  </a:cubicBezTo>
                  <a:cubicBezTo>
                    <a:pt x="788" y="366"/>
                    <a:pt x="790" y="367"/>
                    <a:pt x="791" y="369"/>
                  </a:cubicBezTo>
                  <a:cubicBezTo>
                    <a:pt x="794" y="371"/>
                    <a:pt x="796" y="373"/>
                    <a:pt x="799" y="375"/>
                  </a:cubicBezTo>
                  <a:cubicBezTo>
                    <a:pt x="803" y="379"/>
                    <a:pt x="807" y="383"/>
                    <a:pt x="812" y="387"/>
                  </a:cubicBezTo>
                  <a:cubicBezTo>
                    <a:pt x="814" y="389"/>
                    <a:pt x="816" y="390"/>
                    <a:pt x="818" y="392"/>
                  </a:cubicBezTo>
                  <a:cubicBezTo>
                    <a:pt x="819" y="393"/>
                    <a:pt x="820" y="394"/>
                    <a:pt x="821" y="395"/>
                  </a:cubicBezTo>
                  <a:cubicBezTo>
                    <a:pt x="823" y="396"/>
                    <a:pt x="824" y="397"/>
                    <a:pt x="825" y="398"/>
                  </a:cubicBezTo>
                  <a:cubicBezTo>
                    <a:pt x="826" y="399"/>
                    <a:pt x="827" y="400"/>
                    <a:pt x="828" y="401"/>
                  </a:cubicBezTo>
                  <a:cubicBezTo>
                    <a:pt x="830" y="403"/>
                    <a:pt x="832" y="405"/>
                    <a:pt x="835" y="406"/>
                  </a:cubicBezTo>
                  <a:cubicBezTo>
                    <a:pt x="836" y="408"/>
                    <a:pt x="838" y="410"/>
                    <a:pt x="840" y="411"/>
                  </a:cubicBezTo>
                  <a:cubicBezTo>
                    <a:pt x="841" y="412"/>
                    <a:pt x="843" y="414"/>
                    <a:pt x="844" y="415"/>
                  </a:cubicBezTo>
                  <a:cubicBezTo>
                    <a:pt x="850" y="420"/>
                    <a:pt x="855" y="424"/>
                    <a:pt x="860" y="429"/>
                  </a:cubicBezTo>
                  <a:cubicBezTo>
                    <a:pt x="862" y="431"/>
                    <a:pt x="864" y="432"/>
                    <a:pt x="866" y="434"/>
                  </a:cubicBezTo>
                  <a:cubicBezTo>
                    <a:pt x="868" y="436"/>
                    <a:pt x="871" y="438"/>
                    <a:pt x="873" y="439"/>
                  </a:cubicBezTo>
                  <a:cubicBezTo>
                    <a:pt x="874" y="441"/>
                    <a:pt x="875" y="442"/>
                    <a:pt x="877" y="443"/>
                  </a:cubicBezTo>
                  <a:cubicBezTo>
                    <a:pt x="877" y="444"/>
                    <a:pt x="878" y="444"/>
                    <a:pt x="879" y="445"/>
                  </a:cubicBezTo>
                  <a:cubicBezTo>
                    <a:pt x="881" y="447"/>
                    <a:pt x="883" y="448"/>
                    <a:pt x="885" y="450"/>
                  </a:cubicBezTo>
                  <a:cubicBezTo>
                    <a:pt x="887" y="452"/>
                    <a:pt x="889" y="454"/>
                    <a:pt x="891" y="455"/>
                  </a:cubicBezTo>
                  <a:cubicBezTo>
                    <a:pt x="892" y="456"/>
                    <a:pt x="893" y="457"/>
                    <a:pt x="893" y="457"/>
                  </a:cubicBezTo>
                  <a:cubicBezTo>
                    <a:pt x="894" y="458"/>
                    <a:pt x="895" y="459"/>
                    <a:pt x="896" y="460"/>
                  </a:cubicBezTo>
                  <a:cubicBezTo>
                    <a:pt x="898" y="459"/>
                    <a:pt x="900" y="458"/>
                    <a:pt x="902" y="457"/>
                  </a:cubicBezTo>
                  <a:cubicBezTo>
                    <a:pt x="955" y="437"/>
                    <a:pt x="995" y="392"/>
                    <a:pt x="1010" y="337"/>
                  </a:cubicBezTo>
                  <a:cubicBezTo>
                    <a:pt x="833" y="33"/>
                    <a:pt x="720" y="24"/>
                    <a:pt x="720" y="24"/>
                  </a:cubicBezTo>
                  <a:close/>
                </a:path>
              </a:pathLst>
            </a:custGeom>
            <a:solidFill>
              <a:srgbClr val="F997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68">
              <a:extLst>
                <a:ext uri="{FF2B5EF4-FFF2-40B4-BE49-F238E27FC236}">
                  <a16:creationId xmlns:a16="http://schemas.microsoft.com/office/drawing/2014/main" id="{C5675E50-79A5-4E8B-9E44-3BAF08CBC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1" y="537"/>
              <a:ext cx="180" cy="95"/>
            </a:xfrm>
            <a:custGeom>
              <a:avLst/>
              <a:gdLst>
                <a:gd name="T0" fmla="*/ 11 w 239"/>
                <a:gd name="T1" fmla="*/ 126 h 126"/>
                <a:gd name="T2" fmla="*/ 58 w 239"/>
                <a:gd name="T3" fmla="*/ 58 h 126"/>
                <a:gd name="T4" fmla="*/ 225 w 239"/>
                <a:gd name="T5" fmla="*/ 44 h 126"/>
                <a:gd name="T6" fmla="*/ 11 w 239"/>
                <a:gd name="T7" fmla="*/ 29 h 126"/>
                <a:gd name="T8" fmla="*/ 11 w 239"/>
                <a:gd name="T9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9" h="126">
                  <a:moveTo>
                    <a:pt x="11" y="126"/>
                  </a:moveTo>
                  <a:cubicBezTo>
                    <a:pt x="11" y="126"/>
                    <a:pt x="11" y="67"/>
                    <a:pt x="58" y="58"/>
                  </a:cubicBezTo>
                  <a:cubicBezTo>
                    <a:pt x="105" y="49"/>
                    <a:pt x="210" y="87"/>
                    <a:pt x="225" y="44"/>
                  </a:cubicBezTo>
                  <a:cubicBezTo>
                    <a:pt x="239" y="0"/>
                    <a:pt x="22" y="1"/>
                    <a:pt x="11" y="29"/>
                  </a:cubicBezTo>
                  <a:cubicBezTo>
                    <a:pt x="0" y="56"/>
                    <a:pt x="11" y="126"/>
                    <a:pt x="11" y="126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69">
              <a:extLst>
                <a:ext uri="{FF2B5EF4-FFF2-40B4-BE49-F238E27FC236}">
                  <a16:creationId xmlns:a16="http://schemas.microsoft.com/office/drawing/2014/main" id="{11F499DF-FFE9-44E9-8BB5-D54ABCD1B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9" y="1085"/>
              <a:ext cx="48" cy="83"/>
            </a:xfrm>
            <a:custGeom>
              <a:avLst/>
              <a:gdLst>
                <a:gd name="T0" fmla="*/ 63 w 63"/>
                <a:gd name="T1" fmla="*/ 111 h 111"/>
                <a:gd name="T2" fmla="*/ 3 w 63"/>
                <a:gd name="T3" fmla="*/ 111 h 111"/>
                <a:gd name="T4" fmla="*/ 1 w 63"/>
                <a:gd name="T5" fmla="*/ 38 h 111"/>
                <a:gd name="T6" fmla="*/ 1 w 63"/>
                <a:gd name="T7" fmla="*/ 7 h 111"/>
                <a:gd name="T8" fmla="*/ 1 w 63"/>
                <a:gd name="T9" fmla="*/ 0 h 111"/>
                <a:gd name="T10" fmla="*/ 4 w 63"/>
                <a:gd name="T11" fmla="*/ 5 h 111"/>
                <a:gd name="T12" fmla="*/ 63 w 63"/>
                <a:gd name="T1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11">
                  <a:moveTo>
                    <a:pt x="63" y="111"/>
                  </a:moveTo>
                  <a:cubicBezTo>
                    <a:pt x="3" y="111"/>
                    <a:pt x="3" y="111"/>
                    <a:pt x="3" y="111"/>
                  </a:cubicBezTo>
                  <a:cubicBezTo>
                    <a:pt x="2" y="87"/>
                    <a:pt x="1" y="63"/>
                    <a:pt x="1" y="38"/>
                  </a:cubicBezTo>
                  <a:cubicBezTo>
                    <a:pt x="0" y="29"/>
                    <a:pt x="0" y="19"/>
                    <a:pt x="1" y="7"/>
                  </a:cubicBezTo>
                  <a:cubicBezTo>
                    <a:pt x="1" y="5"/>
                    <a:pt x="1" y="2"/>
                    <a:pt x="1" y="0"/>
                  </a:cubicBezTo>
                  <a:cubicBezTo>
                    <a:pt x="2" y="1"/>
                    <a:pt x="3" y="2"/>
                    <a:pt x="4" y="5"/>
                  </a:cubicBezTo>
                  <a:cubicBezTo>
                    <a:pt x="13" y="19"/>
                    <a:pt x="38" y="61"/>
                    <a:pt x="63" y="111"/>
                  </a:cubicBezTo>
                  <a:close/>
                </a:path>
              </a:pathLst>
            </a:custGeom>
            <a:solidFill>
              <a:srgbClr val="ED7D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70">
              <a:extLst>
                <a:ext uri="{FF2B5EF4-FFF2-40B4-BE49-F238E27FC236}">
                  <a16:creationId xmlns:a16="http://schemas.microsoft.com/office/drawing/2014/main" id="{53ECF107-16D4-44EB-92CB-52DA9974D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4" y="676"/>
              <a:ext cx="76" cy="77"/>
            </a:xfrm>
            <a:custGeom>
              <a:avLst/>
              <a:gdLst>
                <a:gd name="T0" fmla="*/ 100 w 100"/>
                <a:gd name="T1" fmla="*/ 42 h 102"/>
                <a:gd name="T2" fmla="*/ 100 w 100"/>
                <a:gd name="T3" fmla="*/ 83 h 102"/>
                <a:gd name="T4" fmla="*/ 49 w 100"/>
                <a:gd name="T5" fmla="*/ 102 h 102"/>
                <a:gd name="T6" fmla="*/ 0 w 100"/>
                <a:gd name="T7" fmla="*/ 83 h 102"/>
                <a:gd name="T8" fmla="*/ 0 w 100"/>
                <a:gd name="T9" fmla="*/ 42 h 102"/>
                <a:gd name="T10" fmla="*/ 41 w 100"/>
                <a:gd name="T11" fmla="*/ 0 h 102"/>
                <a:gd name="T12" fmla="*/ 59 w 100"/>
                <a:gd name="T13" fmla="*/ 0 h 102"/>
                <a:gd name="T14" fmla="*/ 100 w 100"/>
                <a:gd name="T15" fmla="*/ 4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102">
                  <a:moveTo>
                    <a:pt x="100" y="42"/>
                  </a:moveTo>
                  <a:cubicBezTo>
                    <a:pt x="100" y="83"/>
                    <a:pt x="100" y="83"/>
                    <a:pt x="100" y="83"/>
                  </a:cubicBezTo>
                  <a:cubicBezTo>
                    <a:pt x="83" y="95"/>
                    <a:pt x="64" y="102"/>
                    <a:pt x="49" y="102"/>
                  </a:cubicBezTo>
                  <a:cubicBezTo>
                    <a:pt x="35" y="101"/>
                    <a:pt x="17" y="95"/>
                    <a:pt x="0" y="83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81" y="0"/>
                    <a:pt x="100" y="19"/>
                    <a:pt x="100" y="42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71">
              <a:extLst>
                <a:ext uri="{FF2B5EF4-FFF2-40B4-BE49-F238E27FC236}">
                  <a16:creationId xmlns:a16="http://schemas.microsoft.com/office/drawing/2014/main" id="{E3D2D548-58A3-436D-A595-7CE672511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3" y="1043"/>
              <a:ext cx="111" cy="118"/>
            </a:xfrm>
            <a:custGeom>
              <a:avLst/>
              <a:gdLst>
                <a:gd name="T0" fmla="*/ 148 w 148"/>
                <a:gd name="T1" fmla="*/ 154 h 157"/>
                <a:gd name="T2" fmla="*/ 142 w 148"/>
                <a:gd name="T3" fmla="*/ 157 h 157"/>
                <a:gd name="T4" fmla="*/ 139 w 148"/>
                <a:gd name="T5" fmla="*/ 154 h 157"/>
                <a:gd name="T6" fmla="*/ 137 w 148"/>
                <a:gd name="T7" fmla="*/ 152 h 157"/>
                <a:gd name="T8" fmla="*/ 131 w 148"/>
                <a:gd name="T9" fmla="*/ 147 h 157"/>
                <a:gd name="T10" fmla="*/ 125 w 148"/>
                <a:gd name="T11" fmla="*/ 142 h 157"/>
                <a:gd name="T12" fmla="*/ 123 w 148"/>
                <a:gd name="T13" fmla="*/ 140 h 157"/>
                <a:gd name="T14" fmla="*/ 119 w 148"/>
                <a:gd name="T15" fmla="*/ 136 h 157"/>
                <a:gd name="T16" fmla="*/ 112 w 148"/>
                <a:gd name="T17" fmla="*/ 131 h 157"/>
                <a:gd name="T18" fmla="*/ 106 w 148"/>
                <a:gd name="T19" fmla="*/ 126 h 157"/>
                <a:gd name="T20" fmla="*/ 90 w 148"/>
                <a:gd name="T21" fmla="*/ 112 h 157"/>
                <a:gd name="T22" fmla="*/ 86 w 148"/>
                <a:gd name="T23" fmla="*/ 108 h 157"/>
                <a:gd name="T24" fmla="*/ 81 w 148"/>
                <a:gd name="T25" fmla="*/ 103 h 157"/>
                <a:gd name="T26" fmla="*/ 74 w 148"/>
                <a:gd name="T27" fmla="*/ 98 h 157"/>
                <a:gd name="T28" fmla="*/ 71 w 148"/>
                <a:gd name="T29" fmla="*/ 95 h 157"/>
                <a:gd name="T30" fmla="*/ 67 w 148"/>
                <a:gd name="T31" fmla="*/ 92 h 157"/>
                <a:gd name="T32" fmla="*/ 64 w 148"/>
                <a:gd name="T33" fmla="*/ 89 h 157"/>
                <a:gd name="T34" fmla="*/ 58 w 148"/>
                <a:gd name="T35" fmla="*/ 84 h 157"/>
                <a:gd name="T36" fmla="*/ 45 w 148"/>
                <a:gd name="T37" fmla="*/ 72 h 157"/>
                <a:gd name="T38" fmla="*/ 37 w 148"/>
                <a:gd name="T39" fmla="*/ 66 h 157"/>
                <a:gd name="T40" fmla="*/ 32 w 148"/>
                <a:gd name="T41" fmla="*/ 61 h 157"/>
                <a:gd name="T42" fmla="*/ 26 w 148"/>
                <a:gd name="T43" fmla="*/ 56 h 157"/>
                <a:gd name="T44" fmla="*/ 0 w 148"/>
                <a:gd name="T45" fmla="*/ 34 h 157"/>
                <a:gd name="T46" fmla="*/ 0 w 148"/>
                <a:gd name="T47" fmla="*/ 33 h 157"/>
                <a:gd name="T48" fmla="*/ 0 w 148"/>
                <a:gd name="T49" fmla="*/ 33 h 157"/>
                <a:gd name="T50" fmla="*/ 78 w 148"/>
                <a:gd name="T51" fmla="*/ 50 h 157"/>
                <a:gd name="T52" fmla="*/ 148 w 148"/>
                <a:gd name="T5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8" h="157">
                  <a:moveTo>
                    <a:pt x="148" y="154"/>
                  </a:moveTo>
                  <a:cubicBezTo>
                    <a:pt x="146" y="155"/>
                    <a:pt x="144" y="156"/>
                    <a:pt x="142" y="157"/>
                  </a:cubicBezTo>
                  <a:cubicBezTo>
                    <a:pt x="141" y="156"/>
                    <a:pt x="140" y="155"/>
                    <a:pt x="139" y="154"/>
                  </a:cubicBezTo>
                  <a:cubicBezTo>
                    <a:pt x="139" y="154"/>
                    <a:pt x="138" y="153"/>
                    <a:pt x="137" y="152"/>
                  </a:cubicBezTo>
                  <a:cubicBezTo>
                    <a:pt x="135" y="151"/>
                    <a:pt x="133" y="149"/>
                    <a:pt x="131" y="147"/>
                  </a:cubicBezTo>
                  <a:cubicBezTo>
                    <a:pt x="129" y="145"/>
                    <a:pt x="127" y="144"/>
                    <a:pt x="125" y="142"/>
                  </a:cubicBezTo>
                  <a:cubicBezTo>
                    <a:pt x="124" y="141"/>
                    <a:pt x="123" y="141"/>
                    <a:pt x="123" y="140"/>
                  </a:cubicBezTo>
                  <a:cubicBezTo>
                    <a:pt x="121" y="139"/>
                    <a:pt x="120" y="138"/>
                    <a:pt x="119" y="136"/>
                  </a:cubicBezTo>
                  <a:cubicBezTo>
                    <a:pt x="117" y="135"/>
                    <a:pt x="114" y="133"/>
                    <a:pt x="112" y="131"/>
                  </a:cubicBezTo>
                  <a:cubicBezTo>
                    <a:pt x="110" y="129"/>
                    <a:pt x="108" y="128"/>
                    <a:pt x="106" y="126"/>
                  </a:cubicBezTo>
                  <a:cubicBezTo>
                    <a:pt x="101" y="121"/>
                    <a:pt x="96" y="117"/>
                    <a:pt x="90" y="112"/>
                  </a:cubicBezTo>
                  <a:cubicBezTo>
                    <a:pt x="89" y="111"/>
                    <a:pt x="87" y="109"/>
                    <a:pt x="86" y="108"/>
                  </a:cubicBezTo>
                  <a:cubicBezTo>
                    <a:pt x="84" y="107"/>
                    <a:pt x="82" y="105"/>
                    <a:pt x="81" y="103"/>
                  </a:cubicBezTo>
                  <a:cubicBezTo>
                    <a:pt x="78" y="102"/>
                    <a:pt x="76" y="100"/>
                    <a:pt x="74" y="98"/>
                  </a:cubicBezTo>
                  <a:cubicBezTo>
                    <a:pt x="73" y="97"/>
                    <a:pt x="72" y="96"/>
                    <a:pt x="71" y="95"/>
                  </a:cubicBezTo>
                  <a:cubicBezTo>
                    <a:pt x="70" y="94"/>
                    <a:pt x="69" y="93"/>
                    <a:pt x="67" y="92"/>
                  </a:cubicBezTo>
                  <a:cubicBezTo>
                    <a:pt x="66" y="91"/>
                    <a:pt x="65" y="90"/>
                    <a:pt x="64" y="89"/>
                  </a:cubicBezTo>
                  <a:cubicBezTo>
                    <a:pt x="62" y="87"/>
                    <a:pt x="60" y="86"/>
                    <a:pt x="58" y="84"/>
                  </a:cubicBezTo>
                  <a:cubicBezTo>
                    <a:pt x="53" y="80"/>
                    <a:pt x="49" y="76"/>
                    <a:pt x="45" y="72"/>
                  </a:cubicBezTo>
                  <a:cubicBezTo>
                    <a:pt x="42" y="70"/>
                    <a:pt x="40" y="68"/>
                    <a:pt x="37" y="66"/>
                  </a:cubicBezTo>
                  <a:cubicBezTo>
                    <a:pt x="36" y="64"/>
                    <a:pt x="34" y="63"/>
                    <a:pt x="32" y="61"/>
                  </a:cubicBezTo>
                  <a:cubicBezTo>
                    <a:pt x="30" y="60"/>
                    <a:pt x="28" y="58"/>
                    <a:pt x="26" y="56"/>
                  </a:cubicBezTo>
                  <a:cubicBezTo>
                    <a:pt x="17" y="48"/>
                    <a:pt x="8" y="40"/>
                    <a:pt x="0" y="34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5" y="29"/>
                    <a:pt x="49" y="0"/>
                    <a:pt x="78" y="50"/>
                  </a:cubicBezTo>
                  <a:cubicBezTo>
                    <a:pt x="97" y="85"/>
                    <a:pt x="129" y="129"/>
                    <a:pt x="148" y="154"/>
                  </a:cubicBezTo>
                  <a:close/>
                </a:path>
              </a:pathLst>
            </a:custGeom>
            <a:solidFill>
              <a:srgbClr val="ED7D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72">
              <a:extLst>
                <a:ext uri="{FF2B5EF4-FFF2-40B4-BE49-F238E27FC236}">
                  <a16:creationId xmlns:a16="http://schemas.microsoft.com/office/drawing/2014/main" id="{FACC99DE-6FCF-4CEB-B81C-E4062D26F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" y="687"/>
              <a:ext cx="154" cy="66"/>
            </a:xfrm>
            <a:custGeom>
              <a:avLst/>
              <a:gdLst>
                <a:gd name="T0" fmla="*/ 204 w 204"/>
                <a:gd name="T1" fmla="*/ 12 h 88"/>
                <a:gd name="T2" fmla="*/ 105 w 204"/>
                <a:gd name="T3" fmla="*/ 88 h 88"/>
                <a:gd name="T4" fmla="*/ 1 w 204"/>
                <a:gd name="T5" fmla="*/ 2 h 88"/>
                <a:gd name="T6" fmla="*/ 1 w 204"/>
                <a:gd name="T7" fmla="*/ 1 h 88"/>
                <a:gd name="T8" fmla="*/ 0 w 204"/>
                <a:gd name="T9" fmla="*/ 0 h 88"/>
                <a:gd name="T10" fmla="*/ 58 w 204"/>
                <a:gd name="T11" fmla="*/ 15 h 88"/>
                <a:gd name="T12" fmla="*/ 154 w 204"/>
                <a:gd name="T13" fmla="*/ 15 h 88"/>
                <a:gd name="T14" fmla="*/ 204 w 204"/>
                <a:gd name="T15" fmla="*/ 1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88">
                  <a:moveTo>
                    <a:pt x="204" y="12"/>
                  </a:moveTo>
                  <a:cubicBezTo>
                    <a:pt x="184" y="56"/>
                    <a:pt x="138" y="88"/>
                    <a:pt x="105" y="88"/>
                  </a:cubicBezTo>
                  <a:cubicBezTo>
                    <a:pt x="72" y="87"/>
                    <a:pt x="17" y="51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35" y="29"/>
                    <a:pt x="58" y="15"/>
                  </a:cubicBezTo>
                  <a:cubicBezTo>
                    <a:pt x="154" y="15"/>
                    <a:pt x="154" y="15"/>
                    <a:pt x="154" y="15"/>
                  </a:cubicBezTo>
                  <a:cubicBezTo>
                    <a:pt x="154" y="15"/>
                    <a:pt x="179" y="29"/>
                    <a:pt x="204" y="12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73">
              <a:extLst>
                <a:ext uri="{FF2B5EF4-FFF2-40B4-BE49-F238E27FC236}">
                  <a16:creationId xmlns:a16="http://schemas.microsoft.com/office/drawing/2014/main" id="{431FA3C3-C01D-4378-8996-4AECE334B8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6" y="691"/>
              <a:ext cx="33" cy="13"/>
            </a:xfrm>
            <a:custGeom>
              <a:avLst/>
              <a:gdLst>
                <a:gd name="T0" fmla="*/ 31 w 44"/>
                <a:gd name="T1" fmla="*/ 17 h 17"/>
                <a:gd name="T2" fmla="*/ 11 w 44"/>
                <a:gd name="T3" fmla="*/ 17 h 17"/>
                <a:gd name="T4" fmla="*/ 0 w 44"/>
                <a:gd name="T5" fmla="*/ 4 h 17"/>
                <a:gd name="T6" fmla="*/ 11 w 44"/>
                <a:gd name="T7" fmla="*/ 0 h 17"/>
                <a:gd name="T8" fmla="*/ 31 w 44"/>
                <a:gd name="T9" fmla="*/ 0 h 17"/>
                <a:gd name="T10" fmla="*/ 44 w 44"/>
                <a:gd name="T11" fmla="*/ 6 h 17"/>
                <a:gd name="T12" fmla="*/ 31 w 44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7">
                  <a:moveTo>
                    <a:pt x="31" y="17"/>
                  </a:moveTo>
                  <a:cubicBezTo>
                    <a:pt x="11" y="17"/>
                    <a:pt x="11" y="17"/>
                    <a:pt x="11" y="17"/>
                  </a:cubicBezTo>
                  <a:cubicBezTo>
                    <a:pt x="6" y="17"/>
                    <a:pt x="0" y="9"/>
                    <a:pt x="0" y="4"/>
                  </a:cubicBezTo>
                  <a:cubicBezTo>
                    <a:pt x="0" y="4"/>
                    <a:pt x="6" y="0"/>
                    <a:pt x="1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0"/>
                    <a:pt x="43" y="4"/>
                    <a:pt x="44" y="6"/>
                  </a:cubicBezTo>
                  <a:cubicBezTo>
                    <a:pt x="44" y="6"/>
                    <a:pt x="41" y="17"/>
                    <a:pt x="31" y="17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74">
              <a:extLst>
                <a:ext uri="{FF2B5EF4-FFF2-40B4-BE49-F238E27FC236}">
                  <a16:creationId xmlns:a16="http://schemas.microsoft.com/office/drawing/2014/main" id="{C149B3B2-3766-4BB7-8D8E-4084DB4D2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3" y="239"/>
              <a:ext cx="1054" cy="1054"/>
            </a:xfrm>
            <a:custGeom>
              <a:avLst/>
              <a:gdLst>
                <a:gd name="T0" fmla="*/ 1159 w 1398"/>
                <a:gd name="T1" fmla="*/ 1399 h 1399"/>
                <a:gd name="T2" fmla="*/ 239 w 1398"/>
                <a:gd name="T3" fmla="*/ 1399 h 1399"/>
                <a:gd name="T4" fmla="*/ 0 w 1398"/>
                <a:gd name="T5" fmla="*/ 1159 h 1399"/>
                <a:gd name="T6" fmla="*/ 0 w 1398"/>
                <a:gd name="T7" fmla="*/ 239 h 1399"/>
                <a:gd name="T8" fmla="*/ 239 w 1398"/>
                <a:gd name="T9" fmla="*/ 0 h 1399"/>
                <a:gd name="T10" fmla="*/ 1159 w 1398"/>
                <a:gd name="T11" fmla="*/ 0 h 1399"/>
                <a:gd name="T12" fmla="*/ 1398 w 1398"/>
                <a:gd name="T13" fmla="*/ 239 h 1399"/>
                <a:gd name="T14" fmla="*/ 1398 w 1398"/>
                <a:gd name="T15" fmla="*/ 1159 h 1399"/>
                <a:gd name="T16" fmla="*/ 1159 w 1398"/>
                <a:gd name="T17" fmla="*/ 1399 h 1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8" h="1399">
                  <a:moveTo>
                    <a:pt x="1159" y="1399"/>
                  </a:moveTo>
                  <a:cubicBezTo>
                    <a:pt x="239" y="1399"/>
                    <a:pt x="239" y="1399"/>
                    <a:pt x="239" y="1399"/>
                  </a:cubicBezTo>
                  <a:cubicBezTo>
                    <a:pt x="107" y="1399"/>
                    <a:pt x="0" y="1292"/>
                    <a:pt x="0" y="1159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107"/>
                    <a:pt x="107" y="0"/>
                    <a:pt x="239" y="0"/>
                  </a:cubicBezTo>
                  <a:cubicBezTo>
                    <a:pt x="1159" y="0"/>
                    <a:pt x="1159" y="0"/>
                    <a:pt x="1159" y="0"/>
                  </a:cubicBezTo>
                  <a:cubicBezTo>
                    <a:pt x="1291" y="0"/>
                    <a:pt x="1398" y="107"/>
                    <a:pt x="1398" y="239"/>
                  </a:cubicBezTo>
                  <a:cubicBezTo>
                    <a:pt x="1398" y="1159"/>
                    <a:pt x="1398" y="1159"/>
                    <a:pt x="1398" y="1159"/>
                  </a:cubicBezTo>
                  <a:cubicBezTo>
                    <a:pt x="1398" y="1292"/>
                    <a:pt x="1291" y="1399"/>
                    <a:pt x="1159" y="1399"/>
                  </a:cubicBezTo>
                  <a:close/>
                </a:path>
              </a:pathLst>
            </a:custGeom>
            <a:solidFill>
              <a:srgbClr val="E3F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75">
              <a:extLst>
                <a:ext uri="{FF2B5EF4-FFF2-40B4-BE49-F238E27FC236}">
                  <a16:creationId xmlns:a16="http://schemas.microsoft.com/office/drawing/2014/main" id="{683D6F11-FA2C-4D3D-A213-EA27EFA89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9" y="365"/>
              <a:ext cx="781" cy="782"/>
            </a:xfrm>
            <a:custGeom>
              <a:avLst/>
              <a:gdLst>
                <a:gd name="T0" fmla="*/ 1037 w 1037"/>
                <a:gd name="T1" fmla="*/ 177 h 1038"/>
                <a:gd name="T2" fmla="*/ 1037 w 1037"/>
                <a:gd name="T3" fmla="*/ 860 h 1038"/>
                <a:gd name="T4" fmla="*/ 995 w 1037"/>
                <a:gd name="T5" fmla="*/ 975 h 1038"/>
                <a:gd name="T6" fmla="*/ 860 w 1037"/>
                <a:gd name="T7" fmla="*/ 1038 h 1038"/>
                <a:gd name="T8" fmla="*/ 177 w 1037"/>
                <a:gd name="T9" fmla="*/ 1038 h 1038"/>
                <a:gd name="T10" fmla="*/ 60 w 1037"/>
                <a:gd name="T11" fmla="*/ 994 h 1038"/>
                <a:gd name="T12" fmla="*/ 0 w 1037"/>
                <a:gd name="T13" fmla="*/ 860 h 1038"/>
                <a:gd name="T14" fmla="*/ 0 w 1037"/>
                <a:gd name="T15" fmla="*/ 177 h 1038"/>
                <a:gd name="T16" fmla="*/ 177 w 1037"/>
                <a:gd name="T17" fmla="*/ 0 h 1038"/>
                <a:gd name="T18" fmla="*/ 860 w 1037"/>
                <a:gd name="T19" fmla="*/ 0 h 1038"/>
                <a:gd name="T20" fmla="*/ 1037 w 1037"/>
                <a:gd name="T21" fmla="*/ 177 h 1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7" h="1038">
                  <a:moveTo>
                    <a:pt x="1037" y="177"/>
                  </a:moveTo>
                  <a:cubicBezTo>
                    <a:pt x="1037" y="860"/>
                    <a:pt x="1037" y="860"/>
                    <a:pt x="1037" y="860"/>
                  </a:cubicBezTo>
                  <a:cubicBezTo>
                    <a:pt x="1037" y="904"/>
                    <a:pt x="1021" y="944"/>
                    <a:pt x="995" y="975"/>
                  </a:cubicBezTo>
                  <a:cubicBezTo>
                    <a:pt x="963" y="1013"/>
                    <a:pt x="914" y="1038"/>
                    <a:pt x="860" y="1038"/>
                  </a:cubicBezTo>
                  <a:cubicBezTo>
                    <a:pt x="177" y="1038"/>
                    <a:pt x="177" y="1038"/>
                    <a:pt x="177" y="1038"/>
                  </a:cubicBezTo>
                  <a:cubicBezTo>
                    <a:pt x="132" y="1038"/>
                    <a:pt x="91" y="1021"/>
                    <a:pt x="60" y="994"/>
                  </a:cubicBezTo>
                  <a:cubicBezTo>
                    <a:pt x="23" y="961"/>
                    <a:pt x="0" y="913"/>
                    <a:pt x="0" y="860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79"/>
                    <a:pt x="79" y="0"/>
                    <a:pt x="177" y="0"/>
                  </a:cubicBezTo>
                  <a:cubicBezTo>
                    <a:pt x="860" y="0"/>
                    <a:pt x="860" y="0"/>
                    <a:pt x="860" y="0"/>
                  </a:cubicBezTo>
                  <a:cubicBezTo>
                    <a:pt x="958" y="0"/>
                    <a:pt x="1037" y="79"/>
                    <a:pt x="1037" y="177"/>
                  </a:cubicBezTo>
                  <a:close/>
                </a:path>
              </a:pathLst>
            </a:custGeom>
            <a:solidFill>
              <a:srgbClr val="D2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76">
              <a:extLst>
                <a:ext uri="{FF2B5EF4-FFF2-40B4-BE49-F238E27FC236}">
                  <a16:creationId xmlns:a16="http://schemas.microsoft.com/office/drawing/2014/main" id="{2BACC753-674F-48EC-B5D6-22E265DA9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7" y="467"/>
              <a:ext cx="425" cy="379"/>
            </a:xfrm>
            <a:custGeom>
              <a:avLst/>
              <a:gdLst>
                <a:gd name="T0" fmla="*/ 210 w 564"/>
                <a:gd name="T1" fmla="*/ 500 h 504"/>
                <a:gd name="T2" fmla="*/ 95 w 564"/>
                <a:gd name="T3" fmla="*/ 430 h 504"/>
                <a:gd name="T4" fmla="*/ 27 w 564"/>
                <a:gd name="T5" fmla="*/ 268 h 504"/>
                <a:gd name="T6" fmla="*/ 71 w 564"/>
                <a:gd name="T7" fmla="*/ 101 h 504"/>
                <a:gd name="T8" fmla="*/ 204 w 564"/>
                <a:gd name="T9" fmla="*/ 52 h 504"/>
                <a:gd name="T10" fmla="*/ 345 w 564"/>
                <a:gd name="T11" fmla="*/ 34 h 504"/>
                <a:gd name="T12" fmla="*/ 477 w 564"/>
                <a:gd name="T13" fmla="*/ 82 h 504"/>
                <a:gd name="T14" fmla="*/ 534 w 564"/>
                <a:gd name="T15" fmla="*/ 187 h 504"/>
                <a:gd name="T16" fmla="*/ 527 w 564"/>
                <a:gd name="T17" fmla="*/ 321 h 504"/>
                <a:gd name="T18" fmla="*/ 478 w 564"/>
                <a:gd name="T19" fmla="*/ 432 h 504"/>
                <a:gd name="T20" fmla="*/ 364 w 564"/>
                <a:gd name="T21" fmla="*/ 500 h 504"/>
                <a:gd name="T22" fmla="*/ 210 w 564"/>
                <a:gd name="T23" fmla="*/ 50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4" h="504">
                  <a:moveTo>
                    <a:pt x="210" y="500"/>
                  </a:moveTo>
                  <a:cubicBezTo>
                    <a:pt x="210" y="500"/>
                    <a:pt x="99" y="495"/>
                    <a:pt x="95" y="430"/>
                  </a:cubicBezTo>
                  <a:cubicBezTo>
                    <a:pt x="92" y="366"/>
                    <a:pt x="0" y="319"/>
                    <a:pt x="27" y="268"/>
                  </a:cubicBezTo>
                  <a:cubicBezTo>
                    <a:pt x="60" y="204"/>
                    <a:pt x="30" y="144"/>
                    <a:pt x="71" y="101"/>
                  </a:cubicBezTo>
                  <a:cubicBezTo>
                    <a:pt x="116" y="54"/>
                    <a:pt x="174" y="80"/>
                    <a:pt x="204" y="52"/>
                  </a:cubicBezTo>
                  <a:cubicBezTo>
                    <a:pt x="235" y="25"/>
                    <a:pt x="290" y="0"/>
                    <a:pt x="345" y="34"/>
                  </a:cubicBezTo>
                  <a:cubicBezTo>
                    <a:pt x="399" y="67"/>
                    <a:pt x="441" y="49"/>
                    <a:pt x="477" y="82"/>
                  </a:cubicBezTo>
                  <a:cubicBezTo>
                    <a:pt x="517" y="118"/>
                    <a:pt x="501" y="163"/>
                    <a:pt x="534" y="187"/>
                  </a:cubicBezTo>
                  <a:cubicBezTo>
                    <a:pt x="564" y="210"/>
                    <a:pt x="552" y="271"/>
                    <a:pt x="527" y="321"/>
                  </a:cubicBezTo>
                  <a:cubicBezTo>
                    <a:pt x="509" y="357"/>
                    <a:pt x="550" y="391"/>
                    <a:pt x="478" y="432"/>
                  </a:cubicBezTo>
                  <a:cubicBezTo>
                    <a:pt x="448" y="450"/>
                    <a:pt x="455" y="493"/>
                    <a:pt x="364" y="500"/>
                  </a:cubicBezTo>
                  <a:cubicBezTo>
                    <a:pt x="323" y="504"/>
                    <a:pt x="234" y="485"/>
                    <a:pt x="210" y="500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77">
              <a:extLst>
                <a:ext uri="{FF2B5EF4-FFF2-40B4-BE49-F238E27FC236}">
                  <a16:creationId xmlns:a16="http://schemas.microsoft.com/office/drawing/2014/main" id="{898D7166-399A-46B0-9D59-4319ABF84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8" y="736"/>
              <a:ext cx="289" cy="271"/>
            </a:xfrm>
            <a:custGeom>
              <a:avLst/>
              <a:gdLst>
                <a:gd name="T0" fmla="*/ 118 w 383"/>
                <a:gd name="T1" fmla="*/ 86 h 360"/>
                <a:gd name="T2" fmla="*/ 102 w 383"/>
                <a:gd name="T3" fmla="*/ 232 h 360"/>
                <a:gd name="T4" fmla="*/ 0 w 383"/>
                <a:gd name="T5" fmla="*/ 303 h 360"/>
                <a:gd name="T6" fmla="*/ 383 w 383"/>
                <a:gd name="T7" fmla="*/ 360 h 360"/>
                <a:gd name="T8" fmla="*/ 292 w 383"/>
                <a:gd name="T9" fmla="*/ 234 h 360"/>
                <a:gd name="T10" fmla="*/ 279 w 383"/>
                <a:gd name="T11" fmla="*/ 49 h 360"/>
                <a:gd name="T12" fmla="*/ 118 w 383"/>
                <a:gd name="T13" fmla="*/ 86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3" h="360">
                  <a:moveTo>
                    <a:pt x="118" y="86"/>
                  </a:moveTo>
                  <a:cubicBezTo>
                    <a:pt x="118" y="86"/>
                    <a:pt x="115" y="187"/>
                    <a:pt x="102" y="232"/>
                  </a:cubicBezTo>
                  <a:cubicBezTo>
                    <a:pt x="0" y="303"/>
                    <a:pt x="0" y="303"/>
                    <a:pt x="0" y="303"/>
                  </a:cubicBezTo>
                  <a:cubicBezTo>
                    <a:pt x="383" y="360"/>
                    <a:pt x="383" y="360"/>
                    <a:pt x="383" y="360"/>
                  </a:cubicBezTo>
                  <a:cubicBezTo>
                    <a:pt x="292" y="234"/>
                    <a:pt x="292" y="234"/>
                    <a:pt x="292" y="234"/>
                  </a:cubicBezTo>
                  <a:cubicBezTo>
                    <a:pt x="292" y="234"/>
                    <a:pt x="264" y="99"/>
                    <a:pt x="279" y="49"/>
                  </a:cubicBezTo>
                  <a:cubicBezTo>
                    <a:pt x="293" y="0"/>
                    <a:pt x="118" y="86"/>
                    <a:pt x="118" y="86"/>
                  </a:cubicBezTo>
                  <a:close/>
                </a:path>
              </a:pathLst>
            </a:custGeom>
            <a:solidFill>
              <a:srgbClr val="B56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78">
              <a:extLst>
                <a:ext uri="{FF2B5EF4-FFF2-40B4-BE49-F238E27FC236}">
                  <a16:creationId xmlns:a16="http://schemas.microsoft.com/office/drawing/2014/main" id="{031B8278-F01B-4296-8D6E-D4B5979AE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7" y="811"/>
              <a:ext cx="119" cy="55"/>
            </a:xfrm>
            <a:custGeom>
              <a:avLst/>
              <a:gdLst>
                <a:gd name="T0" fmla="*/ 0 w 157"/>
                <a:gd name="T1" fmla="*/ 0 h 73"/>
                <a:gd name="T2" fmla="*/ 87 w 157"/>
                <a:gd name="T3" fmla="*/ 72 h 73"/>
                <a:gd name="T4" fmla="*/ 157 w 157"/>
                <a:gd name="T5" fmla="*/ 5 h 73"/>
                <a:gd name="T6" fmla="*/ 0 w 157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7" h="73">
                  <a:moveTo>
                    <a:pt x="0" y="0"/>
                  </a:moveTo>
                  <a:cubicBezTo>
                    <a:pt x="0" y="0"/>
                    <a:pt x="30" y="73"/>
                    <a:pt x="87" y="72"/>
                  </a:cubicBezTo>
                  <a:cubicBezTo>
                    <a:pt x="144" y="70"/>
                    <a:pt x="157" y="5"/>
                    <a:pt x="157" y="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959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79">
              <a:extLst>
                <a:ext uri="{FF2B5EF4-FFF2-40B4-BE49-F238E27FC236}">
                  <a16:creationId xmlns:a16="http://schemas.microsoft.com/office/drawing/2014/main" id="{540584EE-7279-4EBD-8685-1997EC6C3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" y="636"/>
              <a:ext cx="177" cy="208"/>
            </a:xfrm>
            <a:custGeom>
              <a:avLst/>
              <a:gdLst>
                <a:gd name="T0" fmla="*/ 117 w 235"/>
                <a:gd name="T1" fmla="*/ 275 h 276"/>
                <a:gd name="T2" fmla="*/ 0 w 235"/>
                <a:gd name="T3" fmla="*/ 151 h 276"/>
                <a:gd name="T4" fmla="*/ 0 w 235"/>
                <a:gd name="T5" fmla="*/ 45 h 276"/>
                <a:gd name="T6" fmla="*/ 39 w 235"/>
                <a:gd name="T7" fmla="*/ 0 h 276"/>
                <a:gd name="T8" fmla="*/ 196 w 235"/>
                <a:gd name="T9" fmla="*/ 0 h 276"/>
                <a:gd name="T10" fmla="*/ 235 w 235"/>
                <a:gd name="T11" fmla="*/ 45 h 276"/>
                <a:gd name="T12" fmla="*/ 235 w 235"/>
                <a:gd name="T13" fmla="*/ 145 h 276"/>
                <a:gd name="T14" fmla="*/ 117 w 235"/>
                <a:gd name="T15" fmla="*/ 275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5" h="276">
                  <a:moveTo>
                    <a:pt x="117" y="275"/>
                  </a:moveTo>
                  <a:cubicBezTo>
                    <a:pt x="76" y="275"/>
                    <a:pt x="0" y="220"/>
                    <a:pt x="0" y="15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17" y="0"/>
                    <a:pt x="39" y="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218" y="0"/>
                    <a:pt x="235" y="20"/>
                    <a:pt x="235" y="45"/>
                  </a:cubicBezTo>
                  <a:cubicBezTo>
                    <a:pt x="235" y="145"/>
                    <a:pt x="235" y="145"/>
                    <a:pt x="235" y="145"/>
                  </a:cubicBezTo>
                  <a:cubicBezTo>
                    <a:pt x="235" y="217"/>
                    <a:pt x="165" y="276"/>
                    <a:pt x="117" y="275"/>
                  </a:cubicBezTo>
                  <a:close/>
                </a:path>
              </a:pathLst>
            </a:custGeom>
            <a:solidFill>
              <a:srgbClr val="B56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80">
              <a:extLst>
                <a:ext uri="{FF2B5EF4-FFF2-40B4-BE49-F238E27FC236}">
                  <a16:creationId xmlns:a16="http://schemas.microsoft.com/office/drawing/2014/main" id="{CD6F5C6D-BEFD-418B-97C9-EDAFE8582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" y="910"/>
              <a:ext cx="705" cy="238"/>
            </a:xfrm>
            <a:custGeom>
              <a:avLst/>
              <a:gdLst>
                <a:gd name="T0" fmla="*/ 693 w 935"/>
                <a:gd name="T1" fmla="*/ 27 h 315"/>
                <a:gd name="T2" fmla="*/ 693 w 935"/>
                <a:gd name="T3" fmla="*/ 27 h 315"/>
                <a:gd name="T4" fmla="*/ 563 w 935"/>
                <a:gd name="T5" fmla="*/ 2 h 315"/>
                <a:gd name="T6" fmla="*/ 469 w 935"/>
                <a:gd name="T7" fmla="*/ 75 h 315"/>
                <a:gd name="T8" fmla="*/ 373 w 935"/>
                <a:gd name="T9" fmla="*/ 0 h 315"/>
                <a:gd name="T10" fmla="*/ 262 w 935"/>
                <a:gd name="T11" fmla="*/ 23 h 315"/>
                <a:gd name="T12" fmla="*/ 262 w 935"/>
                <a:gd name="T13" fmla="*/ 23 h 315"/>
                <a:gd name="T14" fmla="*/ 0 w 935"/>
                <a:gd name="T15" fmla="*/ 271 h 315"/>
                <a:gd name="T16" fmla="*/ 117 w 935"/>
                <a:gd name="T17" fmla="*/ 315 h 315"/>
                <a:gd name="T18" fmla="*/ 187 w 935"/>
                <a:gd name="T19" fmla="*/ 315 h 315"/>
                <a:gd name="T20" fmla="*/ 244 w 935"/>
                <a:gd name="T21" fmla="*/ 315 h 315"/>
                <a:gd name="T22" fmla="*/ 728 w 935"/>
                <a:gd name="T23" fmla="*/ 315 h 315"/>
                <a:gd name="T24" fmla="*/ 728 w 935"/>
                <a:gd name="T25" fmla="*/ 314 h 315"/>
                <a:gd name="T26" fmla="*/ 800 w 935"/>
                <a:gd name="T27" fmla="*/ 314 h 315"/>
                <a:gd name="T28" fmla="*/ 935 w 935"/>
                <a:gd name="T29" fmla="*/ 251 h 315"/>
                <a:gd name="T30" fmla="*/ 693 w 935"/>
                <a:gd name="T31" fmla="*/ 27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35" h="315">
                  <a:moveTo>
                    <a:pt x="693" y="27"/>
                  </a:moveTo>
                  <a:cubicBezTo>
                    <a:pt x="693" y="27"/>
                    <a:pt x="693" y="27"/>
                    <a:pt x="693" y="27"/>
                  </a:cubicBezTo>
                  <a:cubicBezTo>
                    <a:pt x="647" y="16"/>
                    <a:pt x="603" y="7"/>
                    <a:pt x="563" y="2"/>
                  </a:cubicBezTo>
                  <a:cubicBezTo>
                    <a:pt x="527" y="49"/>
                    <a:pt x="502" y="62"/>
                    <a:pt x="469" y="75"/>
                  </a:cubicBezTo>
                  <a:cubicBezTo>
                    <a:pt x="417" y="67"/>
                    <a:pt x="373" y="1"/>
                    <a:pt x="373" y="0"/>
                  </a:cubicBezTo>
                  <a:cubicBezTo>
                    <a:pt x="316" y="6"/>
                    <a:pt x="278" y="18"/>
                    <a:pt x="262" y="23"/>
                  </a:cubicBezTo>
                  <a:cubicBezTo>
                    <a:pt x="262" y="23"/>
                    <a:pt x="262" y="23"/>
                    <a:pt x="262" y="23"/>
                  </a:cubicBezTo>
                  <a:cubicBezTo>
                    <a:pt x="257" y="23"/>
                    <a:pt x="156" y="39"/>
                    <a:pt x="0" y="271"/>
                  </a:cubicBezTo>
                  <a:cubicBezTo>
                    <a:pt x="31" y="299"/>
                    <a:pt x="72" y="315"/>
                    <a:pt x="117" y="315"/>
                  </a:cubicBezTo>
                  <a:cubicBezTo>
                    <a:pt x="187" y="315"/>
                    <a:pt x="187" y="315"/>
                    <a:pt x="187" y="315"/>
                  </a:cubicBezTo>
                  <a:cubicBezTo>
                    <a:pt x="244" y="315"/>
                    <a:pt x="244" y="315"/>
                    <a:pt x="244" y="315"/>
                  </a:cubicBezTo>
                  <a:cubicBezTo>
                    <a:pt x="728" y="315"/>
                    <a:pt x="728" y="315"/>
                    <a:pt x="728" y="315"/>
                  </a:cubicBezTo>
                  <a:cubicBezTo>
                    <a:pt x="728" y="315"/>
                    <a:pt x="728" y="314"/>
                    <a:pt x="728" y="314"/>
                  </a:cubicBezTo>
                  <a:cubicBezTo>
                    <a:pt x="800" y="314"/>
                    <a:pt x="800" y="314"/>
                    <a:pt x="800" y="314"/>
                  </a:cubicBezTo>
                  <a:cubicBezTo>
                    <a:pt x="854" y="314"/>
                    <a:pt x="903" y="289"/>
                    <a:pt x="935" y="251"/>
                  </a:cubicBezTo>
                  <a:cubicBezTo>
                    <a:pt x="826" y="63"/>
                    <a:pt x="693" y="27"/>
                    <a:pt x="693" y="27"/>
                  </a:cubicBezTo>
                  <a:close/>
                </a:path>
              </a:pathLst>
            </a:custGeom>
            <a:solidFill>
              <a:srgbClr val="B64C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81">
              <a:extLst>
                <a:ext uri="{FF2B5EF4-FFF2-40B4-BE49-F238E27FC236}">
                  <a16:creationId xmlns:a16="http://schemas.microsoft.com/office/drawing/2014/main" id="{AE9E407B-EB5E-4E43-A772-74CC78417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" y="601"/>
              <a:ext cx="199" cy="107"/>
            </a:xfrm>
            <a:custGeom>
              <a:avLst/>
              <a:gdLst>
                <a:gd name="T0" fmla="*/ 0 w 264"/>
                <a:gd name="T1" fmla="*/ 135 h 142"/>
                <a:gd name="T2" fmla="*/ 123 w 264"/>
                <a:gd name="T3" fmla="*/ 61 h 142"/>
                <a:gd name="T4" fmla="*/ 235 w 264"/>
                <a:gd name="T5" fmla="*/ 118 h 142"/>
                <a:gd name="T6" fmla="*/ 264 w 264"/>
                <a:gd name="T7" fmla="*/ 33 h 142"/>
                <a:gd name="T8" fmla="*/ 153 w 264"/>
                <a:gd name="T9" fmla="*/ 0 h 142"/>
                <a:gd name="T10" fmla="*/ 9 w 264"/>
                <a:gd name="T11" fmla="*/ 38 h 142"/>
                <a:gd name="T12" fmla="*/ 0 w 264"/>
                <a:gd name="T13" fmla="*/ 60 h 142"/>
                <a:gd name="T14" fmla="*/ 0 w 264"/>
                <a:gd name="T15" fmla="*/ 13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4" h="142">
                  <a:moveTo>
                    <a:pt x="0" y="135"/>
                  </a:moveTo>
                  <a:cubicBezTo>
                    <a:pt x="0" y="135"/>
                    <a:pt x="29" y="48"/>
                    <a:pt x="123" y="61"/>
                  </a:cubicBezTo>
                  <a:cubicBezTo>
                    <a:pt x="217" y="75"/>
                    <a:pt x="225" y="95"/>
                    <a:pt x="235" y="118"/>
                  </a:cubicBezTo>
                  <a:cubicBezTo>
                    <a:pt x="245" y="142"/>
                    <a:pt x="264" y="33"/>
                    <a:pt x="264" y="33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3" y="0"/>
                    <a:pt x="19" y="15"/>
                    <a:pt x="9" y="38"/>
                  </a:cubicBezTo>
                  <a:cubicBezTo>
                    <a:pt x="0" y="60"/>
                    <a:pt x="0" y="60"/>
                    <a:pt x="0" y="60"/>
                  </a:cubicBezTo>
                  <a:lnTo>
                    <a:pt x="0" y="135"/>
                  </a:ln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82">
              <a:extLst>
                <a:ext uri="{FF2B5EF4-FFF2-40B4-BE49-F238E27FC236}">
                  <a16:creationId xmlns:a16="http://schemas.microsoft.com/office/drawing/2014/main" id="{F961491E-07CD-43FF-8389-0C53102BFD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2" y="704"/>
              <a:ext cx="171" cy="48"/>
            </a:xfrm>
            <a:custGeom>
              <a:avLst/>
              <a:gdLst>
                <a:gd name="T0" fmla="*/ 221 w 227"/>
                <a:gd name="T1" fmla="*/ 10 h 64"/>
                <a:gd name="T2" fmla="*/ 197 w 227"/>
                <a:gd name="T3" fmla="*/ 0 h 64"/>
                <a:gd name="T4" fmla="*/ 147 w 227"/>
                <a:gd name="T5" fmla="*/ 0 h 64"/>
                <a:gd name="T6" fmla="*/ 127 w 227"/>
                <a:gd name="T7" fmla="*/ 8 h 64"/>
                <a:gd name="T8" fmla="*/ 125 w 227"/>
                <a:gd name="T9" fmla="*/ 16 h 64"/>
                <a:gd name="T10" fmla="*/ 125 w 227"/>
                <a:gd name="T11" fmla="*/ 16 h 64"/>
                <a:gd name="T12" fmla="*/ 102 w 227"/>
                <a:gd name="T13" fmla="*/ 16 h 64"/>
                <a:gd name="T14" fmla="*/ 102 w 227"/>
                <a:gd name="T15" fmla="*/ 16 h 64"/>
                <a:gd name="T16" fmla="*/ 102 w 227"/>
                <a:gd name="T17" fmla="*/ 16 h 64"/>
                <a:gd name="T18" fmla="*/ 100 w 227"/>
                <a:gd name="T19" fmla="*/ 8 h 64"/>
                <a:gd name="T20" fmla="*/ 80 w 227"/>
                <a:gd name="T21" fmla="*/ 0 h 64"/>
                <a:gd name="T22" fmla="*/ 30 w 227"/>
                <a:gd name="T23" fmla="*/ 0 h 64"/>
                <a:gd name="T24" fmla="*/ 6 w 227"/>
                <a:gd name="T25" fmla="*/ 10 h 64"/>
                <a:gd name="T26" fmla="*/ 2 w 227"/>
                <a:gd name="T27" fmla="*/ 32 h 64"/>
                <a:gd name="T28" fmla="*/ 56 w 227"/>
                <a:gd name="T29" fmla="*/ 64 h 64"/>
                <a:gd name="T30" fmla="*/ 65 w 227"/>
                <a:gd name="T31" fmla="*/ 63 h 64"/>
                <a:gd name="T32" fmla="*/ 99 w 227"/>
                <a:gd name="T33" fmla="*/ 36 h 64"/>
                <a:gd name="T34" fmla="*/ 103 w 227"/>
                <a:gd name="T35" fmla="*/ 21 h 64"/>
                <a:gd name="T36" fmla="*/ 103 w 227"/>
                <a:gd name="T37" fmla="*/ 21 h 64"/>
                <a:gd name="T38" fmla="*/ 125 w 227"/>
                <a:gd name="T39" fmla="*/ 20 h 64"/>
                <a:gd name="T40" fmla="*/ 125 w 227"/>
                <a:gd name="T41" fmla="*/ 20 h 64"/>
                <a:gd name="T42" fmla="*/ 128 w 227"/>
                <a:gd name="T43" fmla="*/ 36 h 64"/>
                <a:gd name="T44" fmla="*/ 162 w 227"/>
                <a:gd name="T45" fmla="*/ 63 h 64"/>
                <a:gd name="T46" fmla="*/ 171 w 227"/>
                <a:gd name="T47" fmla="*/ 64 h 64"/>
                <a:gd name="T48" fmla="*/ 225 w 227"/>
                <a:gd name="T49" fmla="*/ 32 h 64"/>
                <a:gd name="T50" fmla="*/ 221 w 227"/>
                <a:gd name="T51" fmla="*/ 10 h 64"/>
                <a:gd name="T52" fmla="*/ 99 w 227"/>
                <a:gd name="T53" fmla="*/ 22 h 64"/>
                <a:gd name="T54" fmla="*/ 96 w 227"/>
                <a:gd name="T55" fmla="*/ 35 h 64"/>
                <a:gd name="T56" fmla="*/ 65 w 227"/>
                <a:gd name="T57" fmla="*/ 60 h 64"/>
                <a:gd name="T58" fmla="*/ 65 w 227"/>
                <a:gd name="T59" fmla="*/ 60 h 64"/>
                <a:gd name="T60" fmla="*/ 37 w 227"/>
                <a:gd name="T61" fmla="*/ 59 h 64"/>
                <a:gd name="T62" fmla="*/ 5 w 227"/>
                <a:gd name="T63" fmla="*/ 31 h 64"/>
                <a:gd name="T64" fmla="*/ 9 w 227"/>
                <a:gd name="T65" fmla="*/ 12 h 64"/>
                <a:gd name="T66" fmla="*/ 30 w 227"/>
                <a:gd name="T67" fmla="*/ 3 h 64"/>
                <a:gd name="T68" fmla="*/ 80 w 227"/>
                <a:gd name="T69" fmla="*/ 3 h 64"/>
                <a:gd name="T70" fmla="*/ 97 w 227"/>
                <a:gd name="T71" fmla="*/ 10 h 64"/>
                <a:gd name="T72" fmla="*/ 99 w 227"/>
                <a:gd name="T73" fmla="*/ 17 h 64"/>
                <a:gd name="T74" fmla="*/ 99 w 227"/>
                <a:gd name="T75" fmla="*/ 17 h 64"/>
                <a:gd name="T76" fmla="*/ 95 w 227"/>
                <a:gd name="T77" fmla="*/ 19 h 64"/>
                <a:gd name="T78" fmla="*/ 94 w 227"/>
                <a:gd name="T79" fmla="*/ 22 h 64"/>
                <a:gd name="T80" fmla="*/ 96 w 227"/>
                <a:gd name="T81" fmla="*/ 23 h 64"/>
                <a:gd name="T82" fmla="*/ 96 w 227"/>
                <a:gd name="T83" fmla="*/ 23 h 64"/>
                <a:gd name="T84" fmla="*/ 99 w 227"/>
                <a:gd name="T85" fmla="*/ 22 h 64"/>
                <a:gd name="T86" fmla="*/ 99 w 227"/>
                <a:gd name="T87" fmla="*/ 22 h 64"/>
                <a:gd name="T88" fmla="*/ 222 w 227"/>
                <a:gd name="T89" fmla="*/ 31 h 64"/>
                <a:gd name="T90" fmla="*/ 190 w 227"/>
                <a:gd name="T91" fmla="*/ 59 h 64"/>
                <a:gd name="T92" fmla="*/ 162 w 227"/>
                <a:gd name="T93" fmla="*/ 60 h 64"/>
                <a:gd name="T94" fmla="*/ 162 w 227"/>
                <a:gd name="T95" fmla="*/ 60 h 64"/>
                <a:gd name="T96" fmla="*/ 131 w 227"/>
                <a:gd name="T97" fmla="*/ 35 h 64"/>
                <a:gd name="T98" fmla="*/ 128 w 227"/>
                <a:gd name="T99" fmla="*/ 21 h 64"/>
                <a:gd name="T100" fmla="*/ 128 w 227"/>
                <a:gd name="T101" fmla="*/ 21 h 64"/>
                <a:gd name="T102" fmla="*/ 131 w 227"/>
                <a:gd name="T103" fmla="*/ 23 h 64"/>
                <a:gd name="T104" fmla="*/ 133 w 227"/>
                <a:gd name="T105" fmla="*/ 22 h 64"/>
                <a:gd name="T106" fmla="*/ 133 w 227"/>
                <a:gd name="T107" fmla="*/ 19 h 64"/>
                <a:gd name="T108" fmla="*/ 128 w 227"/>
                <a:gd name="T109" fmla="*/ 17 h 64"/>
                <a:gd name="T110" fmla="*/ 128 w 227"/>
                <a:gd name="T111" fmla="*/ 17 h 64"/>
                <a:gd name="T112" fmla="*/ 130 w 227"/>
                <a:gd name="T113" fmla="*/ 10 h 64"/>
                <a:gd name="T114" fmla="*/ 147 w 227"/>
                <a:gd name="T115" fmla="*/ 3 h 64"/>
                <a:gd name="T116" fmla="*/ 197 w 227"/>
                <a:gd name="T117" fmla="*/ 3 h 64"/>
                <a:gd name="T118" fmla="*/ 218 w 227"/>
                <a:gd name="T119" fmla="*/ 12 h 64"/>
                <a:gd name="T120" fmla="*/ 222 w 227"/>
                <a:gd name="T121" fmla="*/ 3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7" h="64">
                  <a:moveTo>
                    <a:pt x="221" y="10"/>
                  </a:moveTo>
                  <a:cubicBezTo>
                    <a:pt x="216" y="3"/>
                    <a:pt x="207" y="0"/>
                    <a:pt x="197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38" y="0"/>
                    <a:pt x="131" y="2"/>
                    <a:pt x="127" y="8"/>
                  </a:cubicBezTo>
                  <a:cubicBezTo>
                    <a:pt x="126" y="10"/>
                    <a:pt x="125" y="13"/>
                    <a:pt x="125" y="16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16" y="14"/>
                    <a:pt x="108" y="15"/>
                    <a:pt x="102" y="16"/>
                  </a:cubicBezTo>
                  <a:cubicBezTo>
                    <a:pt x="102" y="16"/>
                    <a:pt x="102" y="16"/>
                    <a:pt x="102" y="16"/>
                  </a:cubicBezTo>
                  <a:cubicBezTo>
                    <a:pt x="102" y="16"/>
                    <a:pt x="102" y="16"/>
                    <a:pt x="102" y="16"/>
                  </a:cubicBezTo>
                  <a:cubicBezTo>
                    <a:pt x="102" y="13"/>
                    <a:pt x="101" y="10"/>
                    <a:pt x="100" y="8"/>
                  </a:cubicBezTo>
                  <a:cubicBezTo>
                    <a:pt x="96" y="2"/>
                    <a:pt x="89" y="0"/>
                    <a:pt x="8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0" y="0"/>
                    <a:pt x="11" y="3"/>
                    <a:pt x="6" y="10"/>
                  </a:cubicBezTo>
                  <a:cubicBezTo>
                    <a:pt x="1" y="16"/>
                    <a:pt x="0" y="23"/>
                    <a:pt x="2" y="32"/>
                  </a:cubicBezTo>
                  <a:cubicBezTo>
                    <a:pt x="7" y="60"/>
                    <a:pt x="40" y="64"/>
                    <a:pt x="56" y="64"/>
                  </a:cubicBezTo>
                  <a:cubicBezTo>
                    <a:pt x="61" y="64"/>
                    <a:pt x="64" y="63"/>
                    <a:pt x="65" y="63"/>
                  </a:cubicBezTo>
                  <a:cubicBezTo>
                    <a:pt x="80" y="63"/>
                    <a:pt x="91" y="54"/>
                    <a:pt x="99" y="36"/>
                  </a:cubicBezTo>
                  <a:cubicBezTo>
                    <a:pt x="100" y="33"/>
                    <a:pt x="102" y="27"/>
                    <a:pt x="103" y="21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8" y="19"/>
                    <a:pt x="116" y="18"/>
                    <a:pt x="125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6"/>
                    <a:pt x="127" y="33"/>
                    <a:pt x="128" y="36"/>
                  </a:cubicBezTo>
                  <a:cubicBezTo>
                    <a:pt x="136" y="54"/>
                    <a:pt x="147" y="63"/>
                    <a:pt x="162" y="63"/>
                  </a:cubicBezTo>
                  <a:cubicBezTo>
                    <a:pt x="163" y="63"/>
                    <a:pt x="166" y="64"/>
                    <a:pt x="171" y="64"/>
                  </a:cubicBezTo>
                  <a:cubicBezTo>
                    <a:pt x="187" y="64"/>
                    <a:pt x="220" y="60"/>
                    <a:pt x="225" y="32"/>
                  </a:cubicBezTo>
                  <a:cubicBezTo>
                    <a:pt x="227" y="23"/>
                    <a:pt x="226" y="16"/>
                    <a:pt x="221" y="10"/>
                  </a:cubicBezTo>
                  <a:close/>
                  <a:moveTo>
                    <a:pt x="99" y="22"/>
                  </a:moveTo>
                  <a:cubicBezTo>
                    <a:pt x="99" y="27"/>
                    <a:pt x="97" y="32"/>
                    <a:pt x="96" y="35"/>
                  </a:cubicBezTo>
                  <a:cubicBezTo>
                    <a:pt x="89" y="52"/>
                    <a:pt x="79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51" y="61"/>
                    <a:pt x="37" y="59"/>
                  </a:cubicBezTo>
                  <a:cubicBezTo>
                    <a:pt x="19" y="55"/>
                    <a:pt x="8" y="46"/>
                    <a:pt x="5" y="31"/>
                  </a:cubicBezTo>
                  <a:cubicBezTo>
                    <a:pt x="3" y="24"/>
                    <a:pt x="5" y="17"/>
                    <a:pt x="9" y="12"/>
                  </a:cubicBezTo>
                  <a:cubicBezTo>
                    <a:pt x="13" y="6"/>
                    <a:pt x="21" y="3"/>
                    <a:pt x="30" y="3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88" y="3"/>
                    <a:pt x="94" y="5"/>
                    <a:pt x="97" y="10"/>
                  </a:cubicBezTo>
                  <a:cubicBezTo>
                    <a:pt x="98" y="12"/>
                    <a:pt x="99" y="15"/>
                    <a:pt x="99" y="17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97" y="18"/>
                    <a:pt x="95" y="19"/>
                    <a:pt x="95" y="19"/>
                  </a:cubicBezTo>
                  <a:cubicBezTo>
                    <a:pt x="94" y="19"/>
                    <a:pt x="93" y="21"/>
                    <a:pt x="94" y="22"/>
                  </a:cubicBezTo>
                  <a:cubicBezTo>
                    <a:pt x="94" y="22"/>
                    <a:pt x="95" y="23"/>
                    <a:pt x="96" y="23"/>
                  </a:cubicBezTo>
                  <a:cubicBezTo>
                    <a:pt x="96" y="23"/>
                    <a:pt x="96" y="23"/>
                    <a:pt x="96" y="23"/>
                  </a:cubicBezTo>
                  <a:cubicBezTo>
                    <a:pt x="97" y="23"/>
                    <a:pt x="98" y="22"/>
                    <a:pt x="99" y="22"/>
                  </a:cubicBezTo>
                  <a:cubicBezTo>
                    <a:pt x="99" y="22"/>
                    <a:pt x="99" y="22"/>
                    <a:pt x="99" y="22"/>
                  </a:cubicBezTo>
                  <a:close/>
                  <a:moveTo>
                    <a:pt x="222" y="31"/>
                  </a:moveTo>
                  <a:cubicBezTo>
                    <a:pt x="219" y="46"/>
                    <a:pt x="208" y="55"/>
                    <a:pt x="190" y="59"/>
                  </a:cubicBezTo>
                  <a:cubicBezTo>
                    <a:pt x="176" y="61"/>
                    <a:pt x="162" y="60"/>
                    <a:pt x="162" y="60"/>
                  </a:cubicBezTo>
                  <a:cubicBezTo>
                    <a:pt x="162" y="60"/>
                    <a:pt x="162" y="60"/>
                    <a:pt x="162" y="60"/>
                  </a:cubicBezTo>
                  <a:cubicBezTo>
                    <a:pt x="148" y="60"/>
                    <a:pt x="139" y="52"/>
                    <a:pt x="131" y="35"/>
                  </a:cubicBezTo>
                  <a:cubicBezTo>
                    <a:pt x="130" y="32"/>
                    <a:pt x="128" y="27"/>
                    <a:pt x="128" y="21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129" y="22"/>
                    <a:pt x="130" y="22"/>
                    <a:pt x="131" y="23"/>
                  </a:cubicBezTo>
                  <a:cubicBezTo>
                    <a:pt x="132" y="23"/>
                    <a:pt x="133" y="23"/>
                    <a:pt x="133" y="22"/>
                  </a:cubicBezTo>
                  <a:cubicBezTo>
                    <a:pt x="134" y="21"/>
                    <a:pt x="134" y="20"/>
                    <a:pt x="133" y="19"/>
                  </a:cubicBezTo>
                  <a:cubicBezTo>
                    <a:pt x="131" y="18"/>
                    <a:pt x="129" y="18"/>
                    <a:pt x="128" y="17"/>
                  </a:cubicBezTo>
                  <a:cubicBezTo>
                    <a:pt x="128" y="17"/>
                    <a:pt x="128" y="17"/>
                    <a:pt x="128" y="17"/>
                  </a:cubicBezTo>
                  <a:cubicBezTo>
                    <a:pt x="128" y="14"/>
                    <a:pt x="129" y="12"/>
                    <a:pt x="130" y="10"/>
                  </a:cubicBezTo>
                  <a:cubicBezTo>
                    <a:pt x="133" y="5"/>
                    <a:pt x="139" y="3"/>
                    <a:pt x="147" y="3"/>
                  </a:cubicBezTo>
                  <a:cubicBezTo>
                    <a:pt x="197" y="3"/>
                    <a:pt x="197" y="3"/>
                    <a:pt x="197" y="3"/>
                  </a:cubicBezTo>
                  <a:cubicBezTo>
                    <a:pt x="206" y="3"/>
                    <a:pt x="214" y="6"/>
                    <a:pt x="218" y="12"/>
                  </a:cubicBezTo>
                  <a:cubicBezTo>
                    <a:pt x="222" y="17"/>
                    <a:pt x="224" y="24"/>
                    <a:pt x="222" y="31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83">
              <a:extLst>
                <a:ext uri="{FF2B5EF4-FFF2-40B4-BE49-F238E27FC236}">
                  <a16:creationId xmlns:a16="http://schemas.microsoft.com/office/drawing/2014/main" id="{40F08A3D-77D0-4190-A503-FF2E8C38B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5" y="130"/>
              <a:ext cx="1149" cy="1150"/>
            </a:xfrm>
            <a:custGeom>
              <a:avLst/>
              <a:gdLst>
                <a:gd name="T0" fmla="*/ 1139 w 1525"/>
                <a:gd name="T1" fmla="*/ 1510 h 1525"/>
                <a:gd name="T2" fmla="*/ 225 w 1525"/>
                <a:gd name="T3" fmla="*/ 1405 h 1525"/>
                <a:gd name="T4" fmla="*/ 15 w 1525"/>
                <a:gd name="T5" fmla="*/ 1140 h 1525"/>
                <a:gd name="T6" fmla="*/ 121 w 1525"/>
                <a:gd name="T7" fmla="*/ 226 h 1525"/>
                <a:gd name="T8" fmla="*/ 386 w 1525"/>
                <a:gd name="T9" fmla="*/ 15 h 1525"/>
                <a:gd name="T10" fmla="*/ 1300 w 1525"/>
                <a:gd name="T11" fmla="*/ 121 h 1525"/>
                <a:gd name="T12" fmla="*/ 1510 w 1525"/>
                <a:gd name="T13" fmla="*/ 386 h 1525"/>
                <a:gd name="T14" fmla="*/ 1404 w 1525"/>
                <a:gd name="T15" fmla="*/ 1300 h 1525"/>
                <a:gd name="T16" fmla="*/ 1139 w 1525"/>
                <a:gd name="T17" fmla="*/ 1510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5" h="1525">
                  <a:moveTo>
                    <a:pt x="1139" y="1510"/>
                  </a:moveTo>
                  <a:cubicBezTo>
                    <a:pt x="225" y="1405"/>
                    <a:pt x="225" y="1405"/>
                    <a:pt x="225" y="1405"/>
                  </a:cubicBezTo>
                  <a:cubicBezTo>
                    <a:pt x="94" y="1389"/>
                    <a:pt x="0" y="1271"/>
                    <a:pt x="15" y="1140"/>
                  </a:cubicBezTo>
                  <a:cubicBezTo>
                    <a:pt x="121" y="226"/>
                    <a:pt x="121" y="226"/>
                    <a:pt x="121" y="226"/>
                  </a:cubicBezTo>
                  <a:cubicBezTo>
                    <a:pt x="136" y="94"/>
                    <a:pt x="254" y="0"/>
                    <a:pt x="386" y="15"/>
                  </a:cubicBezTo>
                  <a:cubicBezTo>
                    <a:pt x="1300" y="121"/>
                    <a:pt x="1300" y="121"/>
                    <a:pt x="1300" y="121"/>
                  </a:cubicBezTo>
                  <a:cubicBezTo>
                    <a:pt x="1431" y="136"/>
                    <a:pt x="1525" y="255"/>
                    <a:pt x="1510" y="386"/>
                  </a:cubicBezTo>
                  <a:cubicBezTo>
                    <a:pt x="1404" y="1300"/>
                    <a:pt x="1404" y="1300"/>
                    <a:pt x="1404" y="1300"/>
                  </a:cubicBezTo>
                  <a:cubicBezTo>
                    <a:pt x="1389" y="1431"/>
                    <a:pt x="1271" y="1525"/>
                    <a:pt x="1139" y="1510"/>
                  </a:cubicBezTo>
                  <a:close/>
                </a:path>
              </a:pathLst>
            </a:custGeom>
            <a:solidFill>
              <a:srgbClr val="E3F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84">
              <a:extLst>
                <a:ext uri="{FF2B5EF4-FFF2-40B4-BE49-F238E27FC236}">
                  <a16:creationId xmlns:a16="http://schemas.microsoft.com/office/drawing/2014/main" id="{C114804B-0557-49F0-A47F-57B719106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1" y="268"/>
              <a:ext cx="845" cy="846"/>
            </a:xfrm>
            <a:custGeom>
              <a:avLst/>
              <a:gdLst>
                <a:gd name="T0" fmla="*/ 1111 w 1122"/>
                <a:gd name="T1" fmla="*/ 286 h 1122"/>
                <a:gd name="T2" fmla="*/ 1033 w 1122"/>
                <a:gd name="T3" fmla="*/ 965 h 1122"/>
                <a:gd name="T4" fmla="*/ 1008 w 1122"/>
                <a:gd name="T5" fmla="*/ 1037 h 1122"/>
                <a:gd name="T6" fmla="*/ 1008 w 1122"/>
                <a:gd name="T7" fmla="*/ 1037 h 1122"/>
                <a:gd name="T8" fmla="*/ 921 w 1122"/>
                <a:gd name="T9" fmla="*/ 1110 h 1122"/>
                <a:gd name="T10" fmla="*/ 855 w 1122"/>
                <a:gd name="T11" fmla="*/ 1122 h 1122"/>
                <a:gd name="T12" fmla="*/ 855 w 1122"/>
                <a:gd name="T13" fmla="*/ 1122 h 1122"/>
                <a:gd name="T14" fmla="*/ 836 w 1122"/>
                <a:gd name="T15" fmla="*/ 1121 h 1122"/>
                <a:gd name="T16" fmla="*/ 548 w 1122"/>
                <a:gd name="T17" fmla="*/ 1088 h 1122"/>
                <a:gd name="T18" fmla="*/ 492 w 1122"/>
                <a:gd name="T19" fmla="*/ 1081 h 1122"/>
                <a:gd name="T20" fmla="*/ 306 w 1122"/>
                <a:gd name="T21" fmla="*/ 1060 h 1122"/>
                <a:gd name="T22" fmla="*/ 282 w 1122"/>
                <a:gd name="T23" fmla="*/ 1057 h 1122"/>
                <a:gd name="T24" fmla="*/ 158 w 1122"/>
                <a:gd name="T25" fmla="*/ 1042 h 1122"/>
                <a:gd name="T26" fmla="*/ 14 w 1122"/>
                <a:gd name="T27" fmla="*/ 933 h 1122"/>
                <a:gd name="T28" fmla="*/ 9 w 1122"/>
                <a:gd name="T29" fmla="*/ 921 h 1122"/>
                <a:gd name="T30" fmla="*/ 1 w 1122"/>
                <a:gd name="T31" fmla="*/ 873 h 1122"/>
                <a:gd name="T32" fmla="*/ 2 w 1122"/>
                <a:gd name="T33" fmla="*/ 846 h 1122"/>
                <a:gd name="T34" fmla="*/ 80 w 1122"/>
                <a:gd name="T35" fmla="*/ 168 h 1122"/>
                <a:gd name="T36" fmla="*/ 277 w 1122"/>
                <a:gd name="T37" fmla="*/ 12 h 1122"/>
                <a:gd name="T38" fmla="*/ 955 w 1122"/>
                <a:gd name="T39" fmla="*/ 90 h 1122"/>
                <a:gd name="T40" fmla="*/ 1111 w 1122"/>
                <a:gd name="T41" fmla="*/ 286 h 1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2" h="1122">
                  <a:moveTo>
                    <a:pt x="1111" y="286"/>
                  </a:moveTo>
                  <a:cubicBezTo>
                    <a:pt x="1033" y="965"/>
                    <a:pt x="1033" y="965"/>
                    <a:pt x="1033" y="965"/>
                  </a:cubicBezTo>
                  <a:cubicBezTo>
                    <a:pt x="1030" y="991"/>
                    <a:pt x="1021" y="1016"/>
                    <a:pt x="1008" y="1037"/>
                  </a:cubicBezTo>
                  <a:cubicBezTo>
                    <a:pt x="1008" y="1037"/>
                    <a:pt x="1008" y="1037"/>
                    <a:pt x="1008" y="1037"/>
                  </a:cubicBezTo>
                  <a:cubicBezTo>
                    <a:pt x="988" y="1070"/>
                    <a:pt x="957" y="1096"/>
                    <a:pt x="921" y="1110"/>
                  </a:cubicBezTo>
                  <a:cubicBezTo>
                    <a:pt x="900" y="1118"/>
                    <a:pt x="878" y="1122"/>
                    <a:pt x="855" y="1122"/>
                  </a:cubicBezTo>
                  <a:cubicBezTo>
                    <a:pt x="855" y="1122"/>
                    <a:pt x="855" y="1122"/>
                    <a:pt x="855" y="1122"/>
                  </a:cubicBezTo>
                  <a:cubicBezTo>
                    <a:pt x="849" y="1122"/>
                    <a:pt x="842" y="1121"/>
                    <a:pt x="836" y="1121"/>
                  </a:cubicBezTo>
                  <a:cubicBezTo>
                    <a:pt x="548" y="1088"/>
                    <a:pt x="548" y="1088"/>
                    <a:pt x="548" y="1088"/>
                  </a:cubicBezTo>
                  <a:cubicBezTo>
                    <a:pt x="492" y="1081"/>
                    <a:pt x="492" y="1081"/>
                    <a:pt x="492" y="1081"/>
                  </a:cubicBezTo>
                  <a:cubicBezTo>
                    <a:pt x="306" y="1060"/>
                    <a:pt x="306" y="1060"/>
                    <a:pt x="306" y="1060"/>
                  </a:cubicBezTo>
                  <a:cubicBezTo>
                    <a:pt x="282" y="1057"/>
                    <a:pt x="282" y="1057"/>
                    <a:pt x="282" y="1057"/>
                  </a:cubicBezTo>
                  <a:cubicBezTo>
                    <a:pt x="158" y="1042"/>
                    <a:pt x="158" y="1042"/>
                    <a:pt x="158" y="1042"/>
                  </a:cubicBezTo>
                  <a:cubicBezTo>
                    <a:pt x="91" y="1035"/>
                    <a:pt x="37" y="991"/>
                    <a:pt x="14" y="933"/>
                  </a:cubicBezTo>
                  <a:cubicBezTo>
                    <a:pt x="12" y="929"/>
                    <a:pt x="11" y="925"/>
                    <a:pt x="9" y="921"/>
                  </a:cubicBezTo>
                  <a:cubicBezTo>
                    <a:pt x="4" y="906"/>
                    <a:pt x="1" y="889"/>
                    <a:pt x="1" y="873"/>
                  </a:cubicBezTo>
                  <a:cubicBezTo>
                    <a:pt x="0" y="864"/>
                    <a:pt x="1" y="855"/>
                    <a:pt x="2" y="846"/>
                  </a:cubicBezTo>
                  <a:cubicBezTo>
                    <a:pt x="80" y="168"/>
                    <a:pt x="80" y="168"/>
                    <a:pt x="80" y="168"/>
                  </a:cubicBezTo>
                  <a:cubicBezTo>
                    <a:pt x="91" y="70"/>
                    <a:pt x="179" y="0"/>
                    <a:pt x="277" y="12"/>
                  </a:cubicBezTo>
                  <a:cubicBezTo>
                    <a:pt x="955" y="90"/>
                    <a:pt x="955" y="90"/>
                    <a:pt x="955" y="90"/>
                  </a:cubicBezTo>
                  <a:cubicBezTo>
                    <a:pt x="1052" y="101"/>
                    <a:pt x="1122" y="189"/>
                    <a:pt x="1111" y="286"/>
                  </a:cubicBezTo>
                  <a:close/>
                </a:path>
              </a:pathLst>
            </a:custGeom>
            <a:solidFill>
              <a:srgbClr val="D2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85">
              <a:extLst>
                <a:ext uri="{FF2B5EF4-FFF2-40B4-BE49-F238E27FC236}">
                  <a16:creationId xmlns:a16="http://schemas.microsoft.com/office/drawing/2014/main" id="{1B594974-9915-4835-AA5D-7252E1347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" y="351"/>
              <a:ext cx="633" cy="732"/>
            </a:xfrm>
            <a:custGeom>
              <a:avLst/>
              <a:gdLst>
                <a:gd name="T0" fmla="*/ 823 w 841"/>
                <a:gd name="T1" fmla="*/ 333 h 971"/>
                <a:gd name="T2" fmla="*/ 822 w 841"/>
                <a:gd name="T3" fmla="*/ 331 h 971"/>
                <a:gd name="T4" fmla="*/ 815 w 841"/>
                <a:gd name="T5" fmla="*/ 295 h 971"/>
                <a:gd name="T6" fmla="*/ 815 w 841"/>
                <a:gd name="T7" fmla="*/ 295 h 971"/>
                <a:gd name="T8" fmla="*/ 761 w 841"/>
                <a:gd name="T9" fmla="*/ 135 h 971"/>
                <a:gd name="T10" fmla="*/ 761 w 841"/>
                <a:gd name="T11" fmla="*/ 135 h 971"/>
                <a:gd name="T12" fmla="*/ 707 w 841"/>
                <a:gd name="T13" fmla="*/ 69 h 971"/>
                <a:gd name="T14" fmla="*/ 613 w 841"/>
                <a:gd name="T15" fmla="*/ 59 h 971"/>
                <a:gd name="T16" fmla="*/ 632 w 841"/>
                <a:gd name="T17" fmla="*/ 49 h 971"/>
                <a:gd name="T18" fmla="*/ 582 w 841"/>
                <a:gd name="T19" fmla="*/ 66 h 971"/>
                <a:gd name="T20" fmla="*/ 358 w 841"/>
                <a:gd name="T21" fmla="*/ 403 h 971"/>
                <a:gd name="T22" fmla="*/ 182 w 841"/>
                <a:gd name="T23" fmla="*/ 578 h 971"/>
                <a:gd name="T24" fmla="*/ 0 w 841"/>
                <a:gd name="T25" fmla="*/ 763 h 971"/>
                <a:gd name="T26" fmla="*/ 8 w 841"/>
                <a:gd name="T27" fmla="*/ 811 h 971"/>
                <a:gd name="T28" fmla="*/ 19 w 841"/>
                <a:gd name="T29" fmla="*/ 804 h 971"/>
                <a:gd name="T30" fmla="*/ 13 w 841"/>
                <a:gd name="T31" fmla="*/ 823 h 971"/>
                <a:gd name="T32" fmla="*/ 157 w 841"/>
                <a:gd name="T33" fmla="*/ 932 h 971"/>
                <a:gd name="T34" fmla="*/ 281 w 841"/>
                <a:gd name="T35" fmla="*/ 947 h 971"/>
                <a:gd name="T36" fmla="*/ 305 w 841"/>
                <a:gd name="T37" fmla="*/ 950 h 971"/>
                <a:gd name="T38" fmla="*/ 491 w 841"/>
                <a:gd name="T39" fmla="*/ 971 h 971"/>
                <a:gd name="T40" fmla="*/ 553 w 841"/>
                <a:gd name="T41" fmla="*/ 886 h 971"/>
                <a:gd name="T42" fmla="*/ 717 w 841"/>
                <a:gd name="T43" fmla="*/ 700 h 971"/>
                <a:gd name="T44" fmla="*/ 765 w 841"/>
                <a:gd name="T45" fmla="*/ 657 h 971"/>
                <a:gd name="T46" fmla="*/ 766 w 841"/>
                <a:gd name="T47" fmla="*/ 656 h 971"/>
                <a:gd name="T48" fmla="*/ 784 w 841"/>
                <a:gd name="T49" fmla="*/ 613 h 971"/>
                <a:gd name="T50" fmla="*/ 803 w 841"/>
                <a:gd name="T51" fmla="*/ 499 h 971"/>
                <a:gd name="T52" fmla="*/ 792 w 841"/>
                <a:gd name="T53" fmla="*/ 614 h 971"/>
                <a:gd name="T54" fmla="*/ 784 w 841"/>
                <a:gd name="T55" fmla="*/ 640 h 971"/>
                <a:gd name="T56" fmla="*/ 802 w 841"/>
                <a:gd name="T57" fmla="*/ 616 h 971"/>
                <a:gd name="T58" fmla="*/ 823 w 841"/>
                <a:gd name="T59" fmla="*/ 333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41" h="971">
                  <a:moveTo>
                    <a:pt x="823" y="333"/>
                  </a:moveTo>
                  <a:cubicBezTo>
                    <a:pt x="823" y="332"/>
                    <a:pt x="822" y="332"/>
                    <a:pt x="822" y="331"/>
                  </a:cubicBezTo>
                  <a:cubicBezTo>
                    <a:pt x="820" y="319"/>
                    <a:pt x="818" y="307"/>
                    <a:pt x="815" y="295"/>
                  </a:cubicBezTo>
                  <a:cubicBezTo>
                    <a:pt x="815" y="295"/>
                    <a:pt x="815" y="295"/>
                    <a:pt x="815" y="295"/>
                  </a:cubicBezTo>
                  <a:cubicBezTo>
                    <a:pt x="830" y="198"/>
                    <a:pt x="793" y="156"/>
                    <a:pt x="761" y="135"/>
                  </a:cubicBezTo>
                  <a:cubicBezTo>
                    <a:pt x="761" y="135"/>
                    <a:pt x="761" y="135"/>
                    <a:pt x="761" y="135"/>
                  </a:cubicBezTo>
                  <a:cubicBezTo>
                    <a:pt x="743" y="101"/>
                    <a:pt x="725" y="77"/>
                    <a:pt x="707" y="69"/>
                  </a:cubicBezTo>
                  <a:cubicBezTo>
                    <a:pt x="675" y="55"/>
                    <a:pt x="639" y="56"/>
                    <a:pt x="613" y="59"/>
                  </a:cubicBezTo>
                  <a:cubicBezTo>
                    <a:pt x="619" y="52"/>
                    <a:pt x="632" y="49"/>
                    <a:pt x="632" y="49"/>
                  </a:cubicBezTo>
                  <a:cubicBezTo>
                    <a:pt x="616" y="48"/>
                    <a:pt x="582" y="66"/>
                    <a:pt x="582" y="66"/>
                  </a:cubicBezTo>
                  <a:cubicBezTo>
                    <a:pt x="354" y="0"/>
                    <a:pt x="347" y="328"/>
                    <a:pt x="358" y="403"/>
                  </a:cubicBezTo>
                  <a:cubicBezTo>
                    <a:pt x="369" y="478"/>
                    <a:pt x="292" y="509"/>
                    <a:pt x="182" y="578"/>
                  </a:cubicBezTo>
                  <a:cubicBezTo>
                    <a:pt x="82" y="641"/>
                    <a:pt x="29" y="709"/>
                    <a:pt x="0" y="763"/>
                  </a:cubicBezTo>
                  <a:cubicBezTo>
                    <a:pt x="0" y="779"/>
                    <a:pt x="3" y="796"/>
                    <a:pt x="8" y="811"/>
                  </a:cubicBezTo>
                  <a:cubicBezTo>
                    <a:pt x="12" y="808"/>
                    <a:pt x="16" y="805"/>
                    <a:pt x="19" y="804"/>
                  </a:cubicBezTo>
                  <a:cubicBezTo>
                    <a:pt x="19" y="805"/>
                    <a:pt x="16" y="812"/>
                    <a:pt x="13" y="823"/>
                  </a:cubicBezTo>
                  <a:cubicBezTo>
                    <a:pt x="36" y="881"/>
                    <a:pt x="90" y="925"/>
                    <a:pt x="157" y="932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305" y="950"/>
                    <a:pt x="305" y="950"/>
                    <a:pt x="305" y="950"/>
                  </a:cubicBezTo>
                  <a:cubicBezTo>
                    <a:pt x="491" y="971"/>
                    <a:pt x="491" y="971"/>
                    <a:pt x="491" y="971"/>
                  </a:cubicBezTo>
                  <a:cubicBezTo>
                    <a:pt x="510" y="943"/>
                    <a:pt x="531" y="915"/>
                    <a:pt x="553" y="886"/>
                  </a:cubicBezTo>
                  <a:cubicBezTo>
                    <a:pt x="607" y="817"/>
                    <a:pt x="666" y="749"/>
                    <a:pt x="717" y="700"/>
                  </a:cubicBezTo>
                  <a:cubicBezTo>
                    <a:pt x="734" y="683"/>
                    <a:pt x="750" y="669"/>
                    <a:pt x="765" y="657"/>
                  </a:cubicBezTo>
                  <a:cubicBezTo>
                    <a:pt x="765" y="657"/>
                    <a:pt x="766" y="656"/>
                    <a:pt x="766" y="656"/>
                  </a:cubicBezTo>
                  <a:cubicBezTo>
                    <a:pt x="774" y="643"/>
                    <a:pt x="779" y="628"/>
                    <a:pt x="784" y="613"/>
                  </a:cubicBezTo>
                  <a:cubicBezTo>
                    <a:pt x="800" y="562"/>
                    <a:pt x="803" y="505"/>
                    <a:pt x="803" y="499"/>
                  </a:cubicBezTo>
                  <a:cubicBezTo>
                    <a:pt x="803" y="552"/>
                    <a:pt x="798" y="589"/>
                    <a:pt x="792" y="614"/>
                  </a:cubicBezTo>
                  <a:cubicBezTo>
                    <a:pt x="790" y="624"/>
                    <a:pt x="787" y="633"/>
                    <a:pt x="784" y="640"/>
                  </a:cubicBezTo>
                  <a:cubicBezTo>
                    <a:pt x="791" y="633"/>
                    <a:pt x="797" y="625"/>
                    <a:pt x="802" y="616"/>
                  </a:cubicBezTo>
                  <a:cubicBezTo>
                    <a:pt x="841" y="549"/>
                    <a:pt x="841" y="438"/>
                    <a:pt x="823" y="333"/>
                  </a:cubicBezTo>
                  <a:close/>
                </a:path>
              </a:pathLst>
            </a:custGeom>
            <a:solidFill>
              <a:srgbClr val="1635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86">
              <a:extLst>
                <a:ext uri="{FF2B5EF4-FFF2-40B4-BE49-F238E27FC236}">
                  <a16:creationId xmlns:a16="http://schemas.microsoft.com/office/drawing/2014/main" id="{4748C4E4-A251-4E80-B38F-C33B19E1A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0" y="682"/>
              <a:ext cx="162" cy="201"/>
            </a:xfrm>
            <a:custGeom>
              <a:avLst/>
              <a:gdLst>
                <a:gd name="T0" fmla="*/ 201 w 215"/>
                <a:gd name="T1" fmla="*/ 238 h 267"/>
                <a:gd name="T2" fmla="*/ 74 w 215"/>
                <a:gd name="T3" fmla="*/ 246 h 267"/>
                <a:gd name="T4" fmla="*/ 1 w 215"/>
                <a:gd name="T5" fmla="*/ 157 h 267"/>
                <a:gd name="T6" fmla="*/ 46 w 215"/>
                <a:gd name="T7" fmla="*/ 0 h 267"/>
                <a:gd name="T8" fmla="*/ 56 w 215"/>
                <a:gd name="T9" fmla="*/ 3 h 267"/>
                <a:gd name="T10" fmla="*/ 215 w 215"/>
                <a:gd name="T11" fmla="*/ 54 h 267"/>
                <a:gd name="T12" fmla="*/ 199 w 215"/>
                <a:gd name="T13" fmla="*/ 153 h 267"/>
                <a:gd name="T14" fmla="*/ 201 w 215"/>
                <a:gd name="T15" fmla="*/ 238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5" h="267">
                  <a:moveTo>
                    <a:pt x="201" y="238"/>
                  </a:moveTo>
                  <a:cubicBezTo>
                    <a:pt x="202" y="238"/>
                    <a:pt x="126" y="267"/>
                    <a:pt x="74" y="246"/>
                  </a:cubicBezTo>
                  <a:cubicBezTo>
                    <a:pt x="25" y="226"/>
                    <a:pt x="0" y="157"/>
                    <a:pt x="1" y="157"/>
                  </a:cubicBezTo>
                  <a:cubicBezTo>
                    <a:pt x="23" y="155"/>
                    <a:pt x="32" y="127"/>
                    <a:pt x="4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215" y="54"/>
                    <a:pt x="205" y="105"/>
                    <a:pt x="199" y="153"/>
                  </a:cubicBezTo>
                  <a:cubicBezTo>
                    <a:pt x="195" y="194"/>
                    <a:pt x="193" y="232"/>
                    <a:pt x="201" y="238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87">
              <a:extLst>
                <a:ext uri="{FF2B5EF4-FFF2-40B4-BE49-F238E27FC236}">
                  <a16:creationId xmlns:a16="http://schemas.microsoft.com/office/drawing/2014/main" id="{72B69FBC-CC89-4A03-8EC5-9E78A54B7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0" y="386"/>
              <a:ext cx="136" cy="69"/>
            </a:xfrm>
            <a:custGeom>
              <a:avLst/>
              <a:gdLst>
                <a:gd name="T0" fmla="*/ 0 w 181"/>
                <a:gd name="T1" fmla="*/ 92 h 92"/>
                <a:gd name="T2" fmla="*/ 181 w 181"/>
                <a:gd name="T3" fmla="*/ 72 h 92"/>
                <a:gd name="T4" fmla="*/ 0 w 181"/>
                <a:gd name="T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1" h="92">
                  <a:moveTo>
                    <a:pt x="0" y="92"/>
                  </a:moveTo>
                  <a:cubicBezTo>
                    <a:pt x="0" y="92"/>
                    <a:pt x="73" y="0"/>
                    <a:pt x="181" y="72"/>
                  </a:cubicBezTo>
                  <a:cubicBezTo>
                    <a:pt x="181" y="72"/>
                    <a:pt x="122" y="67"/>
                    <a:pt x="0" y="92"/>
                  </a:cubicBezTo>
                  <a:close/>
                </a:path>
              </a:pathLst>
            </a:custGeom>
            <a:solidFill>
              <a:srgbClr val="BC3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88">
              <a:extLst>
                <a:ext uri="{FF2B5EF4-FFF2-40B4-BE49-F238E27FC236}">
                  <a16:creationId xmlns:a16="http://schemas.microsoft.com/office/drawing/2014/main" id="{FB6BBEC5-B4D8-4AF3-865F-0765A8C54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2" y="684"/>
              <a:ext cx="120" cy="113"/>
            </a:xfrm>
            <a:custGeom>
              <a:avLst/>
              <a:gdLst>
                <a:gd name="T0" fmla="*/ 159 w 159"/>
                <a:gd name="T1" fmla="*/ 51 h 150"/>
                <a:gd name="T2" fmla="*/ 143 w 159"/>
                <a:gd name="T3" fmla="*/ 150 h 150"/>
                <a:gd name="T4" fmla="*/ 0 w 159"/>
                <a:gd name="T5" fmla="*/ 0 h 150"/>
                <a:gd name="T6" fmla="*/ 159 w 159"/>
                <a:gd name="T7" fmla="*/ 5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9" h="150">
                  <a:moveTo>
                    <a:pt x="159" y="51"/>
                  </a:moveTo>
                  <a:cubicBezTo>
                    <a:pt x="159" y="51"/>
                    <a:pt x="149" y="102"/>
                    <a:pt x="143" y="150"/>
                  </a:cubicBezTo>
                  <a:cubicBezTo>
                    <a:pt x="53" y="137"/>
                    <a:pt x="14" y="49"/>
                    <a:pt x="0" y="0"/>
                  </a:cubicBezTo>
                  <a:lnTo>
                    <a:pt x="159" y="51"/>
                  </a:lnTo>
                  <a:close/>
                </a:path>
              </a:pathLst>
            </a:custGeom>
            <a:solidFill>
              <a:srgbClr val="EF9E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89">
              <a:extLst>
                <a:ext uri="{FF2B5EF4-FFF2-40B4-BE49-F238E27FC236}">
                  <a16:creationId xmlns:a16="http://schemas.microsoft.com/office/drawing/2014/main" id="{7B7A95B9-4546-4A45-8E4F-8043EA755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5" y="463"/>
              <a:ext cx="252" cy="298"/>
            </a:xfrm>
            <a:custGeom>
              <a:avLst/>
              <a:gdLst>
                <a:gd name="T0" fmla="*/ 274 w 335"/>
                <a:gd name="T1" fmla="*/ 374 h 396"/>
                <a:gd name="T2" fmla="*/ 47 w 335"/>
                <a:gd name="T3" fmla="*/ 261 h 396"/>
                <a:gd name="T4" fmla="*/ 137 w 335"/>
                <a:gd name="T5" fmla="*/ 20 h 396"/>
                <a:gd name="T6" fmla="*/ 320 w 335"/>
                <a:gd name="T7" fmla="*/ 93 h 396"/>
                <a:gd name="T8" fmla="*/ 274 w 335"/>
                <a:gd name="T9" fmla="*/ 374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5" h="396">
                  <a:moveTo>
                    <a:pt x="274" y="374"/>
                  </a:moveTo>
                  <a:cubicBezTo>
                    <a:pt x="274" y="374"/>
                    <a:pt x="58" y="396"/>
                    <a:pt x="47" y="261"/>
                  </a:cubicBezTo>
                  <a:cubicBezTo>
                    <a:pt x="35" y="127"/>
                    <a:pt x="0" y="39"/>
                    <a:pt x="137" y="20"/>
                  </a:cubicBezTo>
                  <a:cubicBezTo>
                    <a:pt x="274" y="0"/>
                    <a:pt x="306" y="49"/>
                    <a:pt x="320" y="93"/>
                  </a:cubicBezTo>
                  <a:cubicBezTo>
                    <a:pt x="335" y="137"/>
                    <a:pt x="330" y="365"/>
                    <a:pt x="274" y="374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90">
              <a:extLst>
                <a:ext uri="{FF2B5EF4-FFF2-40B4-BE49-F238E27FC236}">
                  <a16:creationId xmlns:a16="http://schemas.microsoft.com/office/drawing/2014/main" id="{D11F92D2-5D5B-4A80-B23D-FBE12F723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2" y="415"/>
              <a:ext cx="200" cy="223"/>
            </a:xfrm>
            <a:custGeom>
              <a:avLst/>
              <a:gdLst>
                <a:gd name="T0" fmla="*/ 265 w 265"/>
                <a:gd name="T1" fmla="*/ 71 h 296"/>
                <a:gd name="T2" fmla="*/ 131 w 265"/>
                <a:gd name="T3" fmla="*/ 265 h 296"/>
                <a:gd name="T4" fmla="*/ 0 w 265"/>
                <a:gd name="T5" fmla="*/ 275 h 296"/>
                <a:gd name="T6" fmla="*/ 72 w 265"/>
                <a:gd name="T7" fmla="*/ 116 h 296"/>
                <a:gd name="T8" fmla="*/ 265 w 265"/>
                <a:gd name="T9" fmla="*/ 71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5" h="296">
                  <a:moveTo>
                    <a:pt x="265" y="71"/>
                  </a:moveTo>
                  <a:cubicBezTo>
                    <a:pt x="265" y="71"/>
                    <a:pt x="219" y="234"/>
                    <a:pt x="131" y="265"/>
                  </a:cubicBezTo>
                  <a:cubicBezTo>
                    <a:pt x="42" y="296"/>
                    <a:pt x="0" y="275"/>
                    <a:pt x="0" y="275"/>
                  </a:cubicBezTo>
                  <a:cubicBezTo>
                    <a:pt x="0" y="275"/>
                    <a:pt x="65" y="214"/>
                    <a:pt x="72" y="116"/>
                  </a:cubicBezTo>
                  <a:cubicBezTo>
                    <a:pt x="72" y="116"/>
                    <a:pt x="214" y="0"/>
                    <a:pt x="265" y="71"/>
                  </a:cubicBezTo>
                  <a:close/>
                </a:path>
              </a:pathLst>
            </a:custGeom>
            <a:solidFill>
              <a:srgbClr val="1635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91">
              <a:extLst>
                <a:ext uri="{FF2B5EF4-FFF2-40B4-BE49-F238E27FC236}">
                  <a16:creationId xmlns:a16="http://schemas.microsoft.com/office/drawing/2014/main" id="{704924C3-B2E5-4F1D-A57E-BC0F5F36D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" y="432"/>
              <a:ext cx="106" cy="174"/>
            </a:xfrm>
            <a:custGeom>
              <a:avLst/>
              <a:gdLst>
                <a:gd name="T0" fmla="*/ 0 w 141"/>
                <a:gd name="T1" fmla="*/ 63 h 231"/>
                <a:gd name="T2" fmla="*/ 60 w 141"/>
                <a:gd name="T3" fmla="*/ 128 h 231"/>
                <a:gd name="T4" fmla="*/ 105 w 141"/>
                <a:gd name="T5" fmla="*/ 227 h 231"/>
                <a:gd name="T6" fmla="*/ 86 w 141"/>
                <a:gd name="T7" fmla="*/ 60 h 231"/>
                <a:gd name="T8" fmla="*/ 0 w 141"/>
                <a:gd name="T9" fmla="*/ 63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231">
                  <a:moveTo>
                    <a:pt x="0" y="63"/>
                  </a:moveTo>
                  <a:cubicBezTo>
                    <a:pt x="0" y="63"/>
                    <a:pt x="47" y="94"/>
                    <a:pt x="60" y="128"/>
                  </a:cubicBezTo>
                  <a:cubicBezTo>
                    <a:pt x="74" y="161"/>
                    <a:pt x="85" y="231"/>
                    <a:pt x="105" y="227"/>
                  </a:cubicBezTo>
                  <a:cubicBezTo>
                    <a:pt x="105" y="227"/>
                    <a:pt x="141" y="116"/>
                    <a:pt x="86" y="60"/>
                  </a:cubicBezTo>
                  <a:cubicBezTo>
                    <a:pt x="27" y="0"/>
                    <a:pt x="0" y="63"/>
                    <a:pt x="0" y="63"/>
                  </a:cubicBezTo>
                  <a:close/>
                </a:path>
              </a:pathLst>
            </a:custGeom>
            <a:solidFill>
              <a:srgbClr val="1635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92">
              <a:extLst>
                <a:ext uri="{FF2B5EF4-FFF2-40B4-BE49-F238E27FC236}">
                  <a16:creationId xmlns:a16="http://schemas.microsoft.com/office/drawing/2014/main" id="{0E4A283D-73D6-4671-B0E3-BA33BB6AB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1" y="779"/>
              <a:ext cx="550" cy="335"/>
            </a:xfrm>
            <a:custGeom>
              <a:avLst/>
              <a:gdLst>
                <a:gd name="T0" fmla="*/ 637 w 729"/>
                <a:gd name="T1" fmla="*/ 99 h 445"/>
                <a:gd name="T2" fmla="*/ 524 w 729"/>
                <a:gd name="T3" fmla="*/ 49 h 445"/>
                <a:gd name="T4" fmla="*/ 514 w 729"/>
                <a:gd name="T5" fmla="*/ 47 h 445"/>
                <a:gd name="T6" fmla="*/ 506 w 729"/>
                <a:gd name="T7" fmla="*/ 46 h 445"/>
                <a:gd name="T8" fmla="*/ 453 w 729"/>
                <a:gd name="T9" fmla="*/ 42 h 445"/>
                <a:gd name="T10" fmla="*/ 449 w 729"/>
                <a:gd name="T11" fmla="*/ 36 h 445"/>
                <a:gd name="T12" fmla="*/ 449 w 729"/>
                <a:gd name="T13" fmla="*/ 36 h 445"/>
                <a:gd name="T14" fmla="*/ 267 w 729"/>
                <a:gd name="T15" fmla="*/ 21 h 445"/>
                <a:gd name="T16" fmla="*/ 265 w 729"/>
                <a:gd name="T17" fmla="*/ 21 h 445"/>
                <a:gd name="T18" fmla="*/ 264 w 729"/>
                <a:gd name="T19" fmla="*/ 21 h 445"/>
                <a:gd name="T20" fmla="*/ 264 w 729"/>
                <a:gd name="T21" fmla="*/ 21 h 445"/>
                <a:gd name="T22" fmla="*/ 25 w 729"/>
                <a:gd name="T23" fmla="*/ 67 h 445"/>
                <a:gd name="T24" fmla="*/ 12 w 729"/>
                <a:gd name="T25" fmla="*/ 287 h 445"/>
                <a:gd name="T26" fmla="*/ 3 w 729"/>
                <a:gd name="T27" fmla="*/ 380 h 445"/>
                <a:gd name="T28" fmla="*/ 27 w 729"/>
                <a:gd name="T29" fmla="*/ 383 h 445"/>
                <a:gd name="T30" fmla="*/ 213 w 729"/>
                <a:gd name="T31" fmla="*/ 404 h 445"/>
                <a:gd name="T32" fmla="*/ 269 w 729"/>
                <a:gd name="T33" fmla="*/ 411 h 445"/>
                <a:gd name="T34" fmla="*/ 557 w 729"/>
                <a:gd name="T35" fmla="*/ 444 h 445"/>
                <a:gd name="T36" fmla="*/ 576 w 729"/>
                <a:gd name="T37" fmla="*/ 445 h 445"/>
                <a:gd name="T38" fmla="*/ 576 w 729"/>
                <a:gd name="T39" fmla="*/ 445 h 445"/>
                <a:gd name="T40" fmla="*/ 642 w 729"/>
                <a:gd name="T41" fmla="*/ 433 h 445"/>
                <a:gd name="T42" fmla="*/ 729 w 729"/>
                <a:gd name="T43" fmla="*/ 360 h 445"/>
                <a:gd name="T44" fmla="*/ 729 w 729"/>
                <a:gd name="T45" fmla="*/ 360 h 445"/>
                <a:gd name="T46" fmla="*/ 637 w 729"/>
                <a:gd name="T47" fmla="*/ 99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9" h="445">
                  <a:moveTo>
                    <a:pt x="637" y="99"/>
                  </a:moveTo>
                  <a:cubicBezTo>
                    <a:pt x="615" y="71"/>
                    <a:pt x="569" y="56"/>
                    <a:pt x="524" y="49"/>
                  </a:cubicBezTo>
                  <a:cubicBezTo>
                    <a:pt x="521" y="48"/>
                    <a:pt x="517" y="48"/>
                    <a:pt x="514" y="47"/>
                  </a:cubicBezTo>
                  <a:cubicBezTo>
                    <a:pt x="511" y="47"/>
                    <a:pt x="509" y="47"/>
                    <a:pt x="506" y="46"/>
                  </a:cubicBezTo>
                  <a:cubicBezTo>
                    <a:pt x="487" y="44"/>
                    <a:pt x="469" y="42"/>
                    <a:pt x="453" y="42"/>
                  </a:cubicBezTo>
                  <a:cubicBezTo>
                    <a:pt x="451" y="39"/>
                    <a:pt x="450" y="36"/>
                    <a:pt x="449" y="36"/>
                  </a:cubicBezTo>
                  <a:cubicBezTo>
                    <a:pt x="449" y="36"/>
                    <a:pt x="449" y="36"/>
                    <a:pt x="449" y="36"/>
                  </a:cubicBezTo>
                  <a:cubicBezTo>
                    <a:pt x="267" y="21"/>
                    <a:pt x="267" y="21"/>
                    <a:pt x="267" y="21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5" y="21"/>
                    <a:pt x="264" y="21"/>
                  </a:cubicBezTo>
                  <a:cubicBezTo>
                    <a:pt x="264" y="21"/>
                    <a:pt x="264" y="21"/>
                    <a:pt x="264" y="21"/>
                  </a:cubicBezTo>
                  <a:cubicBezTo>
                    <a:pt x="250" y="19"/>
                    <a:pt x="61" y="0"/>
                    <a:pt x="25" y="67"/>
                  </a:cubicBezTo>
                  <a:cubicBezTo>
                    <a:pt x="1" y="111"/>
                    <a:pt x="0" y="194"/>
                    <a:pt x="12" y="287"/>
                  </a:cubicBezTo>
                  <a:cubicBezTo>
                    <a:pt x="8" y="318"/>
                    <a:pt x="5" y="350"/>
                    <a:pt x="3" y="380"/>
                  </a:cubicBezTo>
                  <a:cubicBezTo>
                    <a:pt x="27" y="383"/>
                    <a:pt x="27" y="383"/>
                    <a:pt x="27" y="383"/>
                  </a:cubicBezTo>
                  <a:cubicBezTo>
                    <a:pt x="213" y="404"/>
                    <a:pt x="213" y="404"/>
                    <a:pt x="213" y="404"/>
                  </a:cubicBezTo>
                  <a:cubicBezTo>
                    <a:pt x="269" y="411"/>
                    <a:pt x="269" y="411"/>
                    <a:pt x="269" y="411"/>
                  </a:cubicBezTo>
                  <a:cubicBezTo>
                    <a:pt x="557" y="444"/>
                    <a:pt x="557" y="444"/>
                    <a:pt x="557" y="444"/>
                  </a:cubicBezTo>
                  <a:cubicBezTo>
                    <a:pt x="563" y="444"/>
                    <a:pt x="570" y="445"/>
                    <a:pt x="576" y="445"/>
                  </a:cubicBezTo>
                  <a:cubicBezTo>
                    <a:pt x="576" y="445"/>
                    <a:pt x="576" y="445"/>
                    <a:pt x="576" y="445"/>
                  </a:cubicBezTo>
                  <a:cubicBezTo>
                    <a:pt x="599" y="445"/>
                    <a:pt x="621" y="441"/>
                    <a:pt x="642" y="433"/>
                  </a:cubicBezTo>
                  <a:cubicBezTo>
                    <a:pt x="678" y="419"/>
                    <a:pt x="709" y="393"/>
                    <a:pt x="729" y="360"/>
                  </a:cubicBezTo>
                  <a:cubicBezTo>
                    <a:pt x="729" y="360"/>
                    <a:pt x="729" y="360"/>
                    <a:pt x="729" y="360"/>
                  </a:cubicBezTo>
                  <a:cubicBezTo>
                    <a:pt x="701" y="247"/>
                    <a:pt x="666" y="136"/>
                    <a:pt x="637" y="99"/>
                  </a:cubicBezTo>
                  <a:close/>
                </a:path>
              </a:pathLst>
            </a:custGeom>
            <a:solidFill>
              <a:srgbClr val="BC3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93">
              <a:extLst>
                <a:ext uri="{FF2B5EF4-FFF2-40B4-BE49-F238E27FC236}">
                  <a16:creationId xmlns:a16="http://schemas.microsoft.com/office/drawing/2014/main" id="{5DC5CCD3-67B3-4E23-9A95-6C031CB85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6" y="1528"/>
              <a:ext cx="1053" cy="1053"/>
            </a:xfrm>
            <a:custGeom>
              <a:avLst/>
              <a:gdLst>
                <a:gd name="T0" fmla="*/ 1158 w 1397"/>
                <a:gd name="T1" fmla="*/ 1398 h 1398"/>
                <a:gd name="T2" fmla="*/ 239 w 1397"/>
                <a:gd name="T3" fmla="*/ 1398 h 1398"/>
                <a:gd name="T4" fmla="*/ 0 w 1397"/>
                <a:gd name="T5" fmla="*/ 1159 h 1398"/>
                <a:gd name="T6" fmla="*/ 0 w 1397"/>
                <a:gd name="T7" fmla="*/ 239 h 1398"/>
                <a:gd name="T8" fmla="*/ 239 w 1397"/>
                <a:gd name="T9" fmla="*/ 0 h 1398"/>
                <a:gd name="T10" fmla="*/ 1158 w 1397"/>
                <a:gd name="T11" fmla="*/ 0 h 1398"/>
                <a:gd name="T12" fmla="*/ 1397 w 1397"/>
                <a:gd name="T13" fmla="*/ 239 h 1398"/>
                <a:gd name="T14" fmla="*/ 1397 w 1397"/>
                <a:gd name="T15" fmla="*/ 1159 h 1398"/>
                <a:gd name="T16" fmla="*/ 1158 w 1397"/>
                <a:gd name="T17" fmla="*/ 1398 h 1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97" h="1398">
                  <a:moveTo>
                    <a:pt x="1158" y="1398"/>
                  </a:moveTo>
                  <a:cubicBezTo>
                    <a:pt x="239" y="1398"/>
                    <a:pt x="239" y="1398"/>
                    <a:pt x="239" y="1398"/>
                  </a:cubicBezTo>
                  <a:cubicBezTo>
                    <a:pt x="107" y="1398"/>
                    <a:pt x="0" y="1291"/>
                    <a:pt x="0" y="1159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107"/>
                    <a:pt x="107" y="0"/>
                    <a:pt x="239" y="0"/>
                  </a:cubicBezTo>
                  <a:cubicBezTo>
                    <a:pt x="1158" y="0"/>
                    <a:pt x="1158" y="0"/>
                    <a:pt x="1158" y="0"/>
                  </a:cubicBezTo>
                  <a:cubicBezTo>
                    <a:pt x="1290" y="0"/>
                    <a:pt x="1397" y="107"/>
                    <a:pt x="1397" y="239"/>
                  </a:cubicBezTo>
                  <a:cubicBezTo>
                    <a:pt x="1397" y="1159"/>
                    <a:pt x="1397" y="1159"/>
                    <a:pt x="1397" y="1159"/>
                  </a:cubicBezTo>
                  <a:cubicBezTo>
                    <a:pt x="1397" y="1291"/>
                    <a:pt x="1290" y="1398"/>
                    <a:pt x="1158" y="1398"/>
                  </a:cubicBezTo>
                  <a:close/>
                </a:path>
              </a:pathLst>
            </a:custGeom>
            <a:solidFill>
              <a:srgbClr val="E3F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94">
              <a:extLst>
                <a:ext uri="{FF2B5EF4-FFF2-40B4-BE49-F238E27FC236}">
                  <a16:creationId xmlns:a16="http://schemas.microsoft.com/office/drawing/2014/main" id="{173BE362-D325-43C3-BEC1-5B5832B4D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1" y="1654"/>
              <a:ext cx="782" cy="781"/>
            </a:xfrm>
            <a:custGeom>
              <a:avLst/>
              <a:gdLst>
                <a:gd name="T0" fmla="*/ 1037 w 1037"/>
                <a:gd name="T1" fmla="*/ 177 h 1037"/>
                <a:gd name="T2" fmla="*/ 1037 w 1037"/>
                <a:gd name="T3" fmla="*/ 860 h 1037"/>
                <a:gd name="T4" fmla="*/ 1030 w 1037"/>
                <a:gd name="T5" fmla="*/ 909 h 1037"/>
                <a:gd name="T6" fmla="*/ 869 w 1037"/>
                <a:gd name="T7" fmla="*/ 1037 h 1037"/>
                <a:gd name="T8" fmla="*/ 860 w 1037"/>
                <a:gd name="T9" fmla="*/ 1037 h 1037"/>
                <a:gd name="T10" fmla="*/ 178 w 1037"/>
                <a:gd name="T11" fmla="*/ 1037 h 1037"/>
                <a:gd name="T12" fmla="*/ 174 w 1037"/>
                <a:gd name="T13" fmla="*/ 1037 h 1037"/>
                <a:gd name="T14" fmla="*/ 170 w 1037"/>
                <a:gd name="T15" fmla="*/ 1037 h 1037"/>
                <a:gd name="T16" fmla="*/ 7 w 1037"/>
                <a:gd name="T17" fmla="*/ 910 h 1037"/>
                <a:gd name="T18" fmla="*/ 0 w 1037"/>
                <a:gd name="T19" fmla="*/ 860 h 1037"/>
                <a:gd name="T20" fmla="*/ 0 w 1037"/>
                <a:gd name="T21" fmla="*/ 177 h 1037"/>
                <a:gd name="T22" fmla="*/ 178 w 1037"/>
                <a:gd name="T23" fmla="*/ 0 h 1037"/>
                <a:gd name="T24" fmla="*/ 860 w 1037"/>
                <a:gd name="T25" fmla="*/ 0 h 1037"/>
                <a:gd name="T26" fmla="*/ 1037 w 1037"/>
                <a:gd name="T27" fmla="*/ 177 h 1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7" h="1037">
                  <a:moveTo>
                    <a:pt x="1037" y="177"/>
                  </a:moveTo>
                  <a:cubicBezTo>
                    <a:pt x="1037" y="860"/>
                    <a:pt x="1037" y="860"/>
                    <a:pt x="1037" y="860"/>
                  </a:cubicBezTo>
                  <a:cubicBezTo>
                    <a:pt x="1037" y="877"/>
                    <a:pt x="1035" y="893"/>
                    <a:pt x="1030" y="909"/>
                  </a:cubicBezTo>
                  <a:cubicBezTo>
                    <a:pt x="1010" y="980"/>
                    <a:pt x="946" y="1033"/>
                    <a:pt x="869" y="1037"/>
                  </a:cubicBezTo>
                  <a:cubicBezTo>
                    <a:pt x="866" y="1037"/>
                    <a:pt x="863" y="1037"/>
                    <a:pt x="860" y="1037"/>
                  </a:cubicBezTo>
                  <a:cubicBezTo>
                    <a:pt x="178" y="1037"/>
                    <a:pt x="178" y="1037"/>
                    <a:pt x="178" y="1037"/>
                  </a:cubicBezTo>
                  <a:cubicBezTo>
                    <a:pt x="176" y="1037"/>
                    <a:pt x="175" y="1037"/>
                    <a:pt x="174" y="1037"/>
                  </a:cubicBezTo>
                  <a:cubicBezTo>
                    <a:pt x="173" y="1037"/>
                    <a:pt x="172" y="1037"/>
                    <a:pt x="170" y="1037"/>
                  </a:cubicBezTo>
                  <a:cubicBezTo>
                    <a:pt x="93" y="1034"/>
                    <a:pt x="28" y="981"/>
                    <a:pt x="7" y="910"/>
                  </a:cubicBezTo>
                  <a:cubicBezTo>
                    <a:pt x="3" y="894"/>
                    <a:pt x="0" y="877"/>
                    <a:pt x="0" y="860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79"/>
                    <a:pt x="80" y="0"/>
                    <a:pt x="178" y="0"/>
                  </a:cubicBezTo>
                  <a:cubicBezTo>
                    <a:pt x="860" y="0"/>
                    <a:pt x="860" y="0"/>
                    <a:pt x="860" y="0"/>
                  </a:cubicBezTo>
                  <a:cubicBezTo>
                    <a:pt x="958" y="0"/>
                    <a:pt x="1037" y="79"/>
                    <a:pt x="1037" y="177"/>
                  </a:cubicBezTo>
                  <a:close/>
                </a:path>
              </a:pathLst>
            </a:custGeom>
            <a:solidFill>
              <a:srgbClr val="D2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95">
              <a:extLst>
                <a:ext uri="{FF2B5EF4-FFF2-40B4-BE49-F238E27FC236}">
                  <a16:creationId xmlns:a16="http://schemas.microsoft.com/office/drawing/2014/main" id="{8EBE7DB7-8C8B-4A3F-9339-5BA49CE0A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8" y="1947"/>
              <a:ext cx="349" cy="328"/>
            </a:xfrm>
            <a:custGeom>
              <a:avLst/>
              <a:gdLst>
                <a:gd name="T0" fmla="*/ 143 w 463"/>
                <a:gd name="T1" fmla="*/ 104 h 435"/>
                <a:gd name="T2" fmla="*/ 123 w 463"/>
                <a:gd name="T3" fmla="*/ 280 h 435"/>
                <a:gd name="T4" fmla="*/ 0 w 463"/>
                <a:gd name="T5" fmla="*/ 366 h 435"/>
                <a:gd name="T6" fmla="*/ 463 w 463"/>
                <a:gd name="T7" fmla="*/ 435 h 435"/>
                <a:gd name="T8" fmla="*/ 353 w 463"/>
                <a:gd name="T9" fmla="*/ 283 h 435"/>
                <a:gd name="T10" fmla="*/ 337 w 463"/>
                <a:gd name="T11" fmla="*/ 60 h 435"/>
                <a:gd name="T12" fmla="*/ 143 w 463"/>
                <a:gd name="T13" fmla="*/ 104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3" h="435">
                  <a:moveTo>
                    <a:pt x="143" y="104"/>
                  </a:moveTo>
                  <a:cubicBezTo>
                    <a:pt x="143" y="104"/>
                    <a:pt x="139" y="226"/>
                    <a:pt x="123" y="280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463" y="435"/>
                    <a:pt x="463" y="435"/>
                    <a:pt x="463" y="435"/>
                  </a:cubicBezTo>
                  <a:cubicBezTo>
                    <a:pt x="353" y="283"/>
                    <a:pt x="353" y="283"/>
                    <a:pt x="353" y="283"/>
                  </a:cubicBezTo>
                  <a:cubicBezTo>
                    <a:pt x="353" y="283"/>
                    <a:pt x="319" y="120"/>
                    <a:pt x="337" y="60"/>
                  </a:cubicBezTo>
                  <a:cubicBezTo>
                    <a:pt x="354" y="0"/>
                    <a:pt x="143" y="104"/>
                    <a:pt x="143" y="104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96">
              <a:extLst>
                <a:ext uri="{FF2B5EF4-FFF2-40B4-BE49-F238E27FC236}">
                  <a16:creationId xmlns:a16="http://schemas.microsoft.com/office/drawing/2014/main" id="{82C17EB0-9EF2-4595-8898-7E23AECB0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5" y="2038"/>
              <a:ext cx="143" cy="66"/>
            </a:xfrm>
            <a:custGeom>
              <a:avLst/>
              <a:gdLst>
                <a:gd name="T0" fmla="*/ 0 w 190"/>
                <a:gd name="T1" fmla="*/ 0 h 88"/>
                <a:gd name="T2" fmla="*/ 106 w 190"/>
                <a:gd name="T3" fmla="*/ 86 h 88"/>
                <a:gd name="T4" fmla="*/ 190 w 190"/>
                <a:gd name="T5" fmla="*/ 6 h 88"/>
                <a:gd name="T6" fmla="*/ 0 w 190"/>
                <a:gd name="T7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0" h="88">
                  <a:moveTo>
                    <a:pt x="0" y="0"/>
                  </a:moveTo>
                  <a:cubicBezTo>
                    <a:pt x="0" y="0"/>
                    <a:pt x="37" y="88"/>
                    <a:pt x="106" y="86"/>
                  </a:cubicBezTo>
                  <a:cubicBezTo>
                    <a:pt x="174" y="84"/>
                    <a:pt x="190" y="6"/>
                    <a:pt x="190" y="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9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97">
              <a:extLst>
                <a:ext uri="{FF2B5EF4-FFF2-40B4-BE49-F238E27FC236}">
                  <a16:creationId xmlns:a16="http://schemas.microsoft.com/office/drawing/2014/main" id="{C7FF3A02-8741-4818-820A-B12808EAF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4" y="1720"/>
              <a:ext cx="315" cy="264"/>
            </a:xfrm>
            <a:custGeom>
              <a:avLst/>
              <a:gdLst>
                <a:gd name="T0" fmla="*/ 66 w 418"/>
                <a:gd name="T1" fmla="*/ 351 h 351"/>
                <a:gd name="T2" fmla="*/ 28 w 418"/>
                <a:gd name="T3" fmla="*/ 206 h 351"/>
                <a:gd name="T4" fmla="*/ 172 w 418"/>
                <a:gd name="T5" fmla="*/ 14 h 351"/>
                <a:gd name="T6" fmla="*/ 274 w 418"/>
                <a:gd name="T7" fmla="*/ 0 h 351"/>
                <a:gd name="T8" fmla="*/ 265 w 418"/>
                <a:gd name="T9" fmla="*/ 30 h 351"/>
                <a:gd name="T10" fmla="*/ 371 w 418"/>
                <a:gd name="T11" fmla="*/ 68 h 351"/>
                <a:gd name="T12" fmla="*/ 344 w 418"/>
                <a:gd name="T13" fmla="*/ 343 h 351"/>
                <a:gd name="T14" fmla="*/ 66 w 418"/>
                <a:gd name="T15" fmla="*/ 351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8" h="351">
                  <a:moveTo>
                    <a:pt x="66" y="351"/>
                  </a:moveTo>
                  <a:cubicBezTo>
                    <a:pt x="66" y="351"/>
                    <a:pt x="44" y="240"/>
                    <a:pt x="28" y="206"/>
                  </a:cubicBezTo>
                  <a:cubicBezTo>
                    <a:pt x="13" y="172"/>
                    <a:pt x="0" y="22"/>
                    <a:pt x="172" y="14"/>
                  </a:cubicBezTo>
                  <a:cubicBezTo>
                    <a:pt x="172" y="14"/>
                    <a:pt x="238" y="22"/>
                    <a:pt x="274" y="0"/>
                  </a:cubicBezTo>
                  <a:cubicBezTo>
                    <a:pt x="274" y="0"/>
                    <a:pt x="274" y="22"/>
                    <a:pt x="265" y="30"/>
                  </a:cubicBezTo>
                  <a:cubicBezTo>
                    <a:pt x="265" y="30"/>
                    <a:pt x="324" y="16"/>
                    <a:pt x="371" y="68"/>
                  </a:cubicBezTo>
                  <a:cubicBezTo>
                    <a:pt x="418" y="119"/>
                    <a:pt x="340" y="301"/>
                    <a:pt x="344" y="343"/>
                  </a:cubicBezTo>
                  <a:lnTo>
                    <a:pt x="66" y="351"/>
                  </a:ln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98">
              <a:extLst>
                <a:ext uri="{FF2B5EF4-FFF2-40B4-BE49-F238E27FC236}">
                  <a16:creationId xmlns:a16="http://schemas.microsoft.com/office/drawing/2014/main" id="{840CB462-0F6B-4AAE-BCB3-3B4CDB17FA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2" y="1826"/>
              <a:ext cx="214" cy="252"/>
            </a:xfrm>
            <a:custGeom>
              <a:avLst/>
              <a:gdLst>
                <a:gd name="T0" fmla="*/ 142 w 284"/>
                <a:gd name="T1" fmla="*/ 333 h 334"/>
                <a:gd name="T2" fmla="*/ 0 w 284"/>
                <a:gd name="T3" fmla="*/ 184 h 334"/>
                <a:gd name="T4" fmla="*/ 0 w 284"/>
                <a:gd name="T5" fmla="*/ 55 h 334"/>
                <a:gd name="T6" fmla="*/ 46 w 284"/>
                <a:gd name="T7" fmla="*/ 0 h 334"/>
                <a:gd name="T8" fmla="*/ 237 w 284"/>
                <a:gd name="T9" fmla="*/ 0 h 334"/>
                <a:gd name="T10" fmla="*/ 284 w 284"/>
                <a:gd name="T11" fmla="*/ 55 h 334"/>
                <a:gd name="T12" fmla="*/ 284 w 284"/>
                <a:gd name="T13" fmla="*/ 176 h 334"/>
                <a:gd name="T14" fmla="*/ 142 w 284"/>
                <a:gd name="T15" fmla="*/ 333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4" h="334">
                  <a:moveTo>
                    <a:pt x="142" y="333"/>
                  </a:moveTo>
                  <a:cubicBezTo>
                    <a:pt x="92" y="332"/>
                    <a:pt x="0" y="266"/>
                    <a:pt x="0" y="18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25"/>
                    <a:pt x="21" y="0"/>
                    <a:pt x="46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63" y="0"/>
                    <a:pt x="284" y="25"/>
                    <a:pt x="284" y="55"/>
                  </a:cubicBezTo>
                  <a:cubicBezTo>
                    <a:pt x="284" y="176"/>
                    <a:pt x="284" y="176"/>
                    <a:pt x="284" y="176"/>
                  </a:cubicBezTo>
                  <a:cubicBezTo>
                    <a:pt x="284" y="263"/>
                    <a:pt x="199" y="334"/>
                    <a:pt x="142" y="333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99">
              <a:extLst>
                <a:ext uri="{FF2B5EF4-FFF2-40B4-BE49-F238E27FC236}">
                  <a16:creationId xmlns:a16="http://schemas.microsoft.com/office/drawing/2014/main" id="{72AA4B1B-788A-4911-A07B-20E5DAD67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0" y="1796"/>
              <a:ext cx="236" cy="124"/>
            </a:xfrm>
            <a:custGeom>
              <a:avLst/>
              <a:gdLst>
                <a:gd name="T0" fmla="*/ 15 w 313"/>
                <a:gd name="T1" fmla="*/ 164 h 164"/>
                <a:gd name="T2" fmla="*/ 76 w 313"/>
                <a:gd name="T3" fmla="*/ 75 h 164"/>
                <a:gd name="T4" fmla="*/ 294 w 313"/>
                <a:gd name="T5" fmla="*/ 56 h 164"/>
                <a:gd name="T6" fmla="*/ 15 w 313"/>
                <a:gd name="T7" fmla="*/ 36 h 164"/>
                <a:gd name="T8" fmla="*/ 15 w 313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3" h="164">
                  <a:moveTo>
                    <a:pt x="15" y="164"/>
                  </a:moveTo>
                  <a:cubicBezTo>
                    <a:pt x="15" y="164"/>
                    <a:pt x="15" y="86"/>
                    <a:pt x="76" y="75"/>
                  </a:cubicBezTo>
                  <a:cubicBezTo>
                    <a:pt x="137" y="63"/>
                    <a:pt x="274" y="112"/>
                    <a:pt x="294" y="56"/>
                  </a:cubicBezTo>
                  <a:cubicBezTo>
                    <a:pt x="313" y="0"/>
                    <a:pt x="29" y="1"/>
                    <a:pt x="15" y="36"/>
                  </a:cubicBezTo>
                  <a:cubicBezTo>
                    <a:pt x="0" y="72"/>
                    <a:pt x="15" y="164"/>
                    <a:pt x="15" y="164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100">
              <a:extLst>
                <a:ext uri="{FF2B5EF4-FFF2-40B4-BE49-F238E27FC236}">
                  <a16:creationId xmlns:a16="http://schemas.microsoft.com/office/drawing/2014/main" id="{CF02810E-7132-44AE-B0AE-26E68DB369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2" y="2158"/>
              <a:ext cx="491" cy="277"/>
            </a:xfrm>
            <a:custGeom>
              <a:avLst/>
              <a:gdLst>
                <a:gd name="T0" fmla="*/ 651 w 651"/>
                <a:gd name="T1" fmla="*/ 368 h 368"/>
                <a:gd name="T2" fmla="*/ 4 w 651"/>
                <a:gd name="T3" fmla="*/ 368 h 368"/>
                <a:gd name="T4" fmla="*/ 0 w 651"/>
                <a:gd name="T5" fmla="*/ 368 h 368"/>
                <a:gd name="T6" fmla="*/ 80 w 651"/>
                <a:gd name="T7" fmla="*/ 29 h 368"/>
                <a:gd name="T8" fmla="*/ 89 w 651"/>
                <a:gd name="T9" fmla="*/ 26 h 368"/>
                <a:gd name="T10" fmla="*/ 89 w 651"/>
                <a:gd name="T11" fmla="*/ 26 h 368"/>
                <a:gd name="T12" fmla="*/ 180 w 651"/>
                <a:gd name="T13" fmla="*/ 6 h 368"/>
                <a:gd name="T14" fmla="*/ 181 w 651"/>
                <a:gd name="T15" fmla="*/ 6 h 368"/>
                <a:gd name="T16" fmla="*/ 223 w 651"/>
                <a:gd name="T17" fmla="*/ 0 h 368"/>
                <a:gd name="T18" fmla="*/ 340 w 651"/>
                <a:gd name="T19" fmla="*/ 89 h 368"/>
                <a:gd name="T20" fmla="*/ 453 w 651"/>
                <a:gd name="T21" fmla="*/ 3 h 368"/>
                <a:gd name="T22" fmla="*/ 496 w 651"/>
                <a:gd name="T23" fmla="*/ 9 h 368"/>
                <a:gd name="T24" fmla="*/ 610 w 651"/>
                <a:gd name="T25" fmla="*/ 32 h 368"/>
                <a:gd name="T26" fmla="*/ 624 w 651"/>
                <a:gd name="T27" fmla="*/ 35 h 368"/>
                <a:gd name="T28" fmla="*/ 624 w 651"/>
                <a:gd name="T29" fmla="*/ 35 h 368"/>
                <a:gd name="T30" fmla="*/ 630 w 651"/>
                <a:gd name="T31" fmla="*/ 37 h 368"/>
                <a:gd name="T32" fmla="*/ 631 w 651"/>
                <a:gd name="T33" fmla="*/ 50 h 368"/>
                <a:gd name="T34" fmla="*/ 631 w 651"/>
                <a:gd name="T35" fmla="*/ 50 h 368"/>
                <a:gd name="T36" fmla="*/ 651 w 651"/>
                <a:gd name="T37" fmla="*/ 3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51" h="368">
                  <a:moveTo>
                    <a:pt x="651" y="368"/>
                  </a:moveTo>
                  <a:cubicBezTo>
                    <a:pt x="4" y="368"/>
                    <a:pt x="4" y="368"/>
                    <a:pt x="4" y="368"/>
                  </a:cubicBezTo>
                  <a:cubicBezTo>
                    <a:pt x="2" y="368"/>
                    <a:pt x="1" y="368"/>
                    <a:pt x="0" y="368"/>
                  </a:cubicBezTo>
                  <a:cubicBezTo>
                    <a:pt x="16" y="220"/>
                    <a:pt x="51" y="41"/>
                    <a:pt x="80" y="29"/>
                  </a:cubicBezTo>
                  <a:cubicBezTo>
                    <a:pt x="80" y="29"/>
                    <a:pt x="83" y="28"/>
                    <a:pt x="89" y="2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104" y="21"/>
                    <a:pt x="135" y="13"/>
                    <a:pt x="180" y="6"/>
                  </a:cubicBezTo>
                  <a:cubicBezTo>
                    <a:pt x="180" y="6"/>
                    <a:pt x="180" y="6"/>
                    <a:pt x="181" y="6"/>
                  </a:cubicBezTo>
                  <a:cubicBezTo>
                    <a:pt x="194" y="4"/>
                    <a:pt x="208" y="2"/>
                    <a:pt x="223" y="0"/>
                  </a:cubicBezTo>
                  <a:cubicBezTo>
                    <a:pt x="223" y="2"/>
                    <a:pt x="276" y="80"/>
                    <a:pt x="340" y="89"/>
                  </a:cubicBezTo>
                  <a:cubicBezTo>
                    <a:pt x="379" y="73"/>
                    <a:pt x="410" y="60"/>
                    <a:pt x="453" y="3"/>
                  </a:cubicBezTo>
                  <a:cubicBezTo>
                    <a:pt x="467" y="4"/>
                    <a:pt x="481" y="6"/>
                    <a:pt x="496" y="9"/>
                  </a:cubicBezTo>
                  <a:cubicBezTo>
                    <a:pt x="532" y="14"/>
                    <a:pt x="570" y="22"/>
                    <a:pt x="610" y="32"/>
                  </a:cubicBezTo>
                  <a:cubicBezTo>
                    <a:pt x="615" y="33"/>
                    <a:pt x="619" y="34"/>
                    <a:pt x="624" y="35"/>
                  </a:cubicBezTo>
                  <a:cubicBezTo>
                    <a:pt x="624" y="35"/>
                    <a:pt x="624" y="35"/>
                    <a:pt x="624" y="35"/>
                  </a:cubicBezTo>
                  <a:cubicBezTo>
                    <a:pt x="626" y="36"/>
                    <a:pt x="628" y="36"/>
                    <a:pt x="630" y="37"/>
                  </a:cubicBezTo>
                  <a:cubicBezTo>
                    <a:pt x="630" y="37"/>
                    <a:pt x="630" y="39"/>
                    <a:pt x="631" y="50"/>
                  </a:cubicBezTo>
                  <a:cubicBezTo>
                    <a:pt x="631" y="50"/>
                    <a:pt x="631" y="50"/>
                    <a:pt x="631" y="50"/>
                  </a:cubicBezTo>
                  <a:cubicBezTo>
                    <a:pt x="634" y="77"/>
                    <a:pt x="640" y="153"/>
                    <a:pt x="651" y="368"/>
                  </a:cubicBezTo>
                  <a:close/>
                </a:path>
              </a:pathLst>
            </a:custGeom>
            <a:solidFill>
              <a:srgbClr val="739A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101">
              <a:extLst>
                <a:ext uri="{FF2B5EF4-FFF2-40B4-BE49-F238E27FC236}">
                  <a16:creationId xmlns:a16="http://schemas.microsoft.com/office/drawing/2014/main" id="{5DCDA18D-0AA3-4E90-8034-3E0E2D90C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6" y="2162"/>
              <a:ext cx="263" cy="273"/>
            </a:xfrm>
            <a:custGeom>
              <a:avLst/>
              <a:gdLst>
                <a:gd name="T0" fmla="*/ 252 w 348"/>
                <a:gd name="T1" fmla="*/ 21 h 362"/>
                <a:gd name="T2" fmla="*/ 251 w 348"/>
                <a:gd name="T3" fmla="*/ 21 h 362"/>
                <a:gd name="T4" fmla="*/ 241 w 348"/>
                <a:gd name="T5" fmla="*/ 24 h 362"/>
                <a:gd name="T6" fmla="*/ 241 w 348"/>
                <a:gd name="T7" fmla="*/ 24 h 362"/>
                <a:gd name="T8" fmla="*/ 240 w 348"/>
                <a:gd name="T9" fmla="*/ 24 h 362"/>
                <a:gd name="T10" fmla="*/ 240 w 348"/>
                <a:gd name="T11" fmla="*/ 24 h 362"/>
                <a:gd name="T12" fmla="*/ 0 w 348"/>
                <a:gd name="T13" fmla="*/ 235 h 362"/>
                <a:gd name="T14" fmla="*/ 163 w 348"/>
                <a:gd name="T15" fmla="*/ 362 h 362"/>
                <a:gd name="T16" fmla="*/ 167 w 348"/>
                <a:gd name="T17" fmla="*/ 362 h 362"/>
                <a:gd name="T18" fmla="*/ 171 w 348"/>
                <a:gd name="T19" fmla="*/ 362 h 362"/>
                <a:gd name="T20" fmla="*/ 235 w 348"/>
                <a:gd name="T21" fmla="*/ 362 h 362"/>
                <a:gd name="T22" fmla="*/ 342 w 348"/>
                <a:gd name="T23" fmla="*/ 362 h 362"/>
                <a:gd name="T24" fmla="*/ 347 w 348"/>
                <a:gd name="T25" fmla="*/ 92 h 362"/>
                <a:gd name="T26" fmla="*/ 347 w 348"/>
                <a:gd name="T27" fmla="*/ 24 h 362"/>
                <a:gd name="T28" fmla="*/ 348 w 348"/>
                <a:gd name="T29" fmla="*/ 0 h 362"/>
                <a:gd name="T30" fmla="*/ 347 w 348"/>
                <a:gd name="T31" fmla="*/ 0 h 362"/>
                <a:gd name="T32" fmla="*/ 252 w 348"/>
                <a:gd name="T33" fmla="*/ 21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8" h="362">
                  <a:moveTo>
                    <a:pt x="252" y="21"/>
                  </a:moveTo>
                  <a:cubicBezTo>
                    <a:pt x="252" y="21"/>
                    <a:pt x="251" y="21"/>
                    <a:pt x="251" y="21"/>
                  </a:cubicBezTo>
                  <a:cubicBezTo>
                    <a:pt x="249" y="21"/>
                    <a:pt x="245" y="22"/>
                    <a:pt x="241" y="24"/>
                  </a:cubicBezTo>
                  <a:cubicBezTo>
                    <a:pt x="241" y="24"/>
                    <a:pt x="241" y="24"/>
                    <a:pt x="241" y="24"/>
                  </a:cubicBezTo>
                  <a:cubicBezTo>
                    <a:pt x="240" y="24"/>
                    <a:pt x="240" y="24"/>
                    <a:pt x="240" y="24"/>
                  </a:cubicBezTo>
                  <a:cubicBezTo>
                    <a:pt x="240" y="24"/>
                    <a:pt x="240" y="24"/>
                    <a:pt x="240" y="24"/>
                  </a:cubicBezTo>
                  <a:cubicBezTo>
                    <a:pt x="205" y="36"/>
                    <a:pt x="120" y="79"/>
                    <a:pt x="0" y="235"/>
                  </a:cubicBezTo>
                  <a:cubicBezTo>
                    <a:pt x="21" y="306"/>
                    <a:pt x="86" y="359"/>
                    <a:pt x="163" y="362"/>
                  </a:cubicBezTo>
                  <a:cubicBezTo>
                    <a:pt x="165" y="362"/>
                    <a:pt x="166" y="362"/>
                    <a:pt x="167" y="362"/>
                  </a:cubicBezTo>
                  <a:cubicBezTo>
                    <a:pt x="168" y="362"/>
                    <a:pt x="169" y="362"/>
                    <a:pt x="171" y="362"/>
                  </a:cubicBezTo>
                  <a:cubicBezTo>
                    <a:pt x="235" y="362"/>
                    <a:pt x="235" y="362"/>
                    <a:pt x="235" y="362"/>
                  </a:cubicBezTo>
                  <a:cubicBezTo>
                    <a:pt x="342" y="362"/>
                    <a:pt x="342" y="362"/>
                    <a:pt x="342" y="362"/>
                  </a:cubicBezTo>
                  <a:cubicBezTo>
                    <a:pt x="344" y="252"/>
                    <a:pt x="346" y="157"/>
                    <a:pt x="347" y="92"/>
                  </a:cubicBezTo>
                  <a:cubicBezTo>
                    <a:pt x="347" y="63"/>
                    <a:pt x="347" y="40"/>
                    <a:pt x="347" y="24"/>
                  </a:cubicBezTo>
                  <a:cubicBezTo>
                    <a:pt x="347" y="8"/>
                    <a:pt x="348" y="0"/>
                    <a:pt x="348" y="0"/>
                  </a:cubicBezTo>
                  <a:cubicBezTo>
                    <a:pt x="347" y="0"/>
                    <a:pt x="347" y="0"/>
                    <a:pt x="347" y="0"/>
                  </a:cubicBezTo>
                  <a:cubicBezTo>
                    <a:pt x="313" y="4"/>
                    <a:pt x="272" y="15"/>
                    <a:pt x="252" y="21"/>
                  </a:cubicBezTo>
                  <a:close/>
                </a:path>
              </a:pathLst>
            </a:custGeom>
            <a:solidFill>
              <a:srgbClr val="2B47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102">
              <a:extLst>
                <a:ext uri="{FF2B5EF4-FFF2-40B4-BE49-F238E27FC236}">
                  <a16:creationId xmlns:a16="http://schemas.microsoft.com/office/drawing/2014/main" id="{389B91ED-6349-4213-AB00-E09A5D826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6" y="2165"/>
              <a:ext cx="271" cy="270"/>
            </a:xfrm>
            <a:custGeom>
              <a:avLst/>
              <a:gdLst>
                <a:gd name="T0" fmla="*/ 134 w 360"/>
                <a:gd name="T1" fmla="*/ 28 h 359"/>
                <a:gd name="T2" fmla="*/ 116 w 360"/>
                <a:gd name="T3" fmla="*/ 23 h 359"/>
                <a:gd name="T4" fmla="*/ 116 w 360"/>
                <a:gd name="T5" fmla="*/ 23 h 359"/>
                <a:gd name="T6" fmla="*/ 0 w 360"/>
                <a:gd name="T7" fmla="*/ 0 h 359"/>
                <a:gd name="T8" fmla="*/ 0 w 360"/>
                <a:gd name="T9" fmla="*/ 0 h 359"/>
                <a:gd name="T10" fmla="*/ 1 w 360"/>
                <a:gd name="T11" fmla="*/ 54 h 359"/>
                <a:gd name="T12" fmla="*/ 1 w 360"/>
                <a:gd name="T13" fmla="*/ 54 h 359"/>
                <a:gd name="T14" fmla="*/ 1 w 360"/>
                <a:gd name="T15" fmla="*/ 136 h 359"/>
                <a:gd name="T16" fmla="*/ 4 w 360"/>
                <a:gd name="T17" fmla="*/ 359 h 359"/>
                <a:gd name="T18" fmla="*/ 127 w 360"/>
                <a:gd name="T19" fmla="*/ 359 h 359"/>
                <a:gd name="T20" fmla="*/ 190 w 360"/>
                <a:gd name="T21" fmla="*/ 359 h 359"/>
                <a:gd name="T22" fmla="*/ 199 w 360"/>
                <a:gd name="T23" fmla="*/ 359 h 359"/>
                <a:gd name="T24" fmla="*/ 360 w 360"/>
                <a:gd name="T25" fmla="*/ 231 h 359"/>
                <a:gd name="T26" fmla="*/ 134 w 360"/>
                <a:gd name="T27" fmla="*/ 28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0" h="359">
                  <a:moveTo>
                    <a:pt x="134" y="28"/>
                  </a:moveTo>
                  <a:cubicBezTo>
                    <a:pt x="125" y="25"/>
                    <a:pt x="119" y="23"/>
                    <a:pt x="116" y="23"/>
                  </a:cubicBezTo>
                  <a:cubicBezTo>
                    <a:pt x="116" y="23"/>
                    <a:pt x="116" y="23"/>
                    <a:pt x="116" y="23"/>
                  </a:cubicBezTo>
                  <a:cubicBezTo>
                    <a:pt x="93" y="17"/>
                    <a:pt x="42" y="5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0"/>
                    <a:pt x="1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76"/>
                    <a:pt x="1" y="104"/>
                    <a:pt x="1" y="136"/>
                  </a:cubicBezTo>
                  <a:cubicBezTo>
                    <a:pt x="2" y="197"/>
                    <a:pt x="3" y="273"/>
                    <a:pt x="4" y="359"/>
                  </a:cubicBezTo>
                  <a:cubicBezTo>
                    <a:pt x="127" y="359"/>
                    <a:pt x="127" y="359"/>
                    <a:pt x="127" y="359"/>
                  </a:cubicBezTo>
                  <a:cubicBezTo>
                    <a:pt x="190" y="359"/>
                    <a:pt x="190" y="359"/>
                    <a:pt x="190" y="359"/>
                  </a:cubicBezTo>
                  <a:cubicBezTo>
                    <a:pt x="193" y="359"/>
                    <a:pt x="196" y="359"/>
                    <a:pt x="199" y="359"/>
                  </a:cubicBezTo>
                  <a:cubicBezTo>
                    <a:pt x="276" y="355"/>
                    <a:pt x="340" y="302"/>
                    <a:pt x="360" y="231"/>
                  </a:cubicBezTo>
                  <a:cubicBezTo>
                    <a:pt x="249" y="85"/>
                    <a:pt x="169" y="41"/>
                    <a:pt x="134" y="28"/>
                  </a:cubicBezTo>
                  <a:close/>
                </a:path>
              </a:pathLst>
            </a:custGeom>
            <a:solidFill>
              <a:srgbClr val="2B47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103">
              <a:extLst>
                <a:ext uri="{FF2B5EF4-FFF2-40B4-BE49-F238E27FC236}">
                  <a16:creationId xmlns:a16="http://schemas.microsoft.com/office/drawing/2014/main" id="{332EC2E8-8310-48FB-9422-ADF48EACAC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12" y="1906"/>
              <a:ext cx="192" cy="54"/>
            </a:xfrm>
            <a:custGeom>
              <a:avLst/>
              <a:gdLst>
                <a:gd name="T0" fmla="*/ 248 w 255"/>
                <a:gd name="T1" fmla="*/ 11 h 72"/>
                <a:gd name="T2" fmla="*/ 222 w 255"/>
                <a:gd name="T3" fmla="*/ 0 h 72"/>
                <a:gd name="T4" fmla="*/ 165 w 255"/>
                <a:gd name="T5" fmla="*/ 0 h 72"/>
                <a:gd name="T6" fmla="*/ 143 w 255"/>
                <a:gd name="T7" fmla="*/ 9 h 72"/>
                <a:gd name="T8" fmla="*/ 140 w 255"/>
                <a:gd name="T9" fmla="*/ 18 h 72"/>
                <a:gd name="T10" fmla="*/ 140 w 255"/>
                <a:gd name="T11" fmla="*/ 18 h 72"/>
                <a:gd name="T12" fmla="*/ 115 w 255"/>
                <a:gd name="T13" fmla="*/ 19 h 72"/>
                <a:gd name="T14" fmla="*/ 115 w 255"/>
                <a:gd name="T15" fmla="*/ 19 h 72"/>
                <a:gd name="T16" fmla="*/ 115 w 255"/>
                <a:gd name="T17" fmla="*/ 19 h 72"/>
                <a:gd name="T18" fmla="*/ 112 w 255"/>
                <a:gd name="T19" fmla="*/ 9 h 72"/>
                <a:gd name="T20" fmla="*/ 90 w 255"/>
                <a:gd name="T21" fmla="*/ 0 h 72"/>
                <a:gd name="T22" fmla="*/ 34 w 255"/>
                <a:gd name="T23" fmla="*/ 0 h 72"/>
                <a:gd name="T24" fmla="*/ 7 w 255"/>
                <a:gd name="T25" fmla="*/ 11 h 72"/>
                <a:gd name="T26" fmla="*/ 2 w 255"/>
                <a:gd name="T27" fmla="*/ 36 h 72"/>
                <a:gd name="T28" fmla="*/ 63 w 255"/>
                <a:gd name="T29" fmla="*/ 72 h 72"/>
                <a:gd name="T30" fmla="*/ 73 w 255"/>
                <a:gd name="T31" fmla="*/ 71 h 72"/>
                <a:gd name="T32" fmla="*/ 111 w 255"/>
                <a:gd name="T33" fmla="*/ 41 h 72"/>
                <a:gd name="T34" fmla="*/ 115 w 255"/>
                <a:gd name="T35" fmla="*/ 23 h 72"/>
                <a:gd name="T36" fmla="*/ 115 w 255"/>
                <a:gd name="T37" fmla="*/ 23 h 72"/>
                <a:gd name="T38" fmla="*/ 140 w 255"/>
                <a:gd name="T39" fmla="*/ 23 h 72"/>
                <a:gd name="T40" fmla="*/ 140 w 255"/>
                <a:gd name="T41" fmla="*/ 23 h 72"/>
                <a:gd name="T42" fmla="*/ 144 w 255"/>
                <a:gd name="T43" fmla="*/ 41 h 72"/>
                <a:gd name="T44" fmla="*/ 182 w 255"/>
                <a:gd name="T45" fmla="*/ 71 h 72"/>
                <a:gd name="T46" fmla="*/ 192 w 255"/>
                <a:gd name="T47" fmla="*/ 72 h 72"/>
                <a:gd name="T48" fmla="*/ 253 w 255"/>
                <a:gd name="T49" fmla="*/ 36 h 72"/>
                <a:gd name="T50" fmla="*/ 248 w 255"/>
                <a:gd name="T51" fmla="*/ 11 h 72"/>
                <a:gd name="T52" fmla="*/ 111 w 255"/>
                <a:gd name="T53" fmla="*/ 25 h 72"/>
                <a:gd name="T54" fmla="*/ 108 w 255"/>
                <a:gd name="T55" fmla="*/ 39 h 72"/>
                <a:gd name="T56" fmla="*/ 73 w 255"/>
                <a:gd name="T57" fmla="*/ 68 h 72"/>
                <a:gd name="T58" fmla="*/ 73 w 255"/>
                <a:gd name="T59" fmla="*/ 68 h 72"/>
                <a:gd name="T60" fmla="*/ 42 w 255"/>
                <a:gd name="T61" fmla="*/ 66 h 72"/>
                <a:gd name="T62" fmla="*/ 5 w 255"/>
                <a:gd name="T63" fmla="*/ 35 h 72"/>
                <a:gd name="T64" fmla="*/ 10 w 255"/>
                <a:gd name="T65" fmla="*/ 14 h 72"/>
                <a:gd name="T66" fmla="*/ 34 w 255"/>
                <a:gd name="T67" fmla="*/ 4 h 72"/>
                <a:gd name="T68" fmla="*/ 90 w 255"/>
                <a:gd name="T69" fmla="*/ 4 h 72"/>
                <a:gd name="T70" fmla="*/ 109 w 255"/>
                <a:gd name="T71" fmla="*/ 11 h 72"/>
                <a:gd name="T72" fmla="*/ 112 w 255"/>
                <a:gd name="T73" fmla="*/ 20 h 72"/>
                <a:gd name="T74" fmla="*/ 112 w 255"/>
                <a:gd name="T75" fmla="*/ 20 h 72"/>
                <a:gd name="T76" fmla="*/ 107 w 255"/>
                <a:gd name="T77" fmla="*/ 22 h 72"/>
                <a:gd name="T78" fmla="*/ 106 w 255"/>
                <a:gd name="T79" fmla="*/ 25 h 72"/>
                <a:gd name="T80" fmla="*/ 108 w 255"/>
                <a:gd name="T81" fmla="*/ 26 h 72"/>
                <a:gd name="T82" fmla="*/ 108 w 255"/>
                <a:gd name="T83" fmla="*/ 26 h 72"/>
                <a:gd name="T84" fmla="*/ 111 w 255"/>
                <a:gd name="T85" fmla="*/ 25 h 72"/>
                <a:gd name="T86" fmla="*/ 111 w 255"/>
                <a:gd name="T87" fmla="*/ 25 h 72"/>
                <a:gd name="T88" fmla="*/ 250 w 255"/>
                <a:gd name="T89" fmla="*/ 35 h 72"/>
                <a:gd name="T90" fmla="*/ 214 w 255"/>
                <a:gd name="T91" fmla="*/ 66 h 72"/>
                <a:gd name="T92" fmla="*/ 182 w 255"/>
                <a:gd name="T93" fmla="*/ 68 h 72"/>
                <a:gd name="T94" fmla="*/ 182 w 255"/>
                <a:gd name="T95" fmla="*/ 68 h 72"/>
                <a:gd name="T96" fmla="*/ 148 w 255"/>
                <a:gd name="T97" fmla="*/ 39 h 72"/>
                <a:gd name="T98" fmla="*/ 144 w 255"/>
                <a:gd name="T99" fmla="*/ 24 h 72"/>
                <a:gd name="T100" fmla="*/ 144 w 255"/>
                <a:gd name="T101" fmla="*/ 24 h 72"/>
                <a:gd name="T102" fmla="*/ 147 w 255"/>
                <a:gd name="T103" fmla="*/ 26 h 72"/>
                <a:gd name="T104" fmla="*/ 150 w 255"/>
                <a:gd name="T105" fmla="*/ 25 h 72"/>
                <a:gd name="T106" fmla="*/ 149 w 255"/>
                <a:gd name="T107" fmla="*/ 22 h 72"/>
                <a:gd name="T108" fmla="*/ 144 w 255"/>
                <a:gd name="T109" fmla="*/ 20 h 72"/>
                <a:gd name="T110" fmla="*/ 144 w 255"/>
                <a:gd name="T111" fmla="*/ 19 h 72"/>
                <a:gd name="T112" fmla="*/ 146 w 255"/>
                <a:gd name="T113" fmla="*/ 11 h 72"/>
                <a:gd name="T114" fmla="*/ 165 w 255"/>
                <a:gd name="T115" fmla="*/ 4 h 72"/>
                <a:gd name="T116" fmla="*/ 222 w 255"/>
                <a:gd name="T117" fmla="*/ 4 h 72"/>
                <a:gd name="T118" fmla="*/ 245 w 255"/>
                <a:gd name="T119" fmla="*/ 14 h 72"/>
                <a:gd name="T120" fmla="*/ 250 w 255"/>
                <a:gd name="T121" fmla="*/ 3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5" h="72">
                  <a:moveTo>
                    <a:pt x="248" y="11"/>
                  </a:moveTo>
                  <a:cubicBezTo>
                    <a:pt x="242" y="4"/>
                    <a:pt x="233" y="0"/>
                    <a:pt x="222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55" y="0"/>
                    <a:pt x="147" y="3"/>
                    <a:pt x="143" y="9"/>
                  </a:cubicBezTo>
                  <a:cubicBezTo>
                    <a:pt x="141" y="12"/>
                    <a:pt x="140" y="15"/>
                    <a:pt x="140" y="18"/>
                  </a:cubicBezTo>
                  <a:cubicBezTo>
                    <a:pt x="140" y="18"/>
                    <a:pt x="140" y="18"/>
                    <a:pt x="140" y="18"/>
                  </a:cubicBezTo>
                  <a:cubicBezTo>
                    <a:pt x="131" y="16"/>
                    <a:pt x="122" y="17"/>
                    <a:pt x="115" y="19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5"/>
                    <a:pt x="114" y="12"/>
                    <a:pt x="112" y="9"/>
                  </a:cubicBezTo>
                  <a:cubicBezTo>
                    <a:pt x="108" y="3"/>
                    <a:pt x="100" y="0"/>
                    <a:pt x="9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3" y="0"/>
                    <a:pt x="13" y="4"/>
                    <a:pt x="7" y="11"/>
                  </a:cubicBezTo>
                  <a:cubicBezTo>
                    <a:pt x="2" y="18"/>
                    <a:pt x="0" y="26"/>
                    <a:pt x="2" y="36"/>
                  </a:cubicBezTo>
                  <a:cubicBezTo>
                    <a:pt x="8" y="68"/>
                    <a:pt x="45" y="72"/>
                    <a:pt x="63" y="72"/>
                  </a:cubicBezTo>
                  <a:cubicBezTo>
                    <a:pt x="69" y="72"/>
                    <a:pt x="72" y="71"/>
                    <a:pt x="73" y="71"/>
                  </a:cubicBezTo>
                  <a:cubicBezTo>
                    <a:pt x="90" y="71"/>
                    <a:pt x="102" y="62"/>
                    <a:pt x="111" y="41"/>
                  </a:cubicBezTo>
                  <a:cubicBezTo>
                    <a:pt x="112" y="37"/>
                    <a:pt x="115" y="30"/>
                    <a:pt x="115" y="23"/>
                  </a:cubicBezTo>
                  <a:cubicBezTo>
                    <a:pt x="115" y="23"/>
                    <a:pt x="115" y="23"/>
                    <a:pt x="115" y="23"/>
                  </a:cubicBezTo>
                  <a:cubicBezTo>
                    <a:pt x="121" y="22"/>
                    <a:pt x="131" y="20"/>
                    <a:pt x="140" y="23"/>
                  </a:cubicBezTo>
                  <a:cubicBezTo>
                    <a:pt x="140" y="23"/>
                    <a:pt x="140" y="23"/>
                    <a:pt x="140" y="23"/>
                  </a:cubicBezTo>
                  <a:cubicBezTo>
                    <a:pt x="140" y="30"/>
                    <a:pt x="143" y="37"/>
                    <a:pt x="144" y="41"/>
                  </a:cubicBezTo>
                  <a:cubicBezTo>
                    <a:pt x="153" y="62"/>
                    <a:pt x="165" y="71"/>
                    <a:pt x="182" y="71"/>
                  </a:cubicBezTo>
                  <a:cubicBezTo>
                    <a:pt x="183" y="71"/>
                    <a:pt x="187" y="72"/>
                    <a:pt x="192" y="72"/>
                  </a:cubicBezTo>
                  <a:cubicBezTo>
                    <a:pt x="211" y="72"/>
                    <a:pt x="247" y="68"/>
                    <a:pt x="253" y="36"/>
                  </a:cubicBezTo>
                  <a:cubicBezTo>
                    <a:pt x="255" y="26"/>
                    <a:pt x="254" y="18"/>
                    <a:pt x="248" y="11"/>
                  </a:cubicBezTo>
                  <a:close/>
                  <a:moveTo>
                    <a:pt x="111" y="25"/>
                  </a:moveTo>
                  <a:cubicBezTo>
                    <a:pt x="111" y="31"/>
                    <a:pt x="109" y="37"/>
                    <a:pt x="108" y="39"/>
                  </a:cubicBezTo>
                  <a:cubicBezTo>
                    <a:pt x="99" y="59"/>
                    <a:pt x="89" y="68"/>
                    <a:pt x="73" y="68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73" y="68"/>
                    <a:pt x="58" y="69"/>
                    <a:pt x="42" y="66"/>
                  </a:cubicBezTo>
                  <a:cubicBezTo>
                    <a:pt x="21" y="62"/>
                    <a:pt x="9" y="52"/>
                    <a:pt x="5" y="35"/>
                  </a:cubicBezTo>
                  <a:cubicBezTo>
                    <a:pt x="4" y="27"/>
                    <a:pt x="5" y="19"/>
                    <a:pt x="10" y="14"/>
                  </a:cubicBezTo>
                  <a:cubicBezTo>
                    <a:pt x="15" y="7"/>
                    <a:pt x="24" y="4"/>
                    <a:pt x="34" y="4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9" y="4"/>
                    <a:pt x="106" y="6"/>
                    <a:pt x="109" y="11"/>
                  </a:cubicBezTo>
                  <a:cubicBezTo>
                    <a:pt x="111" y="14"/>
                    <a:pt x="111" y="17"/>
                    <a:pt x="112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09" y="21"/>
                    <a:pt x="107" y="22"/>
                    <a:pt x="107" y="22"/>
                  </a:cubicBezTo>
                  <a:cubicBezTo>
                    <a:pt x="105" y="22"/>
                    <a:pt x="105" y="24"/>
                    <a:pt x="106" y="25"/>
                  </a:cubicBezTo>
                  <a:cubicBezTo>
                    <a:pt x="106" y="25"/>
                    <a:pt x="107" y="26"/>
                    <a:pt x="108" y="26"/>
                  </a:cubicBezTo>
                  <a:cubicBezTo>
                    <a:pt x="108" y="26"/>
                    <a:pt x="108" y="26"/>
                    <a:pt x="108" y="26"/>
                  </a:cubicBezTo>
                  <a:cubicBezTo>
                    <a:pt x="108" y="26"/>
                    <a:pt x="110" y="25"/>
                    <a:pt x="111" y="25"/>
                  </a:cubicBezTo>
                  <a:cubicBezTo>
                    <a:pt x="111" y="25"/>
                    <a:pt x="111" y="25"/>
                    <a:pt x="111" y="25"/>
                  </a:cubicBezTo>
                  <a:close/>
                  <a:moveTo>
                    <a:pt x="250" y="35"/>
                  </a:moveTo>
                  <a:cubicBezTo>
                    <a:pt x="247" y="52"/>
                    <a:pt x="234" y="62"/>
                    <a:pt x="214" y="66"/>
                  </a:cubicBezTo>
                  <a:cubicBezTo>
                    <a:pt x="198" y="69"/>
                    <a:pt x="183" y="68"/>
                    <a:pt x="182" y="68"/>
                  </a:cubicBezTo>
                  <a:cubicBezTo>
                    <a:pt x="182" y="68"/>
                    <a:pt x="182" y="68"/>
                    <a:pt x="182" y="68"/>
                  </a:cubicBezTo>
                  <a:cubicBezTo>
                    <a:pt x="167" y="68"/>
                    <a:pt x="156" y="59"/>
                    <a:pt x="148" y="39"/>
                  </a:cubicBezTo>
                  <a:cubicBezTo>
                    <a:pt x="147" y="37"/>
                    <a:pt x="144" y="31"/>
                    <a:pt x="144" y="24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45" y="25"/>
                    <a:pt x="146" y="25"/>
                    <a:pt x="147" y="26"/>
                  </a:cubicBezTo>
                  <a:cubicBezTo>
                    <a:pt x="148" y="26"/>
                    <a:pt x="149" y="26"/>
                    <a:pt x="150" y="25"/>
                  </a:cubicBezTo>
                  <a:cubicBezTo>
                    <a:pt x="151" y="24"/>
                    <a:pt x="150" y="22"/>
                    <a:pt x="149" y="22"/>
                  </a:cubicBezTo>
                  <a:cubicBezTo>
                    <a:pt x="147" y="21"/>
                    <a:pt x="145" y="20"/>
                    <a:pt x="144" y="20"/>
                  </a:cubicBezTo>
                  <a:cubicBezTo>
                    <a:pt x="144" y="20"/>
                    <a:pt x="144" y="19"/>
                    <a:pt x="144" y="19"/>
                  </a:cubicBezTo>
                  <a:cubicBezTo>
                    <a:pt x="144" y="16"/>
                    <a:pt x="145" y="14"/>
                    <a:pt x="146" y="11"/>
                  </a:cubicBezTo>
                  <a:cubicBezTo>
                    <a:pt x="150" y="6"/>
                    <a:pt x="156" y="4"/>
                    <a:pt x="165" y="4"/>
                  </a:cubicBezTo>
                  <a:cubicBezTo>
                    <a:pt x="222" y="4"/>
                    <a:pt x="222" y="4"/>
                    <a:pt x="222" y="4"/>
                  </a:cubicBezTo>
                  <a:cubicBezTo>
                    <a:pt x="231" y="4"/>
                    <a:pt x="240" y="7"/>
                    <a:pt x="245" y="14"/>
                  </a:cubicBezTo>
                  <a:cubicBezTo>
                    <a:pt x="250" y="19"/>
                    <a:pt x="252" y="27"/>
                    <a:pt x="250" y="35"/>
                  </a:cubicBezTo>
                  <a:close/>
                </a:path>
              </a:pathLst>
            </a:custGeom>
            <a:solidFill>
              <a:srgbClr val="B64C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104">
              <a:extLst>
                <a:ext uri="{FF2B5EF4-FFF2-40B4-BE49-F238E27FC236}">
                  <a16:creationId xmlns:a16="http://schemas.microsoft.com/office/drawing/2014/main" id="{5C49ADA4-9043-4E16-BC27-6CDA306F9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0" y="1486"/>
              <a:ext cx="1221" cy="1222"/>
            </a:xfrm>
            <a:custGeom>
              <a:avLst/>
              <a:gdLst>
                <a:gd name="T0" fmla="*/ 1344 w 1621"/>
                <a:gd name="T1" fmla="*/ 1621 h 1621"/>
                <a:gd name="T2" fmla="*/ 277 w 1621"/>
                <a:gd name="T3" fmla="*/ 1621 h 1621"/>
                <a:gd name="T4" fmla="*/ 0 w 1621"/>
                <a:gd name="T5" fmla="*/ 1344 h 1621"/>
                <a:gd name="T6" fmla="*/ 0 w 1621"/>
                <a:gd name="T7" fmla="*/ 277 h 1621"/>
                <a:gd name="T8" fmla="*/ 277 w 1621"/>
                <a:gd name="T9" fmla="*/ 0 h 1621"/>
                <a:gd name="T10" fmla="*/ 1344 w 1621"/>
                <a:gd name="T11" fmla="*/ 0 h 1621"/>
                <a:gd name="T12" fmla="*/ 1621 w 1621"/>
                <a:gd name="T13" fmla="*/ 277 h 1621"/>
                <a:gd name="T14" fmla="*/ 1621 w 1621"/>
                <a:gd name="T15" fmla="*/ 1344 h 1621"/>
                <a:gd name="T16" fmla="*/ 1344 w 1621"/>
                <a:gd name="T17" fmla="*/ 1621 h 1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1" h="1621">
                  <a:moveTo>
                    <a:pt x="1344" y="1621"/>
                  </a:moveTo>
                  <a:cubicBezTo>
                    <a:pt x="277" y="1621"/>
                    <a:pt x="277" y="1621"/>
                    <a:pt x="277" y="1621"/>
                  </a:cubicBezTo>
                  <a:cubicBezTo>
                    <a:pt x="124" y="1621"/>
                    <a:pt x="0" y="1497"/>
                    <a:pt x="0" y="1344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0" y="124"/>
                    <a:pt x="124" y="0"/>
                    <a:pt x="277" y="0"/>
                  </a:cubicBezTo>
                  <a:cubicBezTo>
                    <a:pt x="1344" y="0"/>
                    <a:pt x="1344" y="0"/>
                    <a:pt x="1344" y="0"/>
                  </a:cubicBezTo>
                  <a:cubicBezTo>
                    <a:pt x="1497" y="0"/>
                    <a:pt x="1621" y="124"/>
                    <a:pt x="1621" y="277"/>
                  </a:cubicBezTo>
                  <a:cubicBezTo>
                    <a:pt x="1621" y="1344"/>
                    <a:pt x="1621" y="1344"/>
                    <a:pt x="1621" y="1344"/>
                  </a:cubicBezTo>
                  <a:cubicBezTo>
                    <a:pt x="1621" y="1497"/>
                    <a:pt x="1497" y="1621"/>
                    <a:pt x="1344" y="1621"/>
                  </a:cubicBezTo>
                  <a:close/>
                </a:path>
              </a:pathLst>
            </a:custGeom>
            <a:solidFill>
              <a:srgbClr val="E3F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105">
              <a:extLst>
                <a:ext uri="{FF2B5EF4-FFF2-40B4-BE49-F238E27FC236}">
                  <a16:creationId xmlns:a16="http://schemas.microsoft.com/office/drawing/2014/main" id="{B5E6250F-3C15-4D60-9FF5-BC2E111FA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6" y="1632"/>
              <a:ext cx="907" cy="906"/>
            </a:xfrm>
            <a:custGeom>
              <a:avLst/>
              <a:gdLst>
                <a:gd name="T0" fmla="*/ 1203 w 1203"/>
                <a:gd name="T1" fmla="*/ 206 h 1203"/>
                <a:gd name="T2" fmla="*/ 1203 w 1203"/>
                <a:gd name="T3" fmla="*/ 997 h 1203"/>
                <a:gd name="T4" fmla="*/ 1075 w 1203"/>
                <a:gd name="T5" fmla="*/ 1188 h 1203"/>
                <a:gd name="T6" fmla="*/ 1061 w 1203"/>
                <a:gd name="T7" fmla="*/ 1193 h 1203"/>
                <a:gd name="T8" fmla="*/ 997 w 1203"/>
                <a:gd name="T9" fmla="*/ 1203 h 1203"/>
                <a:gd name="T10" fmla="*/ 206 w 1203"/>
                <a:gd name="T11" fmla="*/ 1203 h 1203"/>
                <a:gd name="T12" fmla="*/ 0 w 1203"/>
                <a:gd name="T13" fmla="*/ 997 h 1203"/>
                <a:gd name="T14" fmla="*/ 0 w 1203"/>
                <a:gd name="T15" fmla="*/ 206 h 1203"/>
                <a:gd name="T16" fmla="*/ 206 w 1203"/>
                <a:gd name="T17" fmla="*/ 0 h 1203"/>
                <a:gd name="T18" fmla="*/ 997 w 1203"/>
                <a:gd name="T19" fmla="*/ 0 h 1203"/>
                <a:gd name="T20" fmla="*/ 1203 w 1203"/>
                <a:gd name="T21" fmla="*/ 206 h 1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3" h="1203">
                  <a:moveTo>
                    <a:pt x="1203" y="206"/>
                  </a:moveTo>
                  <a:cubicBezTo>
                    <a:pt x="1203" y="997"/>
                    <a:pt x="1203" y="997"/>
                    <a:pt x="1203" y="997"/>
                  </a:cubicBezTo>
                  <a:cubicBezTo>
                    <a:pt x="1203" y="1084"/>
                    <a:pt x="1150" y="1158"/>
                    <a:pt x="1075" y="1188"/>
                  </a:cubicBezTo>
                  <a:cubicBezTo>
                    <a:pt x="1070" y="1190"/>
                    <a:pt x="1066" y="1192"/>
                    <a:pt x="1061" y="1193"/>
                  </a:cubicBezTo>
                  <a:cubicBezTo>
                    <a:pt x="1041" y="1200"/>
                    <a:pt x="1020" y="1203"/>
                    <a:pt x="997" y="1203"/>
                  </a:cubicBezTo>
                  <a:cubicBezTo>
                    <a:pt x="206" y="1203"/>
                    <a:pt x="206" y="1203"/>
                    <a:pt x="206" y="1203"/>
                  </a:cubicBezTo>
                  <a:cubicBezTo>
                    <a:pt x="92" y="1203"/>
                    <a:pt x="0" y="1111"/>
                    <a:pt x="0" y="997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0" y="92"/>
                    <a:pt x="92" y="0"/>
                    <a:pt x="206" y="0"/>
                  </a:cubicBezTo>
                  <a:cubicBezTo>
                    <a:pt x="997" y="0"/>
                    <a:pt x="997" y="0"/>
                    <a:pt x="997" y="0"/>
                  </a:cubicBezTo>
                  <a:cubicBezTo>
                    <a:pt x="1111" y="0"/>
                    <a:pt x="1203" y="92"/>
                    <a:pt x="1203" y="206"/>
                  </a:cubicBezTo>
                  <a:close/>
                </a:path>
              </a:pathLst>
            </a:custGeom>
            <a:solidFill>
              <a:srgbClr val="D2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106">
              <a:extLst>
                <a:ext uri="{FF2B5EF4-FFF2-40B4-BE49-F238E27FC236}">
                  <a16:creationId xmlns:a16="http://schemas.microsoft.com/office/drawing/2014/main" id="{46DBE6F1-1110-4FA4-B951-F407BA849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4" y="1752"/>
              <a:ext cx="410" cy="400"/>
            </a:xfrm>
            <a:custGeom>
              <a:avLst/>
              <a:gdLst>
                <a:gd name="T0" fmla="*/ 280 w 544"/>
                <a:gd name="T1" fmla="*/ 50 h 530"/>
                <a:gd name="T2" fmla="*/ 280 w 544"/>
                <a:gd name="T3" fmla="*/ 50 h 530"/>
                <a:gd name="T4" fmla="*/ 202 w 544"/>
                <a:gd name="T5" fmla="*/ 48 h 530"/>
                <a:gd name="T6" fmla="*/ 98 w 544"/>
                <a:gd name="T7" fmla="*/ 87 h 530"/>
                <a:gd name="T8" fmla="*/ 64 w 544"/>
                <a:gd name="T9" fmla="*/ 333 h 530"/>
                <a:gd name="T10" fmla="*/ 95 w 544"/>
                <a:gd name="T11" fmla="*/ 388 h 530"/>
                <a:gd name="T12" fmla="*/ 36 w 544"/>
                <a:gd name="T13" fmla="*/ 509 h 530"/>
                <a:gd name="T14" fmla="*/ 68 w 544"/>
                <a:gd name="T15" fmla="*/ 519 h 530"/>
                <a:gd name="T16" fmla="*/ 86 w 544"/>
                <a:gd name="T17" fmla="*/ 505 h 530"/>
                <a:gd name="T18" fmla="*/ 79 w 544"/>
                <a:gd name="T19" fmla="*/ 522 h 530"/>
                <a:gd name="T20" fmla="*/ 204 w 544"/>
                <a:gd name="T21" fmla="*/ 499 h 530"/>
                <a:gd name="T22" fmla="*/ 267 w 544"/>
                <a:gd name="T23" fmla="*/ 400 h 530"/>
                <a:gd name="T24" fmla="*/ 330 w 544"/>
                <a:gd name="T25" fmla="*/ 405 h 530"/>
                <a:gd name="T26" fmla="*/ 291 w 544"/>
                <a:gd name="T27" fmla="*/ 495 h 530"/>
                <a:gd name="T28" fmla="*/ 395 w 544"/>
                <a:gd name="T29" fmla="*/ 482 h 530"/>
                <a:gd name="T30" fmla="*/ 385 w 544"/>
                <a:gd name="T31" fmla="*/ 497 h 530"/>
                <a:gd name="T32" fmla="*/ 508 w 544"/>
                <a:gd name="T33" fmla="*/ 473 h 530"/>
                <a:gd name="T34" fmla="*/ 280 w 544"/>
                <a:gd name="T35" fmla="*/ 5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4" h="530">
                  <a:moveTo>
                    <a:pt x="280" y="50"/>
                  </a:moveTo>
                  <a:cubicBezTo>
                    <a:pt x="280" y="50"/>
                    <a:pt x="280" y="50"/>
                    <a:pt x="280" y="50"/>
                  </a:cubicBezTo>
                  <a:cubicBezTo>
                    <a:pt x="257" y="45"/>
                    <a:pt x="232" y="44"/>
                    <a:pt x="202" y="48"/>
                  </a:cubicBezTo>
                  <a:cubicBezTo>
                    <a:pt x="202" y="48"/>
                    <a:pt x="148" y="53"/>
                    <a:pt x="98" y="87"/>
                  </a:cubicBezTo>
                  <a:cubicBezTo>
                    <a:pt x="58" y="114"/>
                    <a:pt x="0" y="173"/>
                    <a:pt x="64" y="333"/>
                  </a:cubicBezTo>
                  <a:cubicBezTo>
                    <a:pt x="95" y="388"/>
                    <a:pt x="95" y="388"/>
                    <a:pt x="95" y="388"/>
                  </a:cubicBezTo>
                  <a:cubicBezTo>
                    <a:pt x="85" y="508"/>
                    <a:pt x="36" y="509"/>
                    <a:pt x="36" y="509"/>
                  </a:cubicBezTo>
                  <a:cubicBezTo>
                    <a:pt x="36" y="509"/>
                    <a:pt x="57" y="519"/>
                    <a:pt x="68" y="519"/>
                  </a:cubicBezTo>
                  <a:cubicBezTo>
                    <a:pt x="68" y="519"/>
                    <a:pt x="83" y="513"/>
                    <a:pt x="86" y="505"/>
                  </a:cubicBezTo>
                  <a:cubicBezTo>
                    <a:pt x="86" y="505"/>
                    <a:pt x="83" y="518"/>
                    <a:pt x="79" y="522"/>
                  </a:cubicBezTo>
                  <a:cubicBezTo>
                    <a:pt x="79" y="522"/>
                    <a:pt x="162" y="530"/>
                    <a:pt x="204" y="499"/>
                  </a:cubicBezTo>
                  <a:cubicBezTo>
                    <a:pt x="227" y="482"/>
                    <a:pt x="251" y="441"/>
                    <a:pt x="267" y="400"/>
                  </a:cubicBezTo>
                  <a:cubicBezTo>
                    <a:pt x="330" y="405"/>
                    <a:pt x="330" y="405"/>
                    <a:pt x="330" y="405"/>
                  </a:cubicBezTo>
                  <a:cubicBezTo>
                    <a:pt x="331" y="432"/>
                    <a:pt x="321" y="463"/>
                    <a:pt x="291" y="495"/>
                  </a:cubicBezTo>
                  <a:cubicBezTo>
                    <a:pt x="291" y="495"/>
                    <a:pt x="369" y="503"/>
                    <a:pt x="395" y="482"/>
                  </a:cubicBezTo>
                  <a:cubicBezTo>
                    <a:pt x="395" y="482"/>
                    <a:pt x="390" y="492"/>
                    <a:pt x="385" y="497"/>
                  </a:cubicBezTo>
                  <a:cubicBezTo>
                    <a:pt x="385" y="497"/>
                    <a:pt x="472" y="500"/>
                    <a:pt x="508" y="473"/>
                  </a:cubicBezTo>
                  <a:cubicBezTo>
                    <a:pt x="544" y="446"/>
                    <a:pt x="521" y="0"/>
                    <a:pt x="280" y="50"/>
                  </a:cubicBezTo>
                  <a:close/>
                </a:path>
              </a:pathLst>
            </a:custGeom>
            <a:solidFill>
              <a:srgbClr val="233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107">
              <a:extLst>
                <a:ext uri="{FF2B5EF4-FFF2-40B4-BE49-F238E27FC236}">
                  <a16:creationId xmlns:a16="http://schemas.microsoft.com/office/drawing/2014/main" id="{DE916324-9669-4B82-AA2E-74862CFF4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2071"/>
              <a:ext cx="473" cy="467"/>
            </a:xfrm>
            <a:custGeom>
              <a:avLst/>
              <a:gdLst>
                <a:gd name="T0" fmla="*/ 628 w 628"/>
                <a:gd name="T1" fmla="*/ 620 h 620"/>
                <a:gd name="T2" fmla="*/ 12 w 628"/>
                <a:gd name="T3" fmla="*/ 620 h 620"/>
                <a:gd name="T4" fmla="*/ 3 w 628"/>
                <a:gd name="T5" fmla="*/ 485 h 620"/>
                <a:gd name="T6" fmla="*/ 58 w 628"/>
                <a:gd name="T7" fmla="*/ 344 h 620"/>
                <a:gd name="T8" fmla="*/ 161 w 628"/>
                <a:gd name="T9" fmla="*/ 239 h 620"/>
                <a:gd name="T10" fmla="*/ 165 w 628"/>
                <a:gd name="T11" fmla="*/ 239 h 620"/>
                <a:gd name="T12" fmla="*/ 185 w 628"/>
                <a:gd name="T13" fmla="*/ 236 h 620"/>
                <a:gd name="T14" fmla="*/ 185 w 628"/>
                <a:gd name="T15" fmla="*/ 236 h 620"/>
                <a:gd name="T16" fmla="*/ 197 w 628"/>
                <a:gd name="T17" fmla="*/ 171 h 620"/>
                <a:gd name="T18" fmla="*/ 197 w 628"/>
                <a:gd name="T19" fmla="*/ 143 h 620"/>
                <a:gd name="T20" fmla="*/ 197 w 628"/>
                <a:gd name="T21" fmla="*/ 119 h 620"/>
                <a:gd name="T22" fmla="*/ 196 w 628"/>
                <a:gd name="T23" fmla="*/ 108 h 620"/>
                <a:gd name="T24" fmla="*/ 196 w 628"/>
                <a:gd name="T25" fmla="*/ 105 h 620"/>
                <a:gd name="T26" fmla="*/ 196 w 628"/>
                <a:gd name="T27" fmla="*/ 100 h 620"/>
                <a:gd name="T28" fmla="*/ 196 w 628"/>
                <a:gd name="T29" fmla="*/ 97 h 620"/>
                <a:gd name="T30" fmla="*/ 196 w 628"/>
                <a:gd name="T31" fmla="*/ 91 h 620"/>
                <a:gd name="T32" fmla="*/ 195 w 628"/>
                <a:gd name="T33" fmla="*/ 84 h 620"/>
                <a:gd name="T34" fmla="*/ 195 w 628"/>
                <a:gd name="T35" fmla="*/ 82 h 620"/>
                <a:gd name="T36" fmla="*/ 195 w 628"/>
                <a:gd name="T37" fmla="*/ 76 h 620"/>
                <a:gd name="T38" fmla="*/ 195 w 628"/>
                <a:gd name="T39" fmla="*/ 68 h 620"/>
                <a:gd name="T40" fmla="*/ 195 w 628"/>
                <a:gd name="T41" fmla="*/ 67 h 620"/>
                <a:gd name="T42" fmla="*/ 194 w 628"/>
                <a:gd name="T43" fmla="*/ 56 h 620"/>
                <a:gd name="T44" fmla="*/ 194 w 628"/>
                <a:gd name="T45" fmla="*/ 53 h 620"/>
                <a:gd name="T46" fmla="*/ 194 w 628"/>
                <a:gd name="T47" fmla="*/ 51 h 620"/>
                <a:gd name="T48" fmla="*/ 193 w 628"/>
                <a:gd name="T49" fmla="*/ 48 h 620"/>
                <a:gd name="T50" fmla="*/ 193 w 628"/>
                <a:gd name="T51" fmla="*/ 41 h 620"/>
                <a:gd name="T52" fmla="*/ 193 w 628"/>
                <a:gd name="T53" fmla="*/ 40 h 620"/>
                <a:gd name="T54" fmla="*/ 193 w 628"/>
                <a:gd name="T55" fmla="*/ 39 h 620"/>
                <a:gd name="T56" fmla="*/ 193 w 628"/>
                <a:gd name="T57" fmla="*/ 36 h 620"/>
                <a:gd name="T58" fmla="*/ 297 w 628"/>
                <a:gd name="T59" fmla="*/ 16 h 620"/>
                <a:gd name="T60" fmla="*/ 297 w 628"/>
                <a:gd name="T61" fmla="*/ 16 h 620"/>
                <a:gd name="T62" fmla="*/ 368 w 628"/>
                <a:gd name="T63" fmla="*/ 2 h 620"/>
                <a:gd name="T64" fmla="*/ 376 w 628"/>
                <a:gd name="T65" fmla="*/ 0 h 620"/>
                <a:gd name="T66" fmla="*/ 378 w 628"/>
                <a:gd name="T67" fmla="*/ 0 h 620"/>
                <a:gd name="T68" fmla="*/ 378 w 628"/>
                <a:gd name="T69" fmla="*/ 0 h 620"/>
                <a:gd name="T70" fmla="*/ 382 w 628"/>
                <a:gd name="T71" fmla="*/ 74 h 620"/>
                <a:gd name="T72" fmla="*/ 391 w 628"/>
                <a:gd name="T73" fmla="*/ 126 h 620"/>
                <a:gd name="T74" fmla="*/ 391 w 628"/>
                <a:gd name="T75" fmla="*/ 126 h 620"/>
                <a:gd name="T76" fmla="*/ 439 w 628"/>
                <a:gd name="T77" fmla="*/ 224 h 620"/>
                <a:gd name="T78" fmla="*/ 439 w 628"/>
                <a:gd name="T79" fmla="*/ 224 h 620"/>
                <a:gd name="T80" fmla="*/ 440 w 628"/>
                <a:gd name="T81" fmla="*/ 224 h 620"/>
                <a:gd name="T82" fmla="*/ 628 w 628"/>
                <a:gd name="T83" fmla="*/ 62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" h="620">
                  <a:moveTo>
                    <a:pt x="628" y="620"/>
                  </a:moveTo>
                  <a:cubicBezTo>
                    <a:pt x="12" y="620"/>
                    <a:pt x="12" y="620"/>
                    <a:pt x="12" y="620"/>
                  </a:cubicBezTo>
                  <a:cubicBezTo>
                    <a:pt x="4" y="572"/>
                    <a:pt x="0" y="528"/>
                    <a:pt x="3" y="485"/>
                  </a:cubicBezTo>
                  <a:cubicBezTo>
                    <a:pt x="6" y="431"/>
                    <a:pt x="30" y="383"/>
                    <a:pt x="58" y="344"/>
                  </a:cubicBezTo>
                  <a:cubicBezTo>
                    <a:pt x="104" y="279"/>
                    <a:pt x="161" y="239"/>
                    <a:pt x="161" y="239"/>
                  </a:cubicBezTo>
                  <a:cubicBezTo>
                    <a:pt x="161" y="239"/>
                    <a:pt x="162" y="239"/>
                    <a:pt x="165" y="239"/>
                  </a:cubicBezTo>
                  <a:cubicBezTo>
                    <a:pt x="169" y="238"/>
                    <a:pt x="177" y="237"/>
                    <a:pt x="185" y="236"/>
                  </a:cubicBezTo>
                  <a:cubicBezTo>
                    <a:pt x="185" y="236"/>
                    <a:pt x="185" y="236"/>
                    <a:pt x="185" y="236"/>
                  </a:cubicBezTo>
                  <a:cubicBezTo>
                    <a:pt x="192" y="232"/>
                    <a:pt x="196" y="204"/>
                    <a:pt x="197" y="171"/>
                  </a:cubicBezTo>
                  <a:cubicBezTo>
                    <a:pt x="197" y="162"/>
                    <a:pt x="197" y="153"/>
                    <a:pt x="197" y="143"/>
                  </a:cubicBezTo>
                  <a:cubicBezTo>
                    <a:pt x="197" y="135"/>
                    <a:pt x="197" y="127"/>
                    <a:pt x="197" y="119"/>
                  </a:cubicBezTo>
                  <a:cubicBezTo>
                    <a:pt x="196" y="115"/>
                    <a:pt x="196" y="112"/>
                    <a:pt x="196" y="108"/>
                  </a:cubicBezTo>
                  <a:cubicBezTo>
                    <a:pt x="196" y="107"/>
                    <a:pt x="196" y="106"/>
                    <a:pt x="196" y="105"/>
                  </a:cubicBezTo>
                  <a:cubicBezTo>
                    <a:pt x="196" y="103"/>
                    <a:pt x="196" y="102"/>
                    <a:pt x="196" y="100"/>
                  </a:cubicBezTo>
                  <a:cubicBezTo>
                    <a:pt x="196" y="99"/>
                    <a:pt x="196" y="98"/>
                    <a:pt x="196" y="97"/>
                  </a:cubicBezTo>
                  <a:cubicBezTo>
                    <a:pt x="196" y="95"/>
                    <a:pt x="196" y="93"/>
                    <a:pt x="196" y="91"/>
                  </a:cubicBezTo>
                  <a:cubicBezTo>
                    <a:pt x="196" y="89"/>
                    <a:pt x="195" y="86"/>
                    <a:pt x="195" y="84"/>
                  </a:cubicBezTo>
                  <a:cubicBezTo>
                    <a:pt x="195" y="83"/>
                    <a:pt x="195" y="83"/>
                    <a:pt x="195" y="82"/>
                  </a:cubicBezTo>
                  <a:cubicBezTo>
                    <a:pt x="195" y="80"/>
                    <a:pt x="195" y="78"/>
                    <a:pt x="195" y="76"/>
                  </a:cubicBezTo>
                  <a:cubicBezTo>
                    <a:pt x="195" y="73"/>
                    <a:pt x="195" y="71"/>
                    <a:pt x="195" y="68"/>
                  </a:cubicBezTo>
                  <a:cubicBezTo>
                    <a:pt x="195" y="67"/>
                    <a:pt x="195" y="67"/>
                    <a:pt x="195" y="67"/>
                  </a:cubicBezTo>
                  <a:cubicBezTo>
                    <a:pt x="194" y="63"/>
                    <a:pt x="194" y="59"/>
                    <a:pt x="194" y="56"/>
                  </a:cubicBezTo>
                  <a:cubicBezTo>
                    <a:pt x="194" y="55"/>
                    <a:pt x="194" y="54"/>
                    <a:pt x="194" y="53"/>
                  </a:cubicBezTo>
                  <a:cubicBezTo>
                    <a:pt x="194" y="52"/>
                    <a:pt x="194" y="52"/>
                    <a:pt x="194" y="51"/>
                  </a:cubicBezTo>
                  <a:cubicBezTo>
                    <a:pt x="194" y="50"/>
                    <a:pt x="194" y="49"/>
                    <a:pt x="193" y="48"/>
                  </a:cubicBezTo>
                  <a:cubicBezTo>
                    <a:pt x="193" y="45"/>
                    <a:pt x="193" y="43"/>
                    <a:pt x="193" y="41"/>
                  </a:cubicBezTo>
                  <a:cubicBezTo>
                    <a:pt x="193" y="41"/>
                    <a:pt x="193" y="40"/>
                    <a:pt x="193" y="40"/>
                  </a:cubicBezTo>
                  <a:cubicBezTo>
                    <a:pt x="193" y="40"/>
                    <a:pt x="193" y="39"/>
                    <a:pt x="193" y="39"/>
                  </a:cubicBezTo>
                  <a:cubicBezTo>
                    <a:pt x="193" y="37"/>
                    <a:pt x="193" y="36"/>
                    <a:pt x="193" y="3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368" y="2"/>
                    <a:pt x="368" y="2"/>
                    <a:pt x="368" y="2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26"/>
                    <a:pt x="380" y="51"/>
                    <a:pt x="382" y="74"/>
                  </a:cubicBezTo>
                  <a:cubicBezTo>
                    <a:pt x="385" y="93"/>
                    <a:pt x="388" y="110"/>
                    <a:pt x="391" y="126"/>
                  </a:cubicBezTo>
                  <a:cubicBezTo>
                    <a:pt x="391" y="126"/>
                    <a:pt x="391" y="126"/>
                    <a:pt x="391" y="126"/>
                  </a:cubicBezTo>
                  <a:cubicBezTo>
                    <a:pt x="404" y="183"/>
                    <a:pt x="424" y="218"/>
                    <a:pt x="439" y="224"/>
                  </a:cubicBezTo>
                  <a:cubicBezTo>
                    <a:pt x="439" y="224"/>
                    <a:pt x="439" y="224"/>
                    <a:pt x="439" y="224"/>
                  </a:cubicBezTo>
                  <a:cubicBezTo>
                    <a:pt x="439" y="224"/>
                    <a:pt x="440" y="224"/>
                    <a:pt x="440" y="224"/>
                  </a:cubicBezTo>
                  <a:cubicBezTo>
                    <a:pt x="511" y="239"/>
                    <a:pt x="619" y="423"/>
                    <a:pt x="628" y="620"/>
                  </a:cubicBezTo>
                  <a:close/>
                </a:path>
              </a:pathLst>
            </a:custGeom>
            <a:solidFill>
              <a:srgbClr val="D99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108">
              <a:extLst>
                <a:ext uri="{FF2B5EF4-FFF2-40B4-BE49-F238E27FC236}">
                  <a16:creationId xmlns:a16="http://schemas.microsoft.com/office/drawing/2014/main" id="{EAB4A86F-61A0-4356-B455-43A33CD10B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4" y="2073"/>
              <a:ext cx="132" cy="106"/>
            </a:xfrm>
            <a:custGeom>
              <a:avLst/>
              <a:gdLst>
                <a:gd name="T0" fmla="*/ 0 w 175"/>
                <a:gd name="T1" fmla="*/ 34 h 141"/>
                <a:gd name="T2" fmla="*/ 4 w 175"/>
                <a:gd name="T3" fmla="*/ 141 h 141"/>
                <a:gd name="T4" fmla="*/ 175 w 175"/>
                <a:gd name="T5" fmla="*/ 0 h 141"/>
                <a:gd name="T6" fmla="*/ 0 w 175"/>
                <a:gd name="T7" fmla="*/ 3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5" h="141">
                  <a:moveTo>
                    <a:pt x="0" y="34"/>
                  </a:moveTo>
                  <a:cubicBezTo>
                    <a:pt x="0" y="34"/>
                    <a:pt x="4" y="89"/>
                    <a:pt x="4" y="141"/>
                  </a:cubicBezTo>
                  <a:cubicBezTo>
                    <a:pt x="102" y="139"/>
                    <a:pt x="154" y="49"/>
                    <a:pt x="175" y="0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CB7D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 109">
              <a:extLst>
                <a:ext uri="{FF2B5EF4-FFF2-40B4-BE49-F238E27FC236}">
                  <a16:creationId xmlns:a16="http://schemas.microsoft.com/office/drawing/2014/main" id="{0CFE6AA0-1C21-4419-B54F-66EFE220A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5" y="1834"/>
              <a:ext cx="262" cy="304"/>
            </a:xfrm>
            <a:custGeom>
              <a:avLst/>
              <a:gdLst>
                <a:gd name="T0" fmla="*/ 86 w 348"/>
                <a:gd name="T1" fmla="*/ 399 h 403"/>
                <a:gd name="T2" fmla="*/ 318 w 348"/>
                <a:gd name="T3" fmla="*/ 259 h 403"/>
                <a:gd name="T4" fmla="*/ 200 w 348"/>
                <a:gd name="T5" fmla="*/ 9 h 403"/>
                <a:gd name="T6" fmla="*/ 11 w 348"/>
                <a:gd name="T7" fmla="*/ 104 h 403"/>
                <a:gd name="T8" fmla="*/ 86 w 348"/>
                <a:gd name="T9" fmla="*/ 399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8" h="403">
                  <a:moveTo>
                    <a:pt x="86" y="399"/>
                  </a:moveTo>
                  <a:cubicBezTo>
                    <a:pt x="86" y="399"/>
                    <a:pt x="318" y="403"/>
                    <a:pt x="318" y="259"/>
                  </a:cubicBezTo>
                  <a:cubicBezTo>
                    <a:pt x="318" y="114"/>
                    <a:pt x="348" y="17"/>
                    <a:pt x="200" y="9"/>
                  </a:cubicBezTo>
                  <a:cubicBezTo>
                    <a:pt x="52" y="0"/>
                    <a:pt x="23" y="55"/>
                    <a:pt x="11" y="104"/>
                  </a:cubicBezTo>
                  <a:cubicBezTo>
                    <a:pt x="0" y="152"/>
                    <a:pt x="26" y="395"/>
                    <a:pt x="86" y="399"/>
                  </a:cubicBezTo>
                  <a:close/>
                </a:path>
              </a:pathLst>
            </a:custGeom>
            <a:solidFill>
              <a:srgbClr val="D99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110">
              <a:extLst>
                <a:ext uri="{FF2B5EF4-FFF2-40B4-BE49-F238E27FC236}">
                  <a16:creationId xmlns:a16="http://schemas.microsoft.com/office/drawing/2014/main" id="{52DD68BD-E5BE-45DF-A81A-0B23E3C2A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6" y="1777"/>
              <a:ext cx="226" cy="227"/>
            </a:xfrm>
            <a:custGeom>
              <a:avLst/>
              <a:gdLst>
                <a:gd name="T0" fmla="*/ 0 w 300"/>
                <a:gd name="T1" fmla="*/ 81 h 301"/>
                <a:gd name="T2" fmla="*/ 161 w 300"/>
                <a:gd name="T3" fmla="*/ 276 h 301"/>
                <a:gd name="T4" fmla="*/ 300 w 300"/>
                <a:gd name="T5" fmla="*/ 275 h 301"/>
                <a:gd name="T6" fmla="*/ 210 w 300"/>
                <a:gd name="T7" fmla="*/ 112 h 301"/>
                <a:gd name="T8" fmla="*/ 0 w 300"/>
                <a:gd name="T9" fmla="*/ 8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301">
                  <a:moveTo>
                    <a:pt x="0" y="81"/>
                  </a:moveTo>
                  <a:cubicBezTo>
                    <a:pt x="0" y="81"/>
                    <a:pt x="63" y="251"/>
                    <a:pt x="161" y="276"/>
                  </a:cubicBezTo>
                  <a:cubicBezTo>
                    <a:pt x="258" y="301"/>
                    <a:pt x="300" y="275"/>
                    <a:pt x="300" y="275"/>
                  </a:cubicBezTo>
                  <a:cubicBezTo>
                    <a:pt x="300" y="275"/>
                    <a:pt x="226" y="215"/>
                    <a:pt x="210" y="112"/>
                  </a:cubicBezTo>
                  <a:cubicBezTo>
                    <a:pt x="210" y="112"/>
                    <a:pt x="47" y="0"/>
                    <a:pt x="0" y="81"/>
                  </a:cubicBezTo>
                  <a:close/>
                </a:path>
              </a:pathLst>
            </a:custGeom>
            <a:solidFill>
              <a:srgbClr val="233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111">
              <a:extLst>
                <a:ext uri="{FF2B5EF4-FFF2-40B4-BE49-F238E27FC236}">
                  <a16:creationId xmlns:a16="http://schemas.microsoft.com/office/drawing/2014/main" id="{536FAFB7-2379-4FA9-AB5F-9F379EE3D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8" y="1800"/>
              <a:ext cx="109" cy="190"/>
            </a:xfrm>
            <a:custGeom>
              <a:avLst/>
              <a:gdLst>
                <a:gd name="T0" fmla="*/ 145 w 145"/>
                <a:gd name="T1" fmla="*/ 65 h 252"/>
                <a:gd name="T2" fmla="*/ 86 w 145"/>
                <a:gd name="T3" fmla="*/ 140 h 252"/>
                <a:gd name="T4" fmla="*/ 47 w 145"/>
                <a:gd name="T5" fmla="*/ 250 h 252"/>
                <a:gd name="T6" fmla="*/ 53 w 145"/>
                <a:gd name="T7" fmla="*/ 69 h 252"/>
                <a:gd name="T8" fmla="*/ 145 w 145"/>
                <a:gd name="T9" fmla="*/ 65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252">
                  <a:moveTo>
                    <a:pt x="145" y="65"/>
                  </a:moveTo>
                  <a:cubicBezTo>
                    <a:pt x="145" y="65"/>
                    <a:pt x="98" y="103"/>
                    <a:pt x="86" y="140"/>
                  </a:cubicBezTo>
                  <a:cubicBezTo>
                    <a:pt x="75" y="176"/>
                    <a:pt x="69" y="252"/>
                    <a:pt x="47" y="250"/>
                  </a:cubicBezTo>
                  <a:cubicBezTo>
                    <a:pt x="47" y="250"/>
                    <a:pt x="0" y="134"/>
                    <a:pt x="53" y="69"/>
                  </a:cubicBezTo>
                  <a:cubicBezTo>
                    <a:pt x="110" y="0"/>
                    <a:pt x="145" y="65"/>
                    <a:pt x="145" y="65"/>
                  </a:cubicBezTo>
                  <a:close/>
                </a:path>
              </a:pathLst>
            </a:custGeom>
            <a:solidFill>
              <a:srgbClr val="233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112">
              <a:extLst>
                <a:ext uri="{FF2B5EF4-FFF2-40B4-BE49-F238E27FC236}">
                  <a16:creationId xmlns:a16="http://schemas.microsoft.com/office/drawing/2014/main" id="{5FEB697E-AE8A-4BA4-B6E6-F7E3150B6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1" y="1771"/>
              <a:ext cx="127" cy="259"/>
            </a:xfrm>
            <a:custGeom>
              <a:avLst/>
              <a:gdLst>
                <a:gd name="T0" fmla="*/ 0 w 169"/>
                <a:gd name="T1" fmla="*/ 109 h 343"/>
                <a:gd name="T2" fmla="*/ 169 w 169"/>
                <a:gd name="T3" fmla="*/ 343 h 343"/>
                <a:gd name="T4" fmla="*/ 35 w 169"/>
                <a:gd name="T5" fmla="*/ 117 h 343"/>
                <a:gd name="T6" fmla="*/ 0 w 169"/>
                <a:gd name="T7" fmla="*/ 109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9" h="343">
                  <a:moveTo>
                    <a:pt x="0" y="109"/>
                  </a:moveTo>
                  <a:cubicBezTo>
                    <a:pt x="0" y="109"/>
                    <a:pt x="46" y="286"/>
                    <a:pt x="169" y="343"/>
                  </a:cubicBezTo>
                  <a:cubicBezTo>
                    <a:pt x="169" y="343"/>
                    <a:pt x="46" y="234"/>
                    <a:pt x="35" y="117"/>
                  </a:cubicBezTo>
                  <a:cubicBezTo>
                    <a:pt x="25" y="0"/>
                    <a:pt x="0" y="109"/>
                    <a:pt x="0" y="109"/>
                  </a:cubicBezTo>
                  <a:close/>
                </a:path>
              </a:pathLst>
            </a:custGeom>
            <a:solidFill>
              <a:srgbClr val="233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113">
              <a:extLst>
                <a:ext uri="{FF2B5EF4-FFF2-40B4-BE49-F238E27FC236}">
                  <a16:creationId xmlns:a16="http://schemas.microsoft.com/office/drawing/2014/main" id="{272844FC-369B-4837-8F58-FA24081F7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6" y="2159"/>
              <a:ext cx="610" cy="379"/>
            </a:xfrm>
            <a:custGeom>
              <a:avLst/>
              <a:gdLst>
                <a:gd name="T0" fmla="*/ 780 w 810"/>
                <a:gd name="T1" fmla="*/ 415 h 503"/>
                <a:gd name="T2" fmla="*/ 768 w 810"/>
                <a:gd name="T3" fmla="*/ 387 h 503"/>
                <a:gd name="T4" fmla="*/ 762 w 810"/>
                <a:gd name="T5" fmla="*/ 374 h 503"/>
                <a:gd name="T6" fmla="*/ 762 w 810"/>
                <a:gd name="T7" fmla="*/ 373 h 503"/>
                <a:gd name="T8" fmla="*/ 662 w 810"/>
                <a:gd name="T9" fmla="*/ 143 h 503"/>
                <a:gd name="T10" fmla="*/ 462 w 810"/>
                <a:gd name="T11" fmla="*/ 103 h 503"/>
                <a:gd name="T12" fmla="*/ 432 w 810"/>
                <a:gd name="T13" fmla="*/ 14 h 503"/>
                <a:gd name="T14" fmla="*/ 413 w 810"/>
                <a:gd name="T15" fmla="*/ 5 h 503"/>
                <a:gd name="T16" fmla="*/ 408 w 810"/>
                <a:gd name="T17" fmla="*/ 9 h 503"/>
                <a:gd name="T18" fmla="*/ 402 w 810"/>
                <a:gd name="T19" fmla="*/ 13 h 503"/>
                <a:gd name="T20" fmla="*/ 395 w 810"/>
                <a:gd name="T21" fmla="*/ 17 h 503"/>
                <a:gd name="T22" fmla="*/ 391 w 810"/>
                <a:gd name="T23" fmla="*/ 19 h 503"/>
                <a:gd name="T24" fmla="*/ 386 w 810"/>
                <a:gd name="T25" fmla="*/ 22 h 503"/>
                <a:gd name="T26" fmla="*/ 382 w 810"/>
                <a:gd name="T27" fmla="*/ 24 h 503"/>
                <a:gd name="T28" fmla="*/ 377 w 810"/>
                <a:gd name="T29" fmla="*/ 26 h 503"/>
                <a:gd name="T30" fmla="*/ 373 w 810"/>
                <a:gd name="T31" fmla="*/ 29 h 503"/>
                <a:gd name="T32" fmla="*/ 369 w 810"/>
                <a:gd name="T33" fmla="*/ 30 h 503"/>
                <a:gd name="T34" fmla="*/ 363 w 810"/>
                <a:gd name="T35" fmla="*/ 33 h 503"/>
                <a:gd name="T36" fmla="*/ 358 w 810"/>
                <a:gd name="T37" fmla="*/ 35 h 503"/>
                <a:gd name="T38" fmla="*/ 355 w 810"/>
                <a:gd name="T39" fmla="*/ 36 h 503"/>
                <a:gd name="T40" fmla="*/ 337 w 810"/>
                <a:gd name="T41" fmla="*/ 43 h 503"/>
                <a:gd name="T42" fmla="*/ 214 w 810"/>
                <a:gd name="T43" fmla="*/ 54 h 503"/>
                <a:gd name="T44" fmla="*/ 212 w 810"/>
                <a:gd name="T45" fmla="*/ 54 h 503"/>
                <a:gd name="T46" fmla="*/ 188 w 810"/>
                <a:gd name="T47" fmla="*/ 76 h 503"/>
                <a:gd name="T48" fmla="*/ 184 w 810"/>
                <a:gd name="T49" fmla="*/ 120 h 503"/>
                <a:gd name="T50" fmla="*/ 22 w 810"/>
                <a:gd name="T51" fmla="*/ 191 h 503"/>
                <a:gd name="T52" fmla="*/ 0 w 810"/>
                <a:gd name="T53" fmla="*/ 503 h 503"/>
                <a:gd name="T54" fmla="*/ 16 w 810"/>
                <a:gd name="T55" fmla="*/ 503 h 503"/>
                <a:gd name="T56" fmla="*/ 210 w 810"/>
                <a:gd name="T57" fmla="*/ 503 h 503"/>
                <a:gd name="T58" fmla="*/ 732 w 810"/>
                <a:gd name="T59" fmla="*/ 503 h 503"/>
                <a:gd name="T60" fmla="*/ 796 w 810"/>
                <a:gd name="T61" fmla="*/ 493 h 503"/>
                <a:gd name="T62" fmla="*/ 810 w 810"/>
                <a:gd name="T63" fmla="*/ 488 h 503"/>
                <a:gd name="T64" fmla="*/ 780 w 810"/>
                <a:gd name="T65" fmla="*/ 41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10" h="503">
                  <a:moveTo>
                    <a:pt x="780" y="415"/>
                  </a:moveTo>
                  <a:cubicBezTo>
                    <a:pt x="776" y="406"/>
                    <a:pt x="772" y="397"/>
                    <a:pt x="768" y="387"/>
                  </a:cubicBezTo>
                  <a:cubicBezTo>
                    <a:pt x="766" y="383"/>
                    <a:pt x="764" y="378"/>
                    <a:pt x="762" y="374"/>
                  </a:cubicBezTo>
                  <a:cubicBezTo>
                    <a:pt x="762" y="374"/>
                    <a:pt x="762" y="373"/>
                    <a:pt x="762" y="373"/>
                  </a:cubicBezTo>
                  <a:cubicBezTo>
                    <a:pt x="708" y="246"/>
                    <a:pt x="666" y="150"/>
                    <a:pt x="662" y="143"/>
                  </a:cubicBezTo>
                  <a:cubicBezTo>
                    <a:pt x="650" y="123"/>
                    <a:pt x="486" y="103"/>
                    <a:pt x="462" y="103"/>
                  </a:cubicBezTo>
                  <a:cubicBezTo>
                    <a:pt x="445" y="103"/>
                    <a:pt x="435" y="45"/>
                    <a:pt x="432" y="14"/>
                  </a:cubicBezTo>
                  <a:cubicBezTo>
                    <a:pt x="430" y="5"/>
                    <a:pt x="421" y="0"/>
                    <a:pt x="413" y="5"/>
                  </a:cubicBezTo>
                  <a:cubicBezTo>
                    <a:pt x="412" y="7"/>
                    <a:pt x="410" y="8"/>
                    <a:pt x="408" y="9"/>
                  </a:cubicBezTo>
                  <a:cubicBezTo>
                    <a:pt x="406" y="10"/>
                    <a:pt x="404" y="12"/>
                    <a:pt x="402" y="13"/>
                  </a:cubicBezTo>
                  <a:cubicBezTo>
                    <a:pt x="400" y="14"/>
                    <a:pt x="397" y="15"/>
                    <a:pt x="395" y="17"/>
                  </a:cubicBezTo>
                  <a:cubicBezTo>
                    <a:pt x="394" y="18"/>
                    <a:pt x="392" y="18"/>
                    <a:pt x="391" y="19"/>
                  </a:cubicBezTo>
                  <a:cubicBezTo>
                    <a:pt x="389" y="20"/>
                    <a:pt x="388" y="21"/>
                    <a:pt x="386" y="22"/>
                  </a:cubicBezTo>
                  <a:cubicBezTo>
                    <a:pt x="385" y="23"/>
                    <a:pt x="383" y="23"/>
                    <a:pt x="382" y="24"/>
                  </a:cubicBezTo>
                  <a:cubicBezTo>
                    <a:pt x="380" y="25"/>
                    <a:pt x="379" y="26"/>
                    <a:pt x="377" y="26"/>
                  </a:cubicBezTo>
                  <a:cubicBezTo>
                    <a:pt x="376" y="27"/>
                    <a:pt x="374" y="28"/>
                    <a:pt x="373" y="29"/>
                  </a:cubicBezTo>
                  <a:cubicBezTo>
                    <a:pt x="371" y="29"/>
                    <a:pt x="370" y="30"/>
                    <a:pt x="369" y="30"/>
                  </a:cubicBezTo>
                  <a:cubicBezTo>
                    <a:pt x="367" y="31"/>
                    <a:pt x="365" y="32"/>
                    <a:pt x="363" y="33"/>
                  </a:cubicBezTo>
                  <a:cubicBezTo>
                    <a:pt x="361" y="34"/>
                    <a:pt x="359" y="34"/>
                    <a:pt x="358" y="35"/>
                  </a:cubicBezTo>
                  <a:cubicBezTo>
                    <a:pt x="357" y="36"/>
                    <a:pt x="356" y="36"/>
                    <a:pt x="355" y="36"/>
                  </a:cubicBezTo>
                  <a:cubicBezTo>
                    <a:pt x="349" y="39"/>
                    <a:pt x="343" y="41"/>
                    <a:pt x="337" y="43"/>
                  </a:cubicBezTo>
                  <a:cubicBezTo>
                    <a:pt x="287" y="59"/>
                    <a:pt x="240" y="61"/>
                    <a:pt x="214" y="54"/>
                  </a:cubicBezTo>
                  <a:cubicBezTo>
                    <a:pt x="213" y="54"/>
                    <a:pt x="212" y="54"/>
                    <a:pt x="212" y="54"/>
                  </a:cubicBezTo>
                  <a:cubicBezTo>
                    <a:pt x="198" y="50"/>
                    <a:pt x="185" y="63"/>
                    <a:pt x="188" y="76"/>
                  </a:cubicBezTo>
                  <a:cubicBezTo>
                    <a:pt x="192" y="93"/>
                    <a:pt x="193" y="111"/>
                    <a:pt x="184" y="120"/>
                  </a:cubicBezTo>
                  <a:cubicBezTo>
                    <a:pt x="142" y="129"/>
                    <a:pt x="41" y="155"/>
                    <a:pt x="22" y="191"/>
                  </a:cubicBezTo>
                  <a:cubicBezTo>
                    <a:pt x="9" y="216"/>
                    <a:pt x="7" y="368"/>
                    <a:pt x="0" y="503"/>
                  </a:cubicBezTo>
                  <a:cubicBezTo>
                    <a:pt x="16" y="503"/>
                    <a:pt x="16" y="503"/>
                    <a:pt x="16" y="503"/>
                  </a:cubicBezTo>
                  <a:cubicBezTo>
                    <a:pt x="210" y="503"/>
                    <a:pt x="210" y="503"/>
                    <a:pt x="210" y="503"/>
                  </a:cubicBezTo>
                  <a:cubicBezTo>
                    <a:pt x="732" y="503"/>
                    <a:pt x="732" y="503"/>
                    <a:pt x="732" y="503"/>
                  </a:cubicBezTo>
                  <a:cubicBezTo>
                    <a:pt x="755" y="503"/>
                    <a:pt x="776" y="500"/>
                    <a:pt x="796" y="493"/>
                  </a:cubicBezTo>
                  <a:cubicBezTo>
                    <a:pt x="801" y="492"/>
                    <a:pt x="805" y="490"/>
                    <a:pt x="810" y="488"/>
                  </a:cubicBezTo>
                  <a:cubicBezTo>
                    <a:pt x="799" y="463"/>
                    <a:pt x="789" y="439"/>
                    <a:pt x="780" y="415"/>
                  </a:cubicBezTo>
                  <a:close/>
                </a:path>
              </a:pathLst>
            </a:custGeom>
            <a:solidFill>
              <a:srgbClr val="F997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14">
              <a:extLst>
                <a:ext uri="{FF2B5EF4-FFF2-40B4-BE49-F238E27FC236}">
                  <a16:creationId xmlns:a16="http://schemas.microsoft.com/office/drawing/2014/main" id="{C75E307D-70B2-4BBB-8FAA-7FA0C499EF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2" y="2483"/>
              <a:ext cx="74" cy="55"/>
            </a:xfrm>
            <a:custGeom>
              <a:avLst/>
              <a:gdLst>
                <a:gd name="T0" fmla="*/ 98 w 98"/>
                <a:gd name="T1" fmla="*/ 74 h 74"/>
                <a:gd name="T2" fmla="*/ 0 w 98"/>
                <a:gd name="T3" fmla="*/ 74 h 74"/>
                <a:gd name="T4" fmla="*/ 62 w 98"/>
                <a:gd name="T5" fmla="*/ 1 h 74"/>
                <a:gd name="T6" fmla="*/ 98 w 98"/>
                <a:gd name="T7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74">
                  <a:moveTo>
                    <a:pt x="98" y="74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25" y="33"/>
                    <a:pt x="49" y="3"/>
                    <a:pt x="62" y="1"/>
                  </a:cubicBezTo>
                  <a:cubicBezTo>
                    <a:pt x="74" y="0"/>
                    <a:pt x="87" y="31"/>
                    <a:pt x="98" y="74"/>
                  </a:cubicBezTo>
                  <a:close/>
                </a:path>
              </a:pathLst>
            </a:custGeom>
            <a:solidFill>
              <a:srgbClr val="ED7D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115">
              <a:extLst>
                <a:ext uri="{FF2B5EF4-FFF2-40B4-BE49-F238E27FC236}">
                  <a16:creationId xmlns:a16="http://schemas.microsoft.com/office/drawing/2014/main" id="{1C16546C-ED0C-496E-89FA-8CAC11ED1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6" y="2159"/>
              <a:ext cx="178" cy="136"/>
            </a:xfrm>
            <a:custGeom>
              <a:avLst/>
              <a:gdLst>
                <a:gd name="T0" fmla="*/ 237 w 237"/>
                <a:gd name="T1" fmla="*/ 103 h 180"/>
                <a:gd name="T2" fmla="*/ 22 w 237"/>
                <a:gd name="T3" fmla="*/ 162 h 180"/>
                <a:gd name="T4" fmla="*/ 31 w 237"/>
                <a:gd name="T5" fmla="*/ 134 h 180"/>
                <a:gd name="T6" fmla="*/ 112 w 237"/>
                <a:gd name="T7" fmla="*/ 43 h 180"/>
                <a:gd name="T8" fmla="*/ 188 w 237"/>
                <a:gd name="T9" fmla="*/ 5 h 180"/>
                <a:gd name="T10" fmla="*/ 206 w 237"/>
                <a:gd name="T11" fmla="*/ 14 h 180"/>
                <a:gd name="T12" fmla="*/ 237 w 237"/>
                <a:gd name="T13" fmla="*/ 103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" h="180">
                  <a:moveTo>
                    <a:pt x="237" y="103"/>
                  </a:moveTo>
                  <a:cubicBezTo>
                    <a:pt x="237" y="103"/>
                    <a:pt x="115" y="180"/>
                    <a:pt x="22" y="162"/>
                  </a:cubicBezTo>
                  <a:cubicBezTo>
                    <a:pt x="22" y="162"/>
                    <a:pt x="0" y="148"/>
                    <a:pt x="31" y="134"/>
                  </a:cubicBezTo>
                  <a:cubicBezTo>
                    <a:pt x="60" y="121"/>
                    <a:pt x="126" y="81"/>
                    <a:pt x="112" y="43"/>
                  </a:cubicBezTo>
                  <a:cubicBezTo>
                    <a:pt x="137" y="35"/>
                    <a:pt x="163" y="22"/>
                    <a:pt x="188" y="5"/>
                  </a:cubicBezTo>
                  <a:cubicBezTo>
                    <a:pt x="196" y="0"/>
                    <a:pt x="205" y="5"/>
                    <a:pt x="206" y="14"/>
                  </a:cubicBezTo>
                  <a:cubicBezTo>
                    <a:pt x="210" y="45"/>
                    <a:pt x="220" y="103"/>
                    <a:pt x="237" y="103"/>
                  </a:cubicBezTo>
                  <a:close/>
                </a:path>
              </a:pathLst>
            </a:custGeom>
            <a:solidFill>
              <a:srgbClr val="ED7D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116">
              <a:extLst>
                <a:ext uri="{FF2B5EF4-FFF2-40B4-BE49-F238E27FC236}">
                  <a16:creationId xmlns:a16="http://schemas.microsoft.com/office/drawing/2014/main" id="{431EC41C-1313-4CC0-AF49-90F29C727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" y="2558"/>
              <a:ext cx="155" cy="341"/>
            </a:xfrm>
            <a:custGeom>
              <a:avLst/>
              <a:gdLst>
                <a:gd name="T0" fmla="*/ 0 w 205"/>
                <a:gd name="T1" fmla="*/ 0 h 453"/>
                <a:gd name="T2" fmla="*/ 196 w 205"/>
                <a:gd name="T3" fmla="*/ 264 h 453"/>
                <a:gd name="T4" fmla="*/ 106 w 205"/>
                <a:gd name="T5" fmla="*/ 453 h 453"/>
                <a:gd name="T6" fmla="*/ 0 w 205"/>
                <a:gd name="T7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5" h="453">
                  <a:moveTo>
                    <a:pt x="0" y="0"/>
                  </a:moveTo>
                  <a:cubicBezTo>
                    <a:pt x="0" y="0"/>
                    <a:pt x="187" y="191"/>
                    <a:pt x="196" y="264"/>
                  </a:cubicBezTo>
                  <a:cubicBezTo>
                    <a:pt x="205" y="338"/>
                    <a:pt x="106" y="453"/>
                    <a:pt x="106" y="45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7D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117">
              <a:extLst>
                <a:ext uri="{FF2B5EF4-FFF2-40B4-BE49-F238E27FC236}">
                  <a16:creationId xmlns:a16="http://schemas.microsoft.com/office/drawing/2014/main" id="{A768279D-1D03-4A48-AFA2-29715C17A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" y="4032"/>
              <a:ext cx="192" cy="128"/>
            </a:xfrm>
            <a:custGeom>
              <a:avLst/>
              <a:gdLst>
                <a:gd name="T0" fmla="*/ 254 w 254"/>
                <a:gd name="T1" fmla="*/ 65 h 170"/>
                <a:gd name="T2" fmla="*/ 228 w 254"/>
                <a:gd name="T3" fmla="*/ 170 h 170"/>
                <a:gd name="T4" fmla="*/ 126 w 254"/>
                <a:gd name="T5" fmla="*/ 170 h 170"/>
                <a:gd name="T6" fmla="*/ 0 w 254"/>
                <a:gd name="T7" fmla="*/ 169 h 170"/>
                <a:gd name="T8" fmla="*/ 37 w 254"/>
                <a:gd name="T9" fmla="*/ 133 h 170"/>
                <a:gd name="T10" fmla="*/ 158 w 254"/>
                <a:gd name="T11" fmla="*/ 51 h 170"/>
                <a:gd name="T12" fmla="*/ 254 w 254"/>
                <a:gd name="T13" fmla="*/ 6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4" h="170">
                  <a:moveTo>
                    <a:pt x="254" y="65"/>
                  </a:moveTo>
                  <a:cubicBezTo>
                    <a:pt x="254" y="65"/>
                    <a:pt x="248" y="169"/>
                    <a:pt x="228" y="170"/>
                  </a:cubicBezTo>
                  <a:cubicBezTo>
                    <a:pt x="225" y="170"/>
                    <a:pt x="126" y="170"/>
                    <a:pt x="126" y="170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169"/>
                    <a:pt x="0" y="139"/>
                    <a:pt x="37" y="133"/>
                  </a:cubicBezTo>
                  <a:cubicBezTo>
                    <a:pt x="74" y="126"/>
                    <a:pt x="136" y="100"/>
                    <a:pt x="158" y="51"/>
                  </a:cubicBezTo>
                  <a:cubicBezTo>
                    <a:pt x="182" y="0"/>
                    <a:pt x="254" y="65"/>
                    <a:pt x="254" y="65"/>
                  </a:cubicBezTo>
                  <a:close/>
                </a:path>
              </a:pathLst>
            </a:custGeom>
            <a:solidFill>
              <a:srgbClr val="1635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118">
              <a:extLst>
                <a:ext uri="{FF2B5EF4-FFF2-40B4-BE49-F238E27FC236}">
                  <a16:creationId xmlns:a16="http://schemas.microsoft.com/office/drawing/2014/main" id="{1FBA222F-56AB-4DCC-A9B5-25FC7B669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" y="4032"/>
              <a:ext cx="192" cy="128"/>
            </a:xfrm>
            <a:custGeom>
              <a:avLst/>
              <a:gdLst>
                <a:gd name="T0" fmla="*/ 255 w 255"/>
                <a:gd name="T1" fmla="*/ 65 h 170"/>
                <a:gd name="T2" fmla="*/ 228 w 255"/>
                <a:gd name="T3" fmla="*/ 170 h 170"/>
                <a:gd name="T4" fmla="*/ 126 w 255"/>
                <a:gd name="T5" fmla="*/ 170 h 170"/>
                <a:gd name="T6" fmla="*/ 0 w 255"/>
                <a:gd name="T7" fmla="*/ 169 h 170"/>
                <a:gd name="T8" fmla="*/ 38 w 255"/>
                <a:gd name="T9" fmla="*/ 133 h 170"/>
                <a:gd name="T10" fmla="*/ 159 w 255"/>
                <a:gd name="T11" fmla="*/ 51 h 170"/>
                <a:gd name="T12" fmla="*/ 255 w 255"/>
                <a:gd name="T13" fmla="*/ 6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5" h="170">
                  <a:moveTo>
                    <a:pt x="255" y="65"/>
                  </a:moveTo>
                  <a:cubicBezTo>
                    <a:pt x="255" y="65"/>
                    <a:pt x="248" y="169"/>
                    <a:pt x="228" y="170"/>
                  </a:cubicBezTo>
                  <a:cubicBezTo>
                    <a:pt x="226" y="170"/>
                    <a:pt x="126" y="170"/>
                    <a:pt x="126" y="170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169"/>
                    <a:pt x="1" y="139"/>
                    <a:pt x="38" y="133"/>
                  </a:cubicBezTo>
                  <a:cubicBezTo>
                    <a:pt x="75" y="126"/>
                    <a:pt x="137" y="100"/>
                    <a:pt x="159" y="51"/>
                  </a:cubicBezTo>
                  <a:cubicBezTo>
                    <a:pt x="183" y="0"/>
                    <a:pt x="255" y="65"/>
                    <a:pt x="255" y="65"/>
                  </a:cubicBezTo>
                  <a:close/>
                </a:path>
              </a:pathLst>
            </a:custGeom>
            <a:solidFill>
              <a:srgbClr val="1635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19">
              <a:extLst>
                <a:ext uri="{FF2B5EF4-FFF2-40B4-BE49-F238E27FC236}">
                  <a16:creationId xmlns:a16="http://schemas.microsoft.com/office/drawing/2014/main" id="{1E2F6EF4-F7B9-4653-B3C3-D22444C44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3" y="3122"/>
              <a:ext cx="324" cy="967"/>
            </a:xfrm>
            <a:custGeom>
              <a:avLst/>
              <a:gdLst>
                <a:gd name="T0" fmla="*/ 0 w 430"/>
                <a:gd name="T1" fmla="*/ 158 h 1283"/>
                <a:gd name="T2" fmla="*/ 156 w 430"/>
                <a:gd name="T3" fmla="*/ 745 h 1283"/>
                <a:gd name="T4" fmla="*/ 297 w 430"/>
                <a:gd name="T5" fmla="*/ 1283 h 1283"/>
                <a:gd name="T6" fmla="*/ 429 w 430"/>
                <a:gd name="T7" fmla="*/ 1279 h 1283"/>
                <a:gd name="T8" fmla="*/ 373 w 430"/>
                <a:gd name="T9" fmla="*/ 680 h 1283"/>
                <a:gd name="T10" fmla="*/ 361 w 430"/>
                <a:gd name="T11" fmla="*/ 0 h 1283"/>
                <a:gd name="T12" fmla="*/ 0 w 430"/>
                <a:gd name="T13" fmla="*/ 158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0" h="1283">
                  <a:moveTo>
                    <a:pt x="0" y="158"/>
                  </a:moveTo>
                  <a:cubicBezTo>
                    <a:pt x="0" y="158"/>
                    <a:pt x="33" y="369"/>
                    <a:pt x="156" y="745"/>
                  </a:cubicBezTo>
                  <a:cubicBezTo>
                    <a:pt x="280" y="1120"/>
                    <a:pt x="297" y="1283"/>
                    <a:pt x="297" y="1283"/>
                  </a:cubicBezTo>
                  <a:cubicBezTo>
                    <a:pt x="429" y="1279"/>
                    <a:pt x="429" y="1279"/>
                    <a:pt x="429" y="1279"/>
                  </a:cubicBezTo>
                  <a:cubicBezTo>
                    <a:pt x="429" y="1279"/>
                    <a:pt x="430" y="869"/>
                    <a:pt x="373" y="680"/>
                  </a:cubicBezTo>
                  <a:cubicBezTo>
                    <a:pt x="316" y="491"/>
                    <a:pt x="361" y="0"/>
                    <a:pt x="361" y="0"/>
                  </a:cubicBezTo>
                  <a:lnTo>
                    <a:pt x="0" y="158"/>
                  </a:lnTo>
                  <a:close/>
                </a:path>
              </a:pathLst>
            </a:custGeom>
            <a:solidFill>
              <a:srgbClr val="1635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120">
              <a:extLst>
                <a:ext uri="{FF2B5EF4-FFF2-40B4-BE49-F238E27FC236}">
                  <a16:creationId xmlns:a16="http://schemas.microsoft.com/office/drawing/2014/main" id="{2333EC60-86FF-4BFD-BDF8-827207935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1" y="3131"/>
              <a:ext cx="293" cy="958"/>
            </a:xfrm>
            <a:custGeom>
              <a:avLst/>
              <a:gdLst>
                <a:gd name="T0" fmla="*/ 5 w 388"/>
                <a:gd name="T1" fmla="*/ 0 h 1272"/>
                <a:gd name="T2" fmla="*/ 55 w 388"/>
                <a:gd name="T3" fmla="*/ 710 h 1272"/>
                <a:gd name="T4" fmla="*/ 92 w 388"/>
                <a:gd name="T5" fmla="*/ 1267 h 1272"/>
                <a:gd name="T6" fmla="*/ 224 w 388"/>
                <a:gd name="T7" fmla="*/ 1272 h 1272"/>
                <a:gd name="T8" fmla="*/ 280 w 388"/>
                <a:gd name="T9" fmla="*/ 685 h 1272"/>
                <a:gd name="T10" fmla="*/ 388 w 388"/>
                <a:gd name="T11" fmla="*/ 13 h 1272"/>
                <a:gd name="T12" fmla="*/ 5 w 388"/>
                <a:gd name="T13" fmla="*/ 0 h 1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8" h="1272">
                  <a:moveTo>
                    <a:pt x="5" y="0"/>
                  </a:moveTo>
                  <a:cubicBezTo>
                    <a:pt x="5" y="0"/>
                    <a:pt x="0" y="319"/>
                    <a:pt x="55" y="710"/>
                  </a:cubicBezTo>
                  <a:cubicBezTo>
                    <a:pt x="110" y="1101"/>
                    <a:pt x="92" y="1267"/>
                    <a:pt x="92" y="1267"/>
                  </a:cubicBezTo>
                  <a:cubicBezTo>
                    <a:pt x="224" y="1272"/>
                    <a:pt x="224" y="1272"/>
                    <a:pt x="224" y="1272"/>
                  </a:cubicBezTo>
                  <a:cubicBezTo>
                    <a:pt x="224" y="1272"/>
                    <a:pt x="303" y="880"/>
                    <a:pt x="280" y="685"/>
                  </a:cubicBezTo>
                  <a:cubicBezTo>
                    <a:pt x="257" y="489"/>
                    <a:pt x="388" y="13"/>
                    <a:pt x="388" y="13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1C46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121">
              <a:extLst>
                <a:ext uri="{FF2B5EF4-FFF2-40B4-BE49-F238E27FC236}">
                  <a16:creationId xmlns:a16="http://schemas.microsoft.com/office/drawing/2014/main" id="{0980FF0E-FE2A-4B5E-A5CB-58827C247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7" y="2450"/>
              <a:ext cx="130" cy="154"/>
            </a:xfrm>
            <a:custGeom>
              <a:avLst/>
              <a:gdLst>
                <a:gd name="T0" fmla="*/ 172 w 172"/>
                <a:gd name="T1" fmla="*/ 157 h 204"/>
                <a:gd name="T2" fmla="*/ 102 w 172"/>
                <a:gd name="T3" fmla="*/ 204 h 204"/>
                <a:gd name="T4" fmla="*/ 0 w 172"/>
                <a:gd name="T5" fmla="*/ 185 h 204"/>
                <a:gd name="T6" fmla="*/ 15 w 172"/>
                <a:gd name="T7" fmla="*/ 112 h 204"/>
                <a:gd name="T8" fmla="*/ 16 w 172"/>
                <a:gd name="T9" fmla="*/ 106 h 204"/>
                <a:gd name="T10" fmla="*/ 25 w 172"/>
                <a:gd name="T11" fmla="*/ 57 h 204"/>
                <a:gd name="T12" fmla="*/ 120 w 172"/>
                <a:gd name="T13" fmla="*/ 16 h 204"/>
                <a:gd name="T14" fmla="*/ 156 w 172"/>
                <a:gd name="T15" fmla="*/ 0 h 204"/>
                <a:gd name="T16" fmla="*/ 153 w 172"/>
                <a:gd name="T17" fmla="*/ 33 h 204"/>
                <a:gd name="T18" fmla="*/ 172 w 172"/>
                <a:gd name="T19" fmla="*/ 15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204">
                  <a:moveTo>
                    <a:pt x="172" y="157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0" y="185"/>
                    <a:pt x="0" y="185"/>
                    <a:pt x="0" y="185"/>
                  </a:cubicBezTo>
                  <a:cubicBezTo>
                    <a:pt x="2" y="176"/>
                    <a:pt x="8" y="142"/>
                    <a:pt x="15" y="112"/>
                  </a:cubicBezTo>
                  <a:cubicBezTo>
                    <a:pt x="15" y="110"/>
                    <a:pt x="15" y="108"/>
                    <a:pt x="16" y="106"/>
                  </a:cubicBezTo>
                  <a:cubicBezTo>
                    <a:pt x="21" y="80"/>
                    <a:pt x="25" y="57"/>
                    <a:pt x="25" y="57"/>
                  </a:cubicBezTo>
                  <a:cubicBezTo>
                    <a:pt x="120" y="16"/>
                    <a:pt x="120" y="16"/>
                    <a:pt x="120" y="16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6" y="0"/>
                    <a:pt x="153" y="29"/>
                    <a:pt x="153" y="33"/>
                  </a:cubicBezTo>
                  <a:cubicBezTo>
                    <a:pt x="146" y="107"/>
                    <a:pt x="172" y="157"/>
                    <a:pt x="172" y="157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122">
              <a:extLst>
                <a:ext uri="{FF2B5EF4-FFF2-40B4-BE49-F238E27FC236}">
                  <a16:creationId xmlns:a16="http://schemas.microsoft.com/office/drawing/2014/main" id="{62F76111-FADB-4031-AE24-3EF7B3770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2524"/>
              <a:ext cx="148" cy="59"/>
            </a:xfrm>
            <a:custGeom>
              <a:avLst/>
              <a:gdLst>
                <a:gd name="T0" fmla="*/ 40 w 197"/>
                <a:gd name="T1" fmla="*/ 36 h 78"/>
                <a:gd name="T2" fmla="*/ 176 w 197"/>
                <a:gd name="T3" fmla="*/ 4 h 78"/>
                <a:gd name="T4" fmla="*/ 197 w 197"/>
                <a:gd name="T5" fmla="*/ 34 h 78"/>
                <a:gd name="T6" fmla="*/ 0 w 197"/>
                <a:gd name="T7" fmla="*/ 78 h 78"/>
                <a:gd name="T8" fmla="*/ 40 w 197"/>
                <a:gd name="T9" fmla="*/ 3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78">
                  <a:moveTo>
                    <a:pt x="40" y="36"/>
                  </a:moveTo>
                  <a:cubicBezTo>
                    <a:pt x="42" y="35"/>
                    <a:pt x="163" y="0"/>
                    <a:pt x="176" y="4"/>
                  </a:cubicBezTo>
                  <a:cubicBezTo>
                    <a:pt x="189" y="8"/>
                    <a:pt x="197" y="34"/>
                    <a:pt x="197" y="34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15" y="47"/>
                    <a:pt x="40" y="36"/>
                  </a:cubicBezTo>
                  <a:close/>
                </a:path>
              </a:pathLst>
            </a:custGeom>
            <a:solidFill>
              <a:srgbClr val="ED7D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123">
              <a:extLst>
                <a:ext uri="{FF2B5EF4-FFF2-40B4-BE49-F238E27FC236}">
                  <a16:creationId xmlns:a16="http://schemas.microsoft.com/office/drawing/2014/main" id="{59654C60-C2E5-4859-AC56-0F4F3B07C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6" y="2543"/>
              <a:ext cx="361" cy="696"/>
            </a:xfrm>
            <a:custGeom>
              <a:avLst/>
              <a:gdLst>
                <a:gd name="T0" fmla="*/ 459 w 479"/>
                <a:gd name="T1" fmla="*/ 819 h 924"/>
                <a:gd name="T2" fmla="*/ 11 w 479"/>
                <a:gd name="T3" fmla="*/ 839 h 924"/>
                <a:gd name="T4" fmla="*/ 4 w 479"/>
                <a:gd name="T5" fmla="*/ 724 h 924"/>
                <a:gd name="T6" fmla="*/ 36 w 479"/>
                <a:gd name="T7" fmla="*/ 338 h 924"/>
                <a:gd name="T8" fmla="*/ 51 w 479"/>
                <a:gd name="T9" fmla="*/ 208 h 924"/>
                <a:gd name="T10" fmla="*/ 94 w 479"/>
                <a:gd name="T11" fmla="*/ 53 h 924"/>
                <a:gd name="T12" fmla="*/ 291 w 479"/>
                <a:gd name="T13" fmla="*/ 9 h 924"/>
                <a:gd name="T14" fmla="*/ 459 w 479"/>
                <a:gd name="T15" fmla="*/ 819 h 9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9" h="924">
                  <a:moveTo>
                    <a:pt x="459" y="819"/>
                  </a:moveTo>
                  <a:cubicBezTo>
                    <a:pt x="438" y="913"/>
                    <a:pt x="98" y="924"/>
                    <a:pt x="11" y="839"/>
                  </a:cubicBezTo>
                  <a:cubicBezTo>
                    <a:pt x="1" y="829"/>
                    <a:pt x="0" y="785"/>
                    <a:pt x="4" y="724"/>
                  </a:cubicBezTo>
                  <a:cubicBezTo>
                    <a:pt x="12" y="606"/>
                    <a:pt x="35" y="428"/>
                    <a:pt x="36" y="338"/>
                  </a:cubicBezTo>
                  <a:cubicBezTo>
                    <a:pt x="36" y="294"/>
                    <a:pt x="43" y="249"/>
                    <a:pt x="51" y="208"/>
                  </a:cubicBezTo>
                  <a:cubicBezTo>
                    <a:pt x="68" y="121"/>
                    <a:pt x="94" y="53"/>
                    <a:pt x="94" y="53"/>
                  </a:cubicBezTo>
                  <a:cubicBezTo>
                    <a:pt x="94" y="53"/>
                    <a:pt x="260" y="0"/>
                    <a:pt x="291" y="9"/>
                  </a:cubicBezTo>
                  <a:cubicBezTo>
                    <a:pt x="440" y="53"/>
                    <a:pt x="479" y="726"/>
                    <a:pt x="459" y="819"/>
                  </a:cubicBezTo>
                  <a:close/>
                </a:path>
              </a:pathLst>
            </a:custGeom>
            <a:solidFill>
              <a:srgbClr val="FF98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124">
              <a:extLst>
                <a:ext uri="{FF2B5EF4-FFF2-40B4-BE49-F238E27FC236}">
                  <a16:creationId xmlns:a16="http://schemas.microsoft.com/office/drawing/2014/main" id="{6052A9CD-B01B-45DD-B808-0269961306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9" y="2687"/>
              <a:ext cx="184" cy="401"/>
            </a:xfrm>
            <a:custGeom>
              <a:avLst/>
              <a:gdLst>
                <a:gd name="T0" fmla="*/ 0 w 244"/>
                <a:gd name="T1" fmla="*/ 533 h 533"/>
                <a:gd name="T2" fmla="*/ 32 w 244"/>
                <a:gd name="T3" fmla="*/ 147 h 533"/>
                <a:gd name="T4" fmla="*/ 47 w 244"/>
                <a:gd name="T5" fmla="*/ 17 h 533"/>
                <a:gd name="T6" fmla="*/ 146 w 244"/>
                <a:gd name="T7" fmla="*/ 0 h 533"/>
                <a:gd name="T8" fmla="*/ 0 w 244"/>
                <a:gd name="T9" fmla="*/ 53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533">
                  <a:moveTo>
                    <a:pt x="0" y="533"/>
                  </a:moveTo>
                  <a:cubicBezTo>
                    <a:pt x="8" y="415"/>
                    <a:pt x="31" y="237"/>
                    <a:pt x="32" y="147"/>
                  </a:cubicBezTo>
                  <a:cubicBezTo>
                    <a:pt x="32" y="103"/>
                    <a:pt x="39" y="58"/>
                    <a:pt x="47" y="17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244" y="398"/>
                    <a:pt x="0" y="533"/>
                  </a:cubicBezTo>
                  <a:close/>
                </a:path>
              </a:pathLst>
            </a:custGeom>
            <a:solidFill>
              <a:srgbClr val="ED7D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125">
              <a:extLst>
                <a:ext uri="{FF2B5EF4-FFF2-40B4-BE49-F238E27FC236}">
                  <a16:creationId xmlns:a16="http://schemas.microsoft.com/office/drawing/2014/main" id="{C796C448-C093-4B72-BC01-80C50946E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" y="2943"/>
              <a:ext cx="71" cy="99"/>
            </a:xfrm>
            <a:custGeom>
              <a:avLst/>
              <a:gdLst>
                <a:gd name="T0" fmla="*/ 31 w 94"/>
                <a:gd name="T1" fmla="*/ 29 h 131"/>
                <a:gd name="T2" fmla="*/ 24 w 94"/>
                <a:gd name="T3" fmla="*/ 56 h 131"/>
                <a:gd name="T4" fmla="*/ 3 w 94"/>
                <a:gd name="T5" fmla="*/ 97 h 131"/>
                <a:gd name="T6" fmla="*/ 49 w 94"/>
                <a:gd name="T7" fmla="*/ 128 h 131"/>
                <a:gd name="T8" fmla="*/ 80 w 94"/>
                <a:gd name="T9" fmla="*/ 101 h 131"/>
                <a:gd name="T10" fmla="*/ 68 w 94"/>
                <a:gd name="T11" fmla="*/ 20 h 131"/>
                <a:gd name="T12" fmla="*/ 31 w 94"/>
                <a:gd name="T13" fmla="*/ 2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131">
                  <a:moveTo>
                    <a:pt x="31" y="29"/>
                  </a:moveTo>
                  <a:cubicBezTo>
                    <a:pt x="31" y="29"/>
                    <a:pt x="38" y="45"/>
                    <a:pt x="24" y="56"/>
                  </a:cubicBezTo>
                  <a:cubicBezTo>
                    <a:pt x="9" y="67"/>
                    <a:pt x="0" y="84"/>
                    <a:pt x="3" y="97"/>
                  </a:cubicBezTo>
                  <a:cubicBezTo>
                    <a:pt x="7" y="110"/>
                    <a:pt x="38" y="131"/>
                    <a:pt x="49" y="128"/>
                  </a:cubicBezTo>
                  <a:cubicBezTo>
                    <a:pt x="60" y="124"/>
                    <a:pt x="82" y="107"/>
                    <a:pt x="80" y="101"/>
                  </a:cubicBezTo>
                  <a:cubicBezTo>
                    <a:pt x="77" y="94"/>
                    <a:pt x="94" y="41"/>
                    <a:pt x="68" y="20"/>
                  </a:cubicBezTo>
                  <a:cubicBezTo>
                    <a:pt x="41" y="0"/>
                    <a:pt x="31" y="29"/>
                    <a:pt x="31" y="29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26">
              <a:extLst>
                <a:ext uri="{FF2B5EF4-FFF2-40B4-BE49-F238E27FC236}">
                  <a16:creationId xmlns:a16="http://schemas.microsoft.com/office/drawing/2014/main" id="{9BEDD7B0-DEE5-40F1-8305-4D8963E04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5" y="2565"/>
              <a:ext cx="249" cy="420"/>
            </a:xfrm>
            <a:custGeom>
              <a:avLst/>
              <a:gdLst>
                <a:gd name="T0" fmla="*/ 304 w 330"/>
                <a:gd name="T1" fmla="*/ 0 h 558"/>
                <a:gd name="T2" fmla="*/ 129 w 330"/>
                <a:gd name="T3" fmla="*/ 133 h 558"/>
                <a:gd name="T4" fmla="*/ 15 w 330"/>
                <a:gd name="T5" fmla="*/ 374 h 558"/>
                <a:gd name="T6" fmla="*/ 182 w 330"/>
                <a:gd name="T7" fmla="*/ 558 h 558"/>
                <a:gd name="T8" fmla="*/ 242 w 330"/>
                <a:gd name="T9" fmla="*/ 505 h 558"/>
                <a:gd name="T10" fmla="*/ 169 w 330"/>
                <a:gd name="T11" fmla="*/ 347 h 558"/>
                <a:gd name="T12" fmla="*/ 304 w 330"/>
                <a:gd name="T13" fmla="*/ 288 h 558"/>
                <a:gd name="T14" fmla="*/ 304 w 330"/>
                <a:gd name="T15" fmla="*/ 0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0" h="558">
                  <a:moveTo>
                    <a:pt x="304" y="0"/>
                  </a:moveTo>
                  <a:cubicBezTo>
                    <a:pt x="304" y="0"/>
                    <a:pt x="207" y="19"/>
                    <a:pt x="129" y="133"/>
                  </a:cubicBezTo>
                  <a:cubicBezTo>
                    <a:pt x="51" y="247"/>
                    <a:pt x="0" y="332"/>
                    <a:pt x="15" y="374"/>
                  </a:cubicBezTo>
                  <a:cubicBezTo>
                    <a:pt x="29" y="415"/>
                    <a:pt x="159" y="558"/>
                    <a:pt x="182" y="558"/>
                  </a:cubicBezTo>
                  <a:cubicBezTo>
                    <a:pt x="204" y="558"/>
                    <a:pt x="240" y="541"/>
                    <a:pt x="242" y="505"/>
                  </a:cubicBezTo>
                  <a:cubicBezTo>
                    <a:pt x="242" y="505"/>
                    <a:pt x="151" y="367"/>
                    <a:pt x="169" y="347"/>
                  </a:cubicBezTo>
                  <a:cubicBezTo>
                    <a:pt x="176" y="338"/>
                    <a:pt x="288" y="247"/>
                    <a:pt x="304" y="288"/>
                  </a:cubicBezTo>
                  <a:cubicBezTo>
                    <a:pt x="330" y="356"/>
                    <a:pt x="304" y="0"/>
                    <a:pt x="304" y="0"/>
                  </a:cubicBezTo>
                  <a:close/>
                </a:path>
              </a:pathLst>
            </a:custGeom>
            <a:solidFill>
              <a:srgbClr val="FF98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27">
              <a:extLst>
                <a:ext uri="{FF2B5EF4-FFF2-40B4-BE49-F238E27FC236}">
                  <a16:creationId xmlns:a16="http://schemas.microsoft.com/office/drawing/2014/main" id="{78F7626F-0966-48E8-8B96-40BF83714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" y="2461"/>
              <a:ext cx="105" cy="74"/>
            </a:xfrm>
            <a:custGeom>
              <a:avLst/>
              <a:gdLst>
                <a:gd name="T0" fmla="*/ 131 w 139"/>
                <a:gd name="T1" fmla="*/ 19 h 97"/>
                <a:gd name="T2" fmla="*/ 0 w 139"/>
                <a:gd name="T3" fmla="*/ 97 h 97"/>
                <a:gd name="T4" fmla="*/ 1 w 139"/>
                <a:gd name="T5" fmla="*/ 91 h 97"/>
                <a:gd name="T6" fmla="*/ 10 w 139"/>
                <a:gd name="T7" fmla="*/ 42 h 97"/>
                <a:gd name="T8" fmla="*/ 105 w 139"/>
                <a:gd name="T9" fmla="*/ 1 h 97"/>
                <a:gd name="T10" fmla="*/ 131 w 139"/>
                <a:gd name="T11" fmla="*/ 1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97">
                  <a:moveTo>
                    <a:pt x="131" y="19"/>
                  </a:moveTo>
                  <a:cubicBezTo>
                    <a:pt x="110" y="55"/>
                    <a:pt x="32" y="85"/>
                    <a:pt x="0" y="97"/>
                  </a:cubicBezTo>
                  <a:cubicBezTo>
                    <a:pt x="0" y="95"/>
                    <a:pt x="0" y="93"/>
                    <a:pt x="1" y="91"/>
                  </a:cubicBezTo>
                  <a:cubicBezTo>
                    <a:pt x="6" y="65"/>
                    <a:pt x="10" y="42"/>
                    <a:pt x="10" y="42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26" y="0"/>
                    <a:pt x="139" y="5"/>
                    <a:pt x="131" y="19"/>
                  </a:cubicBezTo>
                  <a:close/>
                </a:path>
              </a:pathLst>
            </a:custGeom>
            <a:solidFill>
              <a:srgbClr val="FCA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28">
              <a:extLst>
                <a:ext uri="{FF2B5EF4-FFF2-40B4-BE49-F238E27FC236}">
                  <a16:creationId xmlns:a16="http://schemas.microsoft.com/office/drawing/2014/main" id="{44C5EB35-9037-4A0B-ABD7-71108507D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1" y="2285"/>
              <a:ext cx="216" cy="240"/>
            </a:xfrm>
            <a:custGeom>
              <a:avLst/>
              <a:gdLst>
                <a:gd name="T0" fmla="*/ 39 w 287"/>
                <a:gd name="T1" fmla="*/ 271 h 318"/>
                <a:gd name="T2" fmla="*/ 220 w 287"/>
                <a:gd name="T3" fmla="*/ 223 h 318"/>
                <a:gd name="T4" fmla="*/ 190 w 287"/>
                <a:gd name="T5" fmla="*/ 34 h 318"/>
                <a:gd name="T6" fmla="*/ 47 w 287"/>
                <a:gd name="T7" fmla="*/ 60 h 318"/>
                <a:gd name="T8" fmla="*/ 39 w 287"/>
                <a:gd name="T9" fmla="*/ 271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7" h="318">
                  <a:moveTo>
                    <a:pt x="39" y="271"/>
                  </a:moveTo>
                  <a:cubicBezTo>
                    <a:pt x="39" y="271"/>
                    <a:pt x="192" y="318"/>
                    <a:pt x="220" y="223"/>
                  </a:cubicBezTo>
                  <a:cubicBezTo>
                    <a:pt x="248" y="127"/>
                    <a:pt x="287" y="69"/>
                    <a:pt x="190" y="34"/>
                  </a:cubicBezTo>
                  <a:cubicBezTo>
                    <a:pt x="94" y="0"/>
                    <a:pt x="64" y="30"/>
                    <a:pt x="47" y="60"/>
                  </a:cubicBezTo>
                  <a:cubicBezTo>
                    <a:pt x="30" y="90"/>
                    <a:pt x="0" y="256"/>
                    <a:pt x="39" y="271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29">
              <a:extLst>
                <a:ext uri="{FF2B5EF4-FFF2-40B4-BE49-F238E27FC236}">
                  <a16:creationId xmlns:a16="http://schemas.microsoft.com/office/drawing/2014/main" id="{AE380BBD-05A8-4F09-ACA2-DC13591D4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9" y="2232"/>
              <a:ext cx="274" cy="265"/>
            </a:xfrm>
            <a:custGeom>
              <a:avLst/>
              <a:gdLst>
                <a:gd name="T0" fmla="*/ 82 w 364"/>
                <a:gd name="T1" fmla="*/ 122 h 352"/>
                <a:gd name="T2" fmla="*/ 115 w 364"/>
                <a:gd name="T3" fmla="*/ 228 h 352"/>
                <a:gd name="T4" fmla="*/ 155 w 364"/>
                <a:gd name="T5" fmla="*/ 254 h 352"/>
                <a:gd name="T6" fmla="*/ 207 w 364"/>
                <a:gd name="T7" fmla="*/ 346 h 352"/>
                <a:gd name="T8" fmla="*/ 344 w 364"/>
                <a:gd name="T9" fmla="*/ 120 h 352"/>
                <a:gd name="T10" fmla="*/ 82 w 364"/>
                <a:gd name="T11" fmla="*/ 12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4" h="352">
                  <a:moveTo>
                    <a:pt x="82" y="122"/>
                  </a:moveTo>
                  <a:cubicBezTo>
                    <a:pt x="82" y="122"/>
                    <a:pt x="92" y="233"/>
                    <a:pt x="115" y="228"/>
                  </a:cubicBezTo>
                  <a:cubicBezTo>
                    <a:pt x="138" y="224"/>
                    <a:pt x="159" y="220"/>
                    <a:pt x="155" y="254"/>
                  </a:cubicBezTo>
                  <a:cubicBezTo>
                    <a:pt x="152" y="287"/>
                    <a:pt x="136" y="341"/>
                    <a:pt x="207" y="346"/>
                  </a:cubicBezTo>
                  <a:cubicBezTo>
                    <a:pt x="278" y="352"/>
                    <a:pt x="364" y="155"/>
                    <a:pt x="344" y="120"/>
                  </a:cubicBezTo>
                  <a:cubicBezTo>
                    <a:pt x="288" y="20"/>
                    <a:pt x="0" y="0"/>
                    <a:pt x="82" y="122"/>
                  </a:cubicBezTo>
                  <a:close/>
                </a:path>
              </a:pathLst>
            </a:custGeom>
            <a:solidFill>
              <a:srgbClr val="1635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30">
              <a:extLst>
                <a:ext uri="{FF2B5EF4-FFF2-40B4-BE49-F238E27FC236}">
                  <a16:creationId xmlns:a16="http://schemas.microsoft.com/office/drawing/2014/main" id="{55B84627-438B-4EF6-845F-5F0593EBC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9" y="865"/>
              <a:ext cx="136" cy="183"/>
            </a:xfrm>
            <a:custGeom>
              <a:avLst/>
              <a:gdLst>
                <a:gd name="T0" fmla="*/ 180 w 180"/>
                <a:gd name="T1" fmla="*/ 160 h 243"/>
                <a:gd name="T2" fmla="*/ 21 w 180"/>
                <a:gd name="T3" fmla="*/ 208 h 243"/>
                <a:gd name="T4" fmla="*/ 2 w 180"/>
                <a:gd name="T5" fmla="*/ 128 h 243"/>
                <a:gd name="T6" fmla="*/ 2 w 180"/>
                <a:gd name="T7" fmla="*/ 116 h 243"/>
                <a:gd name="T8" fmla="*/ 0 w 180"/>
                <a:gd name="T9" fmla="*/ 56 h 243"/>
                <a:gd name="T10" fmla="*/ 0 w 180"/>
                <a:gd name="T11" fmla="*/ 56 h 243"/>
                <a:gd name="T12" fmla="*/ 136 w 180"/>
                <a:gd name="T13" fmla="*/ 4 h 243"/>
                <a:gd name="T14" fmla="*/ 180 w 180"/>
                <a:gd name="T15" fmla="*/ 16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0" h="243">
                  <a:moveTo>
                    <a:pt x="180" y="160"/>
                  </a:moveTo>
                  <a:cubicBezTo>
                    <a:pt x="180" y="160"/>
                    <a:pt x="110" y="243"/>
                    <a:pt x="21" y="208"/>
                  </a:cubicBezTo>
                  <a:cubicBezTo>
                    <a:pt x="21" y="208"/>
                    <a:pt x="2" y="162"/>
                    <a:pt x="2" y="128"/>
                  </a:cubicBezTo>
                  <a:cubicBezTo>
                    <a:pt x="2" y="124"/>
                    <a:pt x="2" y="120"/>
                    <a:pt x="2" y="116"/>
                  </a:cubicBezTo>
                  <a:cubicBezTo>
                    <a:pt x="1" y="77"/>
                    <a:pt x="0" y="56"/>
                    <a:pt x="0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4" y="54"/>
                    <a:pt x="136" y="0"/>
                    <a:pt x="136" y="4"/>
                  </a:cubicBezTo>
                  <a:cubicBezTo>
                    <a:pt x="134" y="108"/>
                    <a:pt x="180" y="160"/>
                    <a:pt x="180" y="160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31">
              <a:extLst>
                <a:ext uri="{FF2B5EF4-FFF2-40B4-BE49-F238E27FC236}">
                  <a16:creationId xmlns:a16="http://schemas.microsoft.com/office/drawing/2014/main" id="{0FF577B0-9B24-46FD-8F1E-BA2F48A9FF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9" y="881"/>
              <a:ext cx="95" cy="71"/>
            </a:xfrm>
            <a:custGeom>
              <a:avLst/>
              <a:gdLst>
                <a:gd name="T0" fmla="*/ 123 w 126"/>
                <a:gd name="T1" fmla="*/ 7 h 94"/>
                <a:gd name="T2" fmla="*/ 2 w 126"/>
                <a:gd name="T3" fmla="*/ 94 h 94"/>
                <a:gd name="T4" fmla="*/ 0 w 126"/>
                <a:gd name="T5" fmla="*/ 34 h 94"/>
                <a:gd name="T6" fmla="*/ 0 w 126"/>
                <a:gd name="T7" fmla="*/ 34 h 94"/>
                <a:gd name="T8" fmla="*/ 123 w 126"/>
                <a:gd name="T9" fmla="*/ 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94">
                  <a:moveTo>
                    <a:pt x="123" y="7"/>
                  </a:moveTo>
                  <a:cubicBezTo>
                    <a:pt x="110" y="31"/>
                    <a:pt x="66" y="77"/>
                    <a:pt x="2" y="94"/>
                  </a:cubicBezTo>
                  <a:cubicBezTo>
                    <a:pt x="1" y="55"/>
                    <a:pt x="0" y="34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4" y="33"/>
                    <a:pt x="126" y="0"/>
                    <a:pt x="123" y="7"/>
                  </a:cubicBezTo>
                  <a:close/>
                </a:path>
              </a:pathLst>
            </a:custGeom>
            <a:solidFill>
              <a:srgbClr val="ED9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132">
              <a:extLst>
                <a:ext uri="{FF2B5EF4-FFF2-40B4-BE49-F238E27FC236}">
                  <a16:creationId xmlns:a16="http://schemas.microsoft.com/office/drawing/2014/main" id="{0C2ED8DE-4D07-4D0C-8276-68D7A8191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" y="707"/>
              <a:ext cx="195" cy="223"/>
            </a:xfrm>
            <a:custGeom>
              <a:avLst/>
              <a:gdLst>
                <a:gd name="T0" fmla="*/ 38 w 260"/>
                <a:gd name="T1" fmla="*/ 261 h 296"/>
                <a:gd name="T2" fmla="*/ 207 w 260"/>
                <a:gd name="T3" fmla="*/ 203 h 296"/>
                <a:gd name="T4" fmla="*/ 166 w 260"/>
                <a:gd name="T5" fmla="*/ 26 h 296"/>
                <a:gd name="T6" fmla="*/ 32 w 260"/>
                <a:gd name="T7" fmla="*/ 61 h 296"/>
                <a:gd name="T8" fmla="*/ 38 w 260"/>
                <a:gd name="T9" fmla="*/ 261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0" h="296">
                  <a:moveTo>
                    <a:pt x="38" y="261"/>
                  </a:moveTo>
                  <a:cubicBezTo>
                    <a:pt x="38" y="261"/>
                    <a:pt x="187" y="296"/>
                    <a:pt x="207" y="203"/>
                  </a:cubicBezTo>
                  <a:cubicBezTo>
                    <a:pt x="227" y="110"/>
                    <a:pt x="260" y="52"/>
                    <a:pt x="166" y="26"/>
                  </a:cubicBezTo>
                  <a:cubicBezTo>
                    <a:pt x="72" y="0"/>
                    <a:pt x="46" y="31"/>
                    <a:pt x="32" y="61"/>
                  </a:cubicBezTo>
                  <a:cubicBezTo>
                    <a:pt x="18" y="90"/>
                    <a:pt x="0" y="249"/>
                    <a:pt x="38" y="261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33">
              <a:extLst>
                <a:ext uri="{FF2B5EF4-FFF2-40B4-BE49-F238E27FC236}">
                  <a16:creationId xmlns:a16="http://schemas.microsoft.com/office/drawing/2014/main" id="{9CABB43B-294E-4594-A2B0-C3829E55B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4" y="657"/>
              <a:ext cx="261" cy="230"/>
            </a:xfrm>
            <a:custGeom>
              <a:avLst/>
              <a:gdLst>
                <a:gd name="T0" fmla="*/ 236 w 346"/>
                <a:gd name="T1" fmla="*/ 294 h 305"/>
                <a:gd name="T2" fmla="*/ 330 w 346"/>
                <a:gd name="T3" fmla="*/ 185 h 305"/>
                <a:gd name="T4" fmla="*/ 324 w 346"/>
                <a:gd name="T5" fmla="*/ 89 h 305"/>
                <a:gd name="T6" fmla="*/ 158 w 346"/>
                <a:gd name="T7" fmla="*/ 12 h 305"/>
                <a:gd name="T8" fmla="*/ 62 w 346"/>
                <a:gd name="T9" fmla="*/ 73 h 305"/>
                <a:gd name="T10" fmla="*/ 0 w 346"/>
                <a:gd name="T11" fmla="*/ 144 h 305"/>
                <a:gd name="T12" fmla="*/ 147 w 346"/>
                <a:gd name="T13" fmla="*/ 138 h 305"/>
                <a:gd name="T14" fmla="*/ 181 w 346"/>
                <a:gd name="T15" fmla="*/ 194 h 305"/>
                <a:gd name="T16" fmla="*/ 214 w 346"/>
                <a:gd name="T17" fmla="*/ 205 h 305"/>
                <a:gd name="T18" fmla="*/ 223 w 346"/>
                <a:gd name="T19" fmla="*/ 257 h 305"/>
                <a:gd name="T20" fmla="*/ 236 w 346"/>
                <a:gd name="T21" fmla="*/ 29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" h="305">
                  <a:moveTo>
                    <a:pt x="236" y="294"/>
                  </a:moveTo>
                  <a:cubicBezTo>
                    <a:pt x="238" y="296"/>
                    <a:pt x="270" y="305"/>
                    <a:pt x="330" y="185"/>
                  </a:cubicBezTo>
                  <a:cubicBezTo>
                    <a:pt x="340" y="166"/>
                    <a:pt x="346" y="125"/>
                    <a:pt x="324" y="89"/>
                  </a:cubicBezTo>
                  <a:cubicBezTo>
                    <a:pt x="302" y="53"/>
                    <a:pt x="224" y="24"/>
                    <a:pt x="158" y="12"/>
                  </a:cubicBezTo>
                  <a:cubicBezTo>
                    <a:pt x="93" y="0"/>
                    <a:pt x="78" y="36"/>
                    <a:pt x="62" y="73"/>
                  </a:cubicBezTo>
                  <a:cubicBezTo>
                    <a:pt x="46" y="112"/>
                    <a:pt x="0" y="144"/>
                    <a:pt x="0" y="144"/>
                  </a:cubicBezTo>
                  <a:cubicBezTo>
                    <a:pt x="56" y="175"/>
                    <a:pt x="124" y="130"/>
                    <a:pt x="147" y="138"/>
                  </a:cubicBezTo>
                  <a:cubicBezTo>
                    <a:pt x="170" y="145"/>
                    <a:pt x="179" y="182"/>
                    <a:pt x="181" y="194"/>
                  </a:cubicBezTo>
                  <a:cubicBezTo>
                    <a:pt x="182" y="206"/>
                    <a:pt x="185" y="216"/>
                    <a:pt x="214" y="205"/>
                  </a:cubicBezTo>
                  <a:cubicBezTo>
                    <a:pt x="244" y="194"/>
                    <a:pt x="228" y="247"/>
                    <a:pt x="223" y="257"/>
                  </a:cubicBezTo>
                  <a:cubicBezTo>
                    <a:pt x="223" y="257"/>
                    <a:pt x="219" y="283"/>
                    <a:pt x="236" y="294"/>
                  </a:cubicBezTo>
                  <a:close/>
                </a:path>
              </a:pathLst>
            </a:custGeom>
            <a:solidFill>
              <a:srgbClr val="A945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34">
              <a:extLst>
                <a:ext uri="{FF2B5EF4-FFF2-40B4-BE49-F238E27FC236}">
                  <a16:creationId xmlns:a16="http://schemas.microsoft.com/office/drawing/2014/main" id="{6B1E3A64-CD66-4C1D-A961-9290507D2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" y="2454"/>
              <a:ext cx="158" cy="167"/>
            </a:xfrm>
            <a:custGeom>
              <a:avLst/>
              <a:gdLst>
                <a:gd name="T0" fmla="*/ 14 w 210"/>
                <a:gd name="T1" fmla="*/ 222 h 222"/>
                <a:gd name="T2" fmla="*/ 104 w 210"/>
                <a:gd name="T3" fmla="*/ 222 h 222"/>
                <a:gd name="T4" fmla="*/ 149 w 210"/>
                <a:gd name="T5" fmla="*/ 169 h 222"/>
                <a:gd name="T6" fmla="*/ 201 w 210"/>
                <a:gd name="T7" fmla="*/ 87 h 222"/>
                <a:gd name="T8" fmla="*/ 167 w 210"/>
                <a:gd name="T9" fmla="*/ 19 h 222"/>
                <a:gd name="T10" fmla="*/ 159 w 210"/>
                <a:gd name="T11" fmla="*/ 10 h 222"/>
                <a:gd name="T12" fmla="*/ 152 w 210"/>
                <a:gd name="T13" fmla="*/ 0 h 222"/>
                <a:gd name="T14" fmla="*/ 81 w 210"/>
                <a:gd name="T15" fmla="*/ 17 h 222"/>
                <a:gd name="T16" fmla="*/ 78 w 210"/>
                <a:gd name="T17" fmla="*/ 55 h 222"/>
                <a:gd name="T18" fmla="*/ 78 w 210"/>
                <a:gd name="T19" fmla="*/ 105 h 222"/>
                <a:gd name="T20" fmla="*/ 34 w 210"/>
                <a:gd name="T21" fmla="*/ 190 h 222"/>
                <a:gd name="T22" fmla="*/ 14 w 210"/>
                <a:gd name="T23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0" h="222">
                  <a:moveTo>
                    <a:pt x="14" y="222"/>
                  </a:moveTo>
                  <a:cubicBezTo>
                    <a:pt x="104" y="222"/>
                    <a:pt x="104" y="222"/>
                    <a:pt x="104" y="222"/>
                  </a:cubicBezTo>
                  <a:cubicBezTo>
                    <a:pt x="123" y="222"/>
                    <a:pt x="144" y="203"/>
                    <a:pt x="149" y="169"/>
                  </a:cubicBezTo>
                  <a:cubicBezTo>
                    <a:pt x="154" y="134"/>
                    <a:pt x="193" y="115"/>
                    <a:pt x="201" y="87"/>
                  </a:cubicBezTo>
                  <a:cubicBezTo>
                    <a:pt x="210" y="59"/>
                    <a:pt x="167" y="19"/>
                    <a:pt x="167" y="19"/>
                  </a:cubicBezTo>
                  <a:cubicBezTo>
                    <a:pt x="159" y="10"/>
                    <a:pt x="159" y="10"/>
                    <a:pt x="159" y="1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1" y="17"/>
                    <a:pt x="79" y="34"/>
                    <a:pt x="78" y="55"/>
                  </a:cubicBezTo>
                  <a:cubicBezTo>
                    <a:pt x="77" y="71"/>
                    <a:pt x="77" y="89"/>
                    <a:pt x="78" y="105"/>
                  </a:cubicBezTo>
                  <a:cubicBezTo>
                    <a:pt x="80" y="142"/>
                    <a:pt x="67" y="183"/>
                    <a:pt x="34" y="190"/>
                  </a:cubicBezTo>
                  <a:cubicBezTo>
                    <a:pt x="0" y="198"/>
                    <a:pt x="14" y="222"/>
                    <a:pt x="14" y="222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35">
              <a:extLst>
                <a:ext uri="{FF2B5EF4-FFF2-40B4-BE49-F238E27FC236}">
                  <a16:creationId xmlns:a16="http://schemas.microsoft.com/office/drawing/2014/main" id="{C38D23B7-A83F-4034-B0CE-79CBEC73E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9" y="2499"/>
              <a:ext cx="195" cy="122"/>
            </a:xfrm>
            <a:custGeom>
              <a:avLst/>
              <a:gdLst>
                <a:gd name="T0" fmla="*/ 0 w 259"/>
                <a:gd name="T1" fmla="*/ 162 h 162"/>
                <a:gd name="T2" fmla="*/ 238 w 259"/>
                <a:gd name="T3" fmla="*/ 162 h 162"/>
                <a:gd name="T4" fmla="*/ 243 w 259"/>
                <a:gd name="T5" fmla="*/ 160 h 162"/>
                <a:gd name="T6" fmla="*/ 252 w 259"/>
                <a:gd name="T7" fmla="*/ 73 h 162"/>
                <a:gd name="T8" fmla="*/ 251 w 259"/>
                <a:gd name="T9" fmla="*/ 67 h 162"/>
                <a:gd name="T10" fmla="*/ 156 w 259"/>
                <a:gd name="T11" fmla="*/ 52 h 162"/>
                <a:gd name="T12" fmla="*/ 155 w 259"/>
                <a:gd name="T13" fmla="*/ 56 h 162"/>
                <a:gd name="T14" fmla="*/ 155 w 259"/>
                <a:gd name="T15" fmla="*/ 56 h 162"/>
                <a:gd name="T16" fmla="*/ 38 w 259"/>
                <a:gd name="T17" fmla="*/ 132 h 162"/>
                <a:gd name="T18" fmla="*/ 0 w 259"/>
                <a:gd name="T19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9" h="162">
                  <a:moveTo>
                    <a:pt x="0" y="162"/>
                  </a:moveTo>
                  <a:cubicBezTo>
                    <a:pt x="238" y="162"/>
                    <a:pt x="238" y="162"/>
                    <a:pt x="238" y="162"/>
                  </a:cubicBezTo>
                  <a:cubicBezTo>
                    <a:pt x="240" y="162"/>
                    <a:pt x="242" y="161"/>
                    <a:pt x="243" y="160"/>
                  </a:cubicBezTo>
                  <a:cubicBezTo>
                    <a:pt x="259" y="153"/>
                    <a:pt x="254" y="92"/>
                    <a:pt x="252" y="73"/>
                  </a:cubicBezTo>
                  <a:cubicBezTo>
                    <a:pt x="252" y="69"/>
                    <a:pt x="251" y="67"/>
                    <a:pt x="251" y="67"/>
                  </a:cubicBezTo>
                  <a:cubicBezTo>
                    <a:pt x="251" y="67"/>
                    <a:pt x="168" y="0"/>
                    <a:pt x="156" y="52"/>
                  </a:cubicBezTo>
                  <a:cubicBezTo>
                    <a:pt x="156" y="53"/>
                    <a:pt x="155" y="55"/>
                    <a:pt x="155" y="56"/>
                  </a:cubicBezTo>
                  <a:cubicBezTo>
                    <a:pt x="155" y="56"/>
                    <a:pt x="155" y="56"/>
                    <a:pt x="155" y="56"/>
                  </a:cubicBezTo>
                  <a:cubicBezTo>
                    <a:pt x="140" y="104"/>
                    <a:pt x="75" y="126"/>
                    <a:pt x="38" y="132"/>
                  </a:cubicBezTo>
                  <a:cubicBezTo>
                    <a:pt x="9" y="137"/>
                    <a:pt x="2" y="154"/>
                    <a:pt x="0" y="162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36">
              <a:extLst>
                <a:ext uri="{FF2B5EF4-FFF2-40B4-BE49-F238E27FC236}">
                  <a16:creationId xmlns:a16="http://schemas.microsoft.com/office/drawing/2014/main" id="{6F19B778-16BD-41A7-B45C-CD1953BD0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5" y="1570"/>
              <a:ext cx="267" cy="995"/>
            </a:xfrm>
            <a:custGeom>
              <a:avLst/>
              <a:gdLst>
                <a:gd name="T0" fmla="*/ 0 w 355"/>
                <a:gd name="T1" fmla="*/ 22 h 1321"/>
                <a:gd name="T2" fmla="*/ 27 w 355"/>
                <a:gd name="T3" fmla="*/ 371 h 1321"/>
                <a:gd name="T4" fmla="*/ 75 w 355"/>
                <a:gd name="T5" fmla="*/ 1009 h 1321"/>
                <a:gd name="T6" fmla="*/ 96 w 355"/>
                <a:gd name="T7" fmla="*/ 1281 h 1321"/>
                <a:gd name="T8" fmla="*/ 215 w 355"/>
                <a:gd name="T9" fmla="*/ 1304 h 1321"/>
                <a:gd name="T10" fmla="*/ 306 w 355"/>
                <a:gd name="T11" fmla="*/ 812 h 1321"/>
                <a:gd name="T12" fmla="*/ 307 w 355"/>
                <a:gd name="T13" fmla="*/ 800 h 1321"/>
                <a:gd name="T14" fmla="*/ 355 w 355"/>
                <a:gd name="T15" fmla="*/ 0 h 1321"/>
                <a:gd name="T16" fmla="*/ 0 w 355"/>
                <a:gd name="T17" fmla="*/ 2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5" h="1321">
                  <a:moveTo>
                    <a:pt x="0" y="22"/>
                  </a:moveTo>
                  <a:cubicBezTo>
                    <a:pt x="0" y="22"/>
                    <a:pt x="13" y="181"/>
                    <a:pt x="27" y="371"/>
                  </a:cubicBezTo>
                  <a:cubicBezTo>
                    <a:pt x="48" y="630"/>
                    <a:pt x="72" y="949"/>
                    <a:pt x="75" y="1009"/>
                  </a:cubicBezTo>
                  <a:cubicBezTo>
                    <a:pt x="79" y="1113"/>
                    <a:pt x="96" y="1281"/>
                    <a:pt x="96" y="1281"/>
                  </a:cubicBezTo>
                  <a:cubicBezTo>
                    <a:pt x="96" y="1281"/>
                    <a:pt x="135" y="1321"/>
                    <a:pt x="215" y="1304"/>
                  </a:cubicBezTo>
                  <a:cubicBezTo>
                    <a:pt x="215" y="1304"/>
                    <a:pt x="286" y="1065"/>
                    <a:pt x="306" y="812"/>
                  </a:cubicBezTo>
                  <a:cubicBezTo>
                    <a:pt x="306" y="808"/>
                    <a:pt x="307" y="804"/>
                    <a:pt x="307" y="800"/>
                  </a:cubicBezTo>
                  <a:cubicBezTo>
                    <a:pt x="326" y="542"/>
                    <a:pt x="355" y="0"/>
                    <a:pt x="355" y="0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2B47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37">
              <a:extLst>
                <a:ext uri="{FF2B5EF4-FFF2-40B4-BE49-F238E27FC236}">
                  <a16:creationId xmlns:a16="http://schemas.microsoft.com/office/drawing/2014/main" id="{70932E79-3BE3-44BC-9263-418368B01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5" y="1570"/>
              <a:ext cx="267" cy="612"/>
            </a:xfrm>
            <a:custGeom>
              <a:avLst/>
              <a:gdLst>
                <a:gd name="T0" fmla="*/ 0 w 355"/>
                <a:gd name="T1" fmla="*/ 22 h 812"/>
                <a:gd name="T2" fmla="*/ 27 w 355"/>
                <a:gd name="T3" fmla="*/ 371 h 812"/>
                <a:gd name="T4" fmla="*/ 306 w 355"/>
                <a:gd name="T5" fmla="*/ 812 h 812"/>
                <a:gd name="T6" fmla="*/ 307 w 355"/>
                <a:gd name="T7" fmla="*/ 800 h 812"/>
                <a:gd name="T8" fmla="*/ 355 w 355"/>
                <a:gd name="T9" fmla="*/ 0 h 812"/>
                <a:gd name="T10" fmla="*/ 0 w 355"/>
                <a:gd name="T11" fmla="*/ 2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5" h="812">
                  <a:moveTo>
                    <a:pt x="0" y="22"/>
                  </a:moveTo>
                  <a:cubicBezTo>
                    <a:pt x="0" y="22"/>
                    <a:pt x="13" y="181"/>
                    <a:pt x="27" y="371"/>
                  </a:cubicBezTo>
                  <a:cubicBezTo>
                    <a:pt x="306" y="812"/>
                    <a:pt x="306" y="812"/>
                    <a:pt x="306" y="812"/>
                  </a:cubicBezTo>
                  <a:cubicBezTo>
                    <a:pt x="306" y="808"/>
                    <a:pt x="307" y="804"/>
                    <a:pt x="307" y="800"/>
                  </a:cubicBezTo>
                  <a:cubicBezTo>
                    <a:pt x="326" y="542"/>
                    <a:pt x="355" y="0"/>
                    <a:pt x="355" y="0"/>
                  </a:cubicBezTo>
                  <a:lnTo>
                    <a:pt x="0" y="22"/>
                  </a:lnTo>
                  <a:close/>
                </a:path>
              </a:pathLst>
            </a:custGeom>
            <a:solidFill>
              <a:srgbClr val="233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38">
              <a:extLst>
                <a:ext uri="{FF2B5EF4-FFF2-40B4-BE49-F238E27FC236}">
                  <a16:creationId xmlns:a16="http://schemas.microsoft.com/office/drawing/2014/main" id="{3E24C5F5-6678-4AAF-B3A2-FD26B21C0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9" y="1522"/>
              <a:ext cx="506" cy="976"/>
            </a:xfrm>
            <a:custGeom>
              <a:avLst/>
              <a:gdLst>
                <a:gd name="T0" fmla="*/ 0 w 672"/>
                <a:gd name="T1" fmla="*/ 104 h 1294"/>
                <a:gd name="T2" fmla="*/ 380 w 672"/>
                <a:gd name="T3" fmla="*/ 948 h 1294"/>
                <a:gd name="T4" fmla="*/ 577 w 672"/>
                <a:gd name="T5" fmla="*/ 1294 h 1294"/>
                <a:gd name="T6" fmla="*/ 672 w 672"/>
                <a:gd name="T7" fmla="*/ 1236 h 1294"/>
                <a:gd name="T8" fmla="*/ 513 w 672"/>
                <a:gd name="T9" fmla="*/ 587 h 1294"/>
                <a:gd name="T10" fmla="*/ 386 w 672"/>
                <a:gd name="T11" fmla="*/ 225 h 1294"/>
                <a:gd name="T12" fmla="*/ 366 w 672"/>
                <a:gd name="T13" fmla="*/ 0 h 1294"/>
                <a:gd name="T14" fmla="*/ 0 w 672"/>
                <a:gd name="T15" fmla="*/ 104 h 1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2" h="1294">
                  <a:moveTo>
                    <a:pt x="0" y="104"/>
                  </a:moveTo>
                  <a:cubicBezTo>
                    <a:pt x="0" y="104"/>
                    <a:pt x="229" y="678"/>
                    <a:pt x="380" y="948"/>
                  </a:cubicBezTo>
                  <a:cubicBezTo>
                    <a:pt x="530" y="1218"/>
                    <a:pt x="577" y="1294"/>
                    <a:pt x="577" y="1294"/>
                  </a:cubicBezTo>
                  <a:cubicBezTo>
                    <a:pt x="577" y="1294"/>
                    <a:pt x="664" y="1259"/>
                    <a:pt x="672" y="1236"/>
                  </a:cubicBezTo>
                  <a:cubicBezTo>
                    <a:pt x="672" y="1236"/>
                    <a:pt x="614" y="714"/>
                    <a:pt x="513" y="587"/>
                  </a:cubicBezTo>
                  <a:cubicBezTo>
                    <a:pt x="456" y="516"/>
                    <a:pt x="389" y="300"/>
                    <a:pt x="386" y="225"/>
                  </a:cubicBezTo>
                  <a:cubicBezTo>
                    <a:pt x="383" y="149"/>
                    <a:pt x="366" y="0"/>
                    <a:pt x="366" y="0"/>
                  </a:cubicBezTo>
                  <a:lnTo>
                    <a:pt x="0" y="104"/>
                  </a:lnTo>
                  <a:close/>
                </a:path>
              </a:pathLst>
            </a:custGeom>
            <a:solidFill>
              <a:srgbClr val="2B47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39">
              <a:extLst>
                <a:ext uri="{FF2B5EF4-FFF2-40B4-BE49-F238E27FC236}">
                  <a16:creationId xmlns:a16="http://schemas.microsoft.com/office/drawing/2014/main" id="{17B047C3-C1CA-48C7-A112-84B47562D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6" y="1512"/>
              <a:ext cx="75" cy="122"/>
            </a:xfrm>
            <a:custGeom>
              <a:avLst/>
              <a:gdLst>
                <a:gd name="T0" fmla="*/ 21 w 100"/>
                <a:gd name="T1" fmla="*/ 14 h 162"/>
                <a:gd name="T2" fmla="*/ 24 w 100"/>
                <a:gd name="T3" fmla="*/ 51 h 162"/>
                <a:gd name="T4" fmla="*/ 68 w 100"/>
                <a:gd name="T5" fmla="*/ 150 h 162"/>
                <a:gd name="T6" fmla="*/ 98 w 100"/>
                <a:gd name="T7" fmla="*/ 139 h 162"/>
                <a:gd name="T8" fmla="*/ 98 w 100"/>
                <a:gd name="T9" fmla="*/ 93 h 162"/>
                <a:gd name="T10" fmla="*/ 67 w 100"/>
                <a:gd name="T11" fmla="*/ 20 h 162"/>
                <a:gd name="T12" fmla="*/ 49 w 100"/>
                <a:gd name="T13" fmla="*/ 0 h 162"/>
                <a:gd name="T14" fmla="*/ 21 w 100"/>
                <a:gd name="T15" fmla="*/ 1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162">
                  <a:moveTo>
                    <a:pt x="21" y="14"/>
                  </a:move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0" y="116"/>
                    <a:pt x="68" y="150"/>
                  </a:cubicBezTo>
                  <a:cubicBezTo>
                    <a:pt x="68" y="150"/>
                    <a:pt x="97" y="162"/>
                    <a:pt x="98" y="139"/>
                  </a:cubicBezTo>
                  <a:cubicBezTo>
                    <a:pt x="99" y="116"/>
                    <a:pt x="96" y="125"/>
                    <a:pt x="98" y="93"/>
                  </a:cubicBezTo>
                  <a:cubicBezTo>
                    <a:pt x="100" y="61"/>
                    <a:pt x="88" y="30"/>
                    <a:pt x="67" y="20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21" y="14"/>
                  </a:ln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40">
              <a:extLst>
                <a:ext uri="{FF2B5EF4-FFF2-40B4-BE49-F238E27FC236}">
                  <a16:creationId xmlns:a16="http://schemas.microsoft.com/office/drawing/2014/main" id="{E9014847-DFA1-483D-86D1-CF3CBAA37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0" y="992"/>
              <a:ext cx="346" cy="557"/>
            </a:xfrm>
            <a:custGeom>
              <a:avLst/>
              <a:gdLst>
                <a:gd name="T0" fmla="*/ 427 w 459"/>
                <a:gd name="T1" fmla="*/ 731 h 739"/>
                <a:gd name="T2" fmla="*/ 398 w 459"/>
                <a:gd name="T3" fmla="*/ 737 h 739"/>
                <a:gd name="T4" fmla="*/ 262 w 459"/>
                <a:gd name="T5" fmla="*/ 491 h 739"/>
                <a:gd name="T6" fmla="*/ 0 w 459"/>
                <a:gd name="T7" fmla="*/ 239 h 739"/>
                <a:gd name="T8" fmla="*/ 64 w 459"/>
                <a:gd name="T9" fmla="*/ 0 h 739"/>
                <a:gd name="T10" fmla="*/ 378 w 459"/>
                <a:gd name="T11" fmla="*/ 421 h 739"/>
                <a:gd name="T12" fmla="*/ 459 w 459"/>
                <a:gd name="T13" fmla="*/ 710 h 739"/>
                <a:gd name="T14" fmla="*/ 427 w 459"/>
                <a:gd name="T15" fmla="*/ 731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9" h="739">
                  <a:moveTo>
                    <a:pt x="427" y="731"/>
                  </a:moveTo>
                  <a:cubicBezTo>
                    <a:pt x="402" y="739"/>
                    <a:pt x="398" y="737"/>
                    <a:pt x="398" y="737"/>
                  </a:cubicBezTo>
                  <a:cubicBezTo>
                    <a:pt x="398" y="737"/>
                    <a:pt x="274" y="512"/>
                    <a:pt x="262" y="491"/>
                  </a:cubicBezTo>
                  <a:cubicBezTo>
                    <a:pt x="249" y="471"/>
                    <a:pt x="0" y="239"/>
                    <a:pt x="0" y="239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0"/>
                    <a:pt x="348" y="368"/>
                    <a:pt x="378" y="421"/>
                  </a:cubicBezTo>
                  <a:cubicBezTo>
                    <a:pt x="429" y="508"/>
                    <a:pt x="459" y="710"/>
                    <a:pt x="459" y="710"/>
                  </a:cubicBezTo>
                  <a:cubicBezTo>
                    <a:pt x="459" y="710"/>
                    <a:pt x="447" y="724"/>
                    <a:pt x="427" y="731"/>
                  </a:cubicBezTo>
                  <a:close/>
                </a:path>
              </a:pathLst>
            </a:custGeom>
            <a:solidFill>
              <a:srgbClr val="1E3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41">
              <a:extLst>
                <a:ext uri="{FF2B5EF4-FFF2-40B4-BE49-F238E27FC236}">
                  <a16:creationId xmlns:a16="http://schemas.microsoft.com/office/drawing/2014/main" id="{A0BF4777-58B4-4B45-8C21-6BF002E8C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8" y="949"/>
              <a:ext cx="371" cy="721"/>
            </a:xfrm>
            <a:custGeom>
              <a:avLst/>
              <a:gdLst>
                <a:gd name="T0" fmla="*/ 0 w 492"/>
                <a:gd name="T1" fmla="*/ 390 h 957"/>
                <a:gd name="T2" fmla="*/ 8 w 492"/>
                <a:gd name="T3" fmla="*/ 551 h 957"/>
                <a:gd name="T4" fmla="*/ 9 w 492"/>
                <a:gd name="T5" fmla="*/ 561 h 957"/>
                <a:gd name="T6" fmla="*/ 17 w 492"/>
                <a:gd name="T7" fmla="*/ 664 h 957"/>
                <a:gd name="T8" fmla="*/ 21 w 492"/>
                <a:gd name="T9" fmla="*/ 705 h 957"/>
                <a:gd name="T10" fmla="*/ 21 w 492"/>
                <a:gd name="T11" fmla="*/ 706 h 957"/>
                <a:gd name="T12" fmla="*/ 22 w 492"/>
                <a:gd name="T13" fmla="*/ 722 h 957"/>
                <a:gd name="T14" fmla="*/ 50 w 492"/>
                <a:gd name="T15" fmla="*/ 951 h 957"/>
                <a:gd name="T16" fmla="*/ 60 w 492"/>
                <a:gd name="T17" fmla="*/ 953 h 957"/>
                <a:gd name="T18" fmla="*/ 274 w 492"/>
                <a:gd name="T19" fmla="*/ 939 h 957"/>
                <a:gd name="T20" fmla="*/ 465 w 492"/>
                <a:gd name="T21" fmla="*/ 860 h 957"/>
                <a:gd name="T22" fmla="*/ 491 w 492"/>
                <a:gd name="T23" fmla="*/ 832 h 957"/>
                <a:gd name="T24" fmla="*/ 483 w 492"/>
                <a:gd name="T25" fmla="*/ 787 h 957"/>
                <a:gd name="T26" fmla="*/ 442 w 492"/>
                <a:gd name="T27" fmla="*/ 466 h 957"/>
                <a:gd name="T28" fmla="*/ 436 w 492"/>
                <a:gd name="T29" fmla="*/ 391 h 957"/>
                <a:gd name="T30" fmla="*/ 403 w 492"/>
                <a:gd name="T31" fmla="*/ 212 h 957"/>
                <a:gd name="T32" fmla="*/ 282 w 492"/>
                <a:gd name="T33" fmla="*/ 4 h 957"/>
                <a:gd name="T34" fmla="*/ 206 w 492"/>
                <a:gd name="T35" fmla="*/ 45 h 957"/>
                <a:gd name="T36" fmla="*/ 112 w 492"/>
                <a:gd name="T37" fmla="*/ 67 h 957"/>
                <a:gd name="T38" fmla="*/ 84 w 492"/>
                <a:gd name="T39" fmla="*/ 98 h 957"/>
                <a:gd name="T40" fmla="*/ 5 w 492"/>
                <a:gd name="T41" fmla="*/ 262 h 957"/>
                <a:gd name="T42" fmla="*/ 3 w 492"/>
                <a:gd name="T43" fmla="*/ 280 h 957"/>
                <a:gd name="T44" fmla="*/ 0 w 492"/>
                <a:gd name="T45" fmla="*/ 390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2" h="957">
                  <a:moveTo>
                    <a:pt x="0" y="390"/>
                  </a:moveTo>
                  <a:cubicBezTo>
                    <a:pt x="1" y="439"/>
                    <a:pt x="4" y="495"/>
                    <a:pt x="8" y="551"/>
                  </a:cubicBezTo>
                  <a:cubicBezTo>
                    <a:pt x="8" y="554"/>
                    <a:pt x="8" y="557"/>
                    <a:pt x="9" y="561"/>
                  </a:cubicBezTo>
                  <a:cubicBezTo>
                    <a:pt x="11" y="596"/>
                    <a:pt x="14" y="630"/>
                    <a:pt x="17" y="664"/>
                  </a:cubicBezTo>
                  <a:cubicBezTo>
                    <a:pt x="18" y="678"/>
                    <a:pt x="19" y="691"/>
                    <a:pt x="21" y="705"/>
                  </a:cubicBezTo>
                  <a:cubicBezTo>
                    <a:pt x="21" y="706"/>
                    <a:pt x="21" y="706"/>
                    <a:pt x="21" y="706"/>
                  </a:cubicBezTo>
                  <a:cubicBezTo>
                    <a:pt x="21" y="711"/>
                    <a:pt x="22" y="717"/>
                    <a:pt x="22" y="722"/>
                  </a:cubicBezTo>
                  <a:cubicBezTo>
                    <a:pt x="35" y="849"/>
                    <a:pt x="48" y="949"/>
                    <a:pt x="50" y="951"/>
                  </a:cubicBezTo>
                  <a:cubicBezTo>
                    <a:pt x="53" y="953"/>
                    <a:pt x="57" y="954"/>
                    <a:pt x="60" y="953"/>
                  </a:cubicBezTo>
                  <a:cubicBezTo>
                    <a:pt x="93" y="949"/>
                    <a:pt x="193" y="957"/>
                    <a:pt x="274" y="939"/>
                  </a:cubicBezTo>
                  <a:cubicBezTo>
                    <a:pt x="343" y="924"/>
                    <a:pt x="402" y="897"/>
                    <a:pt x="465" y="860"/>
                  </a:cubicBezTo>
                  <a:cubicBezTo>
                    <a:pt x="474" y="855"/>
                    <a:pt x="492" y="842"/>
                    <a:pt x="491" y="832"/>
                  </a:cubicBezTo>
                  <a:cubicBezTo>
                    <a:pt x="489" y="821"/>
                    <a:pt x="487" y="806"/>
                    <a:pt x="483" y="787"/>
                  </a:cubicBezTo>
                  <a:cubicBezTo>
                    <a:pt x="471" y="719"/>
                    <a:pt x="449" y="602"/>
                    <a:pt x="442" y="466"/>
                  </a:cubicBezTo>
                  <a:cubicBezTo>
                    <a:pt x="441" y="441"/>
                    <a:pt x="439" y="416"/>
                    <a:pt x="436" y="391"/>
                  </a:cubicBezTo>
                  <a:cubicBezTo>
                    <a:pt x="429" y="327"/>
                    <a:pt x="418" y="266"/>
                    <a:pt x="403" y="212"/>
                  </a:cubicBezTo>
                  <a:cubicBezTo>
                    <a:pt x="375" y="111"/>
                    <a:pt x="334" y="34"/>
                    <a:pt x="282" y="4"/>
                  </a:cubicBezTo>
                  <a:cubicBezTo>
                    <a:pt x="275" y="0"/>
                    <a:pt x="239" y="23"/>
                    <a:pt x="206" y="45"/>
                  </a:cubicBezTo>
                  <a:cubicBezTo>
                    <a:pt x="175" y="64"/>
                    <a:pt x="143" y="70"/>
                    <a:pt x="112" y="67"/>
                  </a:cubicBezTo>
                  <a:cubicBezTo>
                    <a:pt x="84" y="98"/>
                    <a:pt x="84" y="98"/>
                    <a:pt x="84" y="98"/>
                  </a:cubicBezTo>
                  <a:cubicBezTo>
                    <a:pt x="50" y="137"/>
                    <a:pt x="15" y="189"/>
                    <a:pt x="5" y="262"/>
                  </a:cubicBezTo>
                  <a:cubicBezTo>
                    <a:pt x="4" y="268"/>
                    <a:pt x="4" y="274"/>
                    <a:pt x="3" y="280"/>
                  </a:cubicBezTo>
                  <a:cubicBezTo>
                    <a:pt x="0" y="310"/>
                    <a:pt x="0" y="348"/>
                    <a:pt x="0" y="390"/>
                  </a:cubicBezTo>
                  <a:close/>
                </a:path>
              </a:pathLst>
            </a:custGeom>
            <a:solidFill>
              <a:srgbClr val="2A4E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142">
              <a:extLst>
                <a:ext uri="{FF2B5EF4-FFF2-40B4-BE49-F238E27FC236}">
                  <a16:creationId xmlns:a16="http://schemas.microsoft.com/office/drawing/2014/main" id="{EA94687A-65C8-441F-AA12-484702A7E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8" y="1117"/>
              <a:ext cx="172" cy="255"/>
            </a:xfrm>
            <a:custGeom>
              <a:avLst/>
              <a:gdLst>
                <a:gd name="T0" fmla="*/ 0 w 229"/>
                <a:gd name="T1" fmla="*/ 167 h 338"/>
                <a:gd name="T2" fmla="*/ 8 w 229"/>
                <a:gd name="T3" fmla="*/ 328 h 338"/>
                <a:gd name="T4" fmla="*/ 9 w 229"/>
                <a:gd name="T5" fmla="*/ 338 h 338"/>
                <a:gd name="T6" fmla="*/ 229 w 229"/>
                <a:gd name="T7" fmla="*/ 0 h 338"/>
                <a:gd name="T8" fmla="*/ 3 w 229"/>
                <a:gd name="T9" fmla="*/ 57 h 338"/>
                <a:gd name="T10" fmla="*/ 0 w 229"/>
                <a:gd name="T11" fmla="*/ 16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338">
                  <a:moveTo>
                    <a:pt x="0" y="167"/>
                  </a:moveTo>
                  <a:cubicBezTo>
                    <a:pt x="1" y="216"/>
                    <a:pt x="4" y="272"/>
                    <a:pt x="8" y="328"/>
                  </a:cubicBezTo>
                  <a:cubicBezTo>
                    <a:pt x="8" y="331"/>
                    <a:pt x="8" y="334"/>
                    <a:pt x="9" y="338"/>
                  </a:cubicBezTo>
                  <a:cubicBezTo>
                    <a:pt x="199" y="218"/>
                    <a:pt x="229" y="0"/>
                    <a:pt x="229" y="0"/>
                  </a:cubicBezTo>
                  <a:cubicBezTo>
                    <a:pt x="135" y="4"/>
                    <a:pt x="60" y="26"/>
                    <a:pt x="3" y="57"/>
                  </a:cubicBezTo>
                  <a:cubicBezTo>
                    <a:pt x="0" y="87"/>
                    <a:pt x="0" y="125"/>
                    <a:pt x="0" y="167"/>
                  </a:cubicBezTo>
                  <a:close/>
                </a:path>
              </a:pathLst>
            </a:custGeom>
            <a:solidFill>
              <a:srgbClr val="1E3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43">
              <a:extLst>
                <a:ext uri="{FF2B5EF4-FFF2-40B4-BE49-F238E27FC236}">
                  <a16:creationId xmlns:a16="http://schemas.microsoft.com/office/drawing/2014/main" id="{E2AC1DF9-DF58-4802-93E3-BC50B95EA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2" y="1016"/>
              <a:ext cx="132" cy="101"/>
            </a:xfrm>
            <a:custGeom>
              <a:avLst/>
              <a:gdLst>
                <a:gd name="T0" fmla="*/ 174 w 174"/>
                <a:gd name="T1" fmla="*/ 91 h 134"/>
                <a:gd name="T2" fmla="*/ 140 w 174"/>
                <a:gd name="T3" fmla="*/ 74 h 134"/>
                <a:gd name="T4" fmla="*/ 34 w 174"/>
                <a:gd name="T5" fmla="*/ 10 h 134"/>
                <a:gd name="T6" fmla="*/ 14 w 174"/>
                <a:gd name="T7" fmla="*/ 38 h 134"/>
                <a:gd name="T8" fmla="*/ 45 w 174"/>
                <a:gd name="T9" fmla="*/ 80 h 134"/>
                <a:gd name="T10" fmla="*/ 122 w 174"/>
                <a:gd name="T11" fmla="*/ 127 h 134"/>
                <a:gd name="T12" fmla="*/ 151 w 174"/>
                <a:gd name="T13" fmla="*/ 134 h 134"/>
                <a:gd name="T14" fmla="*/ 174 w 174"/>
                <a:gd name="T15" fmla="*/ 91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134">
                  <a:moveTo>
                    <a:pt x="174" y="91"/>
                  </a:moveTo>
                  <a:cubicBezTo>
                    <a:pt x="140" y="74"/>
                    <a:pt x="140" y="74"/>
                    <a:pt x="140" y="74"/>
                  </a:cubicBezTo>
                  <a:cubicBezTo>
                    <a:pt x="140" y="74"/>
                    <a:pt x="117" y="0"/>
                    <a:pt x="34" y="10"/>
                  </a:cubicBezTo>
                  <a:cubicBezTo>
                    <a:pt x="34" y="10"/>
                    <a:pt x="0" y="17"/>
                    <a:pt x="14" y="38"/>
                  </a:cubicBezTo>
                  <a:cubicBezTo>
                    <a:pt x="28" y="60"/>
                    <a:pt x="26" y="50"/>
                    <a:pt x="45" y="80"/>
                  </a:cubicBezTo>
                  <a:cubicBezTo>
                    <a:pt x="65" y="110"/>
                    <a:pt x="96" y="130"/>
                    <a:pt x="122" y="127"/>
                  </a:cubicBezTo>
                  <a:cubicBezTo>
                    <a:pt x="151" y="134"/>
                    <a:pt x="151" y="134"/>
                    <a:pt x="151" y="134"/>
                  </a:cubicBezTo>
                  <a:lnTo>
                    <a:pt x="174" y="91"/>
                  </a:lnTo>
                  <a:close/>
                </a:path>
              </a:pathLst>
            </a:custGeom>
            <a:solidFill>
              <a:srgbClr val="ED97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44">
              <a:extLst>
                <a:ext uri="{FF2B5EF4-FFF2-40B4-BE49-F238E27FC236}">
                  <a16:creationId xmlns:a16="http://schemas.microsoft.com/office/drawing/2014/main" id="{F18A5E93-7E79-4192-ABBF-FDE513B7E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3" y="1009"/>
              <a:ext cx="644" cy="235"/>
            </a:xfrm>
            <a:custGeom>
              <a:avLst/>
              <a:gdLst>
                <a:gd name="T0" fmla="*/ 7 w 855"/>
                <a:gd name="T1" fmla="*/ 110 h 311"/>
                <a:gd name="T2" fmla="*/ 33 w 855"/>
                <a:gd name="T3" fmla="*/ 85 h 311"/>
                <a:gd name="T4" fmla="*/ 341 w 855"/>
                <a:gd name="T5" fmla="*/ 159 h 311"/>
                <a:gd name="T6" fmla="*/ 646 w 855"/>
                <a:gd name="T7" fmla="*/ 50 h 311"/>
                <a:gd name="T8" fmla="*/ 808 w 855"/>
                <a:gd name="T9" fmla="*/ 45 h 311"/>
                <a:gd name="T10" fmla="*/ 844 w 855"/>
                <a:gd name="T11" fmla="*/ 176 h 311"/>
                <a:gd name="T12" fmla="*/ 739 w 855"/>
                <a:gd name="T13" fmla="*/ 269 h 311"/>
                <a:gd name="T14" fmla="*/ 350 w 855"/>
                <a:gd name="T15" fmla="*/ 304 h 311"/>
                <a:gd name="T16" fmla="*/ 3 w 855"/>
                <a:gd name="T17" fmla="*/ 150 h 311"/>
                <a:gd name="T18" fmla="*/ 7 w 855"/>
                <a:gd name="T19" fmla="*/ 110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5" h="311">
                  <a:moveTo>
                    <a:pt x="7" y="110"/>
                  </a:moveTo>
                  <a:cubicBezTo>
                    <a:pt x="17" y="83"/>
                    <a:pt x="33" y="85"/>
                    <a:pt x="33" y="85"/>
                  </a:cubicBezTo>
                  <a:cubicBezTo>
                    <a:pt x="33" y="85"/>
                    <a:pt x="316" y="156"/>
                    <a:pt x="341" y="159"/>
                  </a:cubicBezTo>
                  <a:cubicBezTo>
                    <a:pt x="367" y="162"/>
                    <a:pt x="646" y="50"/>
                    <a:pt x="646" y="50"/>
                  </a:cubicBezTo>
                  <a:cubicBezTo>
                    <a:pt x="646" y="50"/>
                    <a:pt x="756" y="0"/>
                    <a:pt x="808" y="45"/>
                  </a:cubicBezTo>
                  <a:cubicBezTo>
                    <a:pt x="853" y="84"/>
                    <a:pt x="855" y="134"/>
                    <a:pt x="844" y="176"/>
                  </a:cubicBezTo>
                  <a:cubicBezTo>
                    <a:pt x="832" y="226"/>
                    <a:pt x="790" y="262"/>
                    <a:pt x="739" y="269"/>
                  </a:cubicBezTo>
                  <a:cubicBezTo>
                    <a:pt x="625" y="283"/>
                    <a:pt x="397" y="311"/>
                    <a:pt x="350" y="304"/>
                  </a:cubicBezTo>
                  <a:cubicBezTo>
                    <a:pt x="243" y="289"/>
                    <a:pt x="3" y="150"/>
                    <a:pt x="3" y="150"/>
                  </a:cubicBezTo>
                  <a:cubicBezTo>
                    <a:pt x="3" y="150"/>
                    <a:pt x="0" y="131"/>
                    <a:pt x="7" y="110"/>
                  </a:cubicBezTo>
                  <a:close/>
                </a:path>
              </a:pathLst>
            </a:custGeom>
            <a:solidFill>
              <a:srgbClr val="2A4E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145">
              <a:extLst>
                <a:ext uri="{FF2B5EF4-FFF2-40B4-BE49-F238E27FC236}">
                  <a16:creationId xmlns:a16="http://schemas.microsoft.com/office/drawing/2014/main" id="{8923DCAB-E847-4DD2-9536-CD321F786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" y="2611"/>
              <a:ext cx="261" cy="504"/>
            </a:xfrm>
            <a:custGeom>
              <a:avLst/>
              <a:gdLst>
                <a:gd name="T0" fmla="*/ 323 w 346"/>
                <a:gd name="T1" fmla="*/ 101 h 668"/>
                <a:gd name="T2" fmla="*/ 233 w 346"/>
                <a:gd name="T3" fmla="*/ 13 h 668"/>
                <a:gd name="T4" fmla="*/ 278 w 346"/>
                <a:gd name="T5" fmla="*/ 37 h 668"/>
                <a:gd name="T6" fmla="*/ 148 w 346"/>
                <a:gd name="T7" fmla="*/ 57 h 668"/>
                <a:gd name="T8" fmla="*/ 101 w 346"/>
                <a:gd name="T9" fmla="*/ 282 h 668"/>
                <a:gd name="T10" fmla="*/ 10 w 346"/>
                <a:gd name="T11" fmla="*/ 401 h 668"/>
                <a:gd name="T12" fmla="*/ 250 w 346"/>
                <a:gd name="T13" fmla="*/ 668 h 668"/>
                <a:gd name="T14" fmla="*/ 277 w 346"/>
                <a:gd name="T15" fmla="*/ 462 h 668"/>
                <a:gd name="T16" fmla="*/ 314 w 346"/>
                <a:gd name="T17" fmla="*/ 531 h 668"/>
                <a:gd name="T18" fmla="*/ 277 w 346"/>
                <a:gd name="T19" fmla="*/ 434 h 668"/>
                <a:gd name="T20" fmla="*/ 205 w 346"/>
                <a:gd name="T21" fmla="*/ 324 h 668"/>
                <a:gd name="T22" fmla="*/ 323 w 346"/>
                <a:gd name="T23" fmla="*/ 101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6" h="668">
                  <a:moveTo>
                    <a:pt x="323" y="101"/>
                  </a:moveTo>
                  <a:cubicBezTo>
                    <a:pt x="323" y="101"/>
                    <a:pt x="331" y="13"/>
                    <a:pt x="233" y="13"/>
                  </a:cubicBezTo>
                  <a:cubicBezTo>
                    <a:pt x="233" y="13"/>
                    <a:pt x="263" y="21"/>
                    <a:pt x="278" y="37"/>
                  </a:cubicBezTo>
                  <a:cubicBezTo>
                    <a:pt x="278" y="37"/>
                    <a:pt x="216" y="0"/>
                    <a:pt x="148" y="57"/>
                  </a:cubicBezTo>
                  <a:cubicBezTo>
                    <a:pt x="80" y="113"/>
                    <a:pt x="122" y="255"/>
                    <a:pt x="101" y="282"/>
                  </a:cubicBezTo>
                  <a:cubicBezTo>
                    <a:pt x="81" y="308"/>
                    <a:pt x="0" y="314"/>
                    <a:pt x="10" y="401"/>
                  </a:cubicBezTo>
                  <a:cubicBezTo>
                    <a:pt x="20" y="488"/>
                    <a:pt x="266" y="596"/>
                    <a:pt x="250" y="668"/>
                  </a:cubicBezTo>
                  <a:cubicBezTo>
                    <a:pt x="250" y="668"/>
                    <a:pt x="346" y="527"/>
                    <a:pt x="277" y="462"/>
                  </a:cubicBezTo>
                  <a:cubicBezTo>
                    <a:pt x="277" y="462"/>
                    <a:pt x="311" y="494"/>
                    <a:pt x="314" y="531"/>
                  </a:cubicBezTo>
                  <a:cubicBezTo>
                    <a:pt x="314" y="531"/>
                    <a:pt x="324" y="458"/>
                    <a:pt x="277" y="434"/>
                  </a:cubicBezTo>
                  <a:cubicBezTo>
                    <a:pt x="235" y="413"/>
                    <a:pt x="202" y="337"/>
                    <a:pt x="205" y="324"/>
                  </a:cubicBezTo>
                  <a:cubicBezTo>
                    <a:pt x="209" y="310"/>
                    <a:pt x="323" y="101"/>
                    <a:pt x="323" y="101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46">
              <a:extLst>
                <a:ext uri="{FF2B5EF4-FFF2-40B4-BE49-F238E27FC236}">
                  <a16:creationId xmlns:a16="http://schemas.microsoft.com/office/drawing/2014/main" id="{72B68E67-529D-45AE-AC1E-6A9527709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4" y="2926"/>
              <a:ext cx="321" cy="599"/>
            </a:xfrm>
            <a:custGeom>
              <a:avLst/>
              <a:gdLst>
                <a:gd name="T0" fmla="*/ 180 w 426"/>
                <a:gd name="T1" fmla="*/ 96 h 794"/>
                <a:gd name="T2" fmla="*/ 26 w 426"/>
                <a:gd name="T3" fmla="*/ 60 h 794"/>
                <a:gd name="T4" fmla="*/ 10 w 426"/>
                <a:gd name="T5" fmla="*/ 98 h 794"/>
                <a:gd name="T6" fmla="*/ 151 w 426"/>
                <a:gd name="T7" fmla="*/ 548 h 794"/>
                <a:gd name="T8" fmla="*/ 389 w 426"/>
                <a:gd name="T9" fmla="*/ 794 h 794"/>
                <a:gd name="T10" fmla="*/ 426 w 426"/>
                <a:gd name="T11" fmla="*/ 771 h 794"/>
                <a:gd name="T12" fmla="*/ 260 w 426"/>
                <a:gd name="T13" fmla="*/ 505 h 794"/>
                <a:gd name="T14" fmla="*/ 180 w 426"/>
                <a:gd name="T15" fmla="*/ 96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6" h="794">
                  <a:moveTo>
                    <a:pt x="180" y="96"/>
                  </a:moveTo>
                  <a:cubicBezTo>
                    <a:pt x="165" y="23"/>
                    <a:pt x="71" y="0"/>
                    <a:pt x="26" y="60"/>
                  </a:cubicBezTo>
                  <a:cubicBezTo>
                    <a:pt x="18" y="70"/>
                    <a:pt x="12" y="83"/>
                    <a:pt x="10" y="98"/>
                  </a:cubicBezTo>
                  <a:cubicBezTo>
                    <a:pt x="0" y="181"/>
                    <a:pt x="132" y="517"/>
                    <a:pt x="151" y="548"/>
                  </a:cubicBezTo>
                  <a:cubicBezTo>
                    <a:pt x="186" y="603"/>
                    <a:pt x="389" y="794"/>
                    <a:pt x="389" y="794"/>
                  </a:cubicBezTo>
                  <a:cubicBezTo>
                    <a:pt x="426" y="771"/>
                    <a:pt x="426" y="771"/>
                    <a:pt x="426" y="771"/>
                  </a:cubicBezTo>
                  <a:cubicBezTo>
                    <a:pt x="426" y="771"/>
                    <a:pt x="282" y="527"/>
                    <a:pt x="260" y="505"/>
                  </a:cubicBezTo>
                  <a:cubicBezTo>
                    <a:pt x="234" y="478"/>
                    <a:pt x="209" y="234"/>
                    <a:pt x="180" y="96"/>
                  </a:cubicBezTo>
                  <a:close/>
                </a:path>
              </a:pathLst>
            </a:custGeom>
            <a:solidFill>
              <a:srgbClr val="ED9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47">
              <a:extLst>
                <a:ext uri="{FF2B5EF4-FFF2-40B4-BE49-F238E27FC236}">
                  <a16:creationId xmlns:a16="http://schemas.microsoft.com/office/drawing/2014/main" id="{72448F8D-2023-45F5-9FA0-61FFC49CC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9" y="2964"/>
              <a:ext cx="116" cy="161"/>
            </a:xfrm>
            <a:custGeom>
              <a:avLst/>
              <a:gdLst>
                <a:gd name="T0" fmla="*/ 112 w 153"/>
                <a:gd name="T1" fmla="*/ 0 h 214"/>
                <a:gd name="T2" fmla="*/ 153 w 153"/>
                <a:gd name="T3" fmla="*/ 66 h 214"/>
                <a:gd name="T4" fmla="*/ 0 w 153"/>
                <a:gd name="T5" fmla="*/ 214 h 214"/>
                <a:gd name="T6" fmla="*/ 112 w 153"/>
                <a:gd name="T7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3" h="214">
                  <a:moveTo>
                    <a:pt x="112" y="0"/>
                  </a:moveTo>
                  <a:cubicBezTo>
                    <a:pt x="112" y="0"/>
                    <a:pt x="140" y="30"/>
                    <a:pt x="153" y="66"/>
                  </a:cubicBezTo>
                  <a:cubicBezTo>
                    <a:pt x="153" y="66"/>
                    <a:pt x="108" y="198"/>
                    <a:pt x="0" y="214"/>
                  </a:cubicBezTo>
                  <a:cubicBezTo>
                    <a:pt x="0" y="214"/>
                    <a:pt x="85" y="0"/>
                    <a:pt x="112" y="0"/>
                  </a:cubicBezTo>
                  <a:close/>
                </a:path>
              </a:pathLst>
            </a:custGeom>
            <a:solidFill>
              <a:srgbClr val="AA41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48">
              <a:extLst>
                <a:ext uri="{FF2B5EF4-FFF2-40B4-BE49-F238E27FC236}">
                  <a16:creationId xmlns:a16="http://schemas.microsoft.com/office/drawing/2014/main" id="{387F4BD6-5DF1-4502-8E4C-381C32F5B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" y="2664"/>
              <a:ext cx="218" cy="192"/>
            </a:xfrm>
            <a:custGeom>
              <a:avLst/>
              <a:gdLst>
                <a:gd name="T0" fmla="*/ 178 w 289"/>
                <a:gd name="T1" fmla="*/ 18 h 254"/>
                <a:gd name="T2" fmla="*/ 55 w 289"/>
                <a:gd name="T3" fmla="*/ 78 h 254"/>
                <a:gd name="T4" fmla="*/ 48 w 289"/>
                <a:gd name="T5" fmla="*/ 220 h 254"/>
                <a:gd name="T6" fmla="*/ 64 w 289"/>
                <a:gd name="T7" fmla="*/ 254 h 254"/>
                <a:gd name="T8" fmla="*/ 289 w 289"/>
                <a:gd name="T9" fmla="*/ 158 h 254"/>
                <a:gd name="T10" fmla="*/ 178 w 289"/>
                <a:gd name="T11" fmla="*/ 18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9" h="254">
                  <a:moveTo>
                    <a:pt x="178" y="18"/>
                  </a:moveTo>
                  <a:cubicBezTo>
                    <a:pt x="179" y="13"/>
                    <a:pt x="61" y="71"/>
                    <a:pt x="55" y="78"/>
                  </a:cubicBezTo>
                  <a:cubicBezTo>
                    <a:pt x="0" y="139"/>
                    <a:pt x="16" y="219"/>
                    <a:pt x="48" y="220"/>
                  </a:cubicBezTo>
                  <a:cubicBezTo>
                    <a:pt x="68" y="220"/>
                    <a:pt x="64" y="254"/>
                    <a:pt x="64" y="254"/>
                  </a:cubicBezTo>
                  <a:cubicBezTo>
                    <a:pt x="289" y="158"/>
                    <a:pt x="289" y="158"/>
                    <a:pt x="289" y="158"/>
                  </a:cubicBezTo>
                  <a:cubicBezTo>
                    <a:pt x="289" y="158"/>
                    <a:pt x="262" y="0"/>
                    <a:pt x="178" y="18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49">
              <a:extLst>
                <a:ext uri="{FF2B5EF4-FFF2-40B4-BE49-F238E27FC236}">
                  <a16:creationId xmlns:a16="http://schemas.microsoft.com/office/drawing/2014/main" id="{099476ED-6E0C-4577-930E-467E35128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0" y="3190"/>
              <a:ext cx="439" cy="928"/>
            </a:xfrm>
            <a:custGeom>
              <a:avLst/>
              <a:gdLst>
                <a:gd name="T0" fmla="*/ 583 w 583"/>
                <a:gd name="T1" fmla="*/ 1231 h 1231"/>
                <a:gd name="T2" fmla="*/ 534 w 583"/>
                <a:gd name="T3" fmla="*/ 1224 h 1231"/>
                <a:gd name="T4" fmla="*/ 346 w 583"/>
                <a:gd name="T5" fmla="*/ 850 h 1231"/>
                <a:gd name="T6" fmla="*/ 344 w 583"/>
                <a:gd name="T7" fmla="*/ 775 h 1231"/>
                <a:gd name="T8" fmla="*/ 343 w 583"/>
                <a:gd name="T9" fmla="*/ 767 h 1231"/>
                <a:gd name="T10" fmla="*/ 343 w 583"/>
                <a:gd name="T11" fmla="*/ 767 h 1231"/>
                <a:gd name="T12" fmla="*/ 307 w 583"/>
                <a:gd name="T13" fmla="*/ 710 h 1231"/>
                <a:gd name="T14" fmla="*/ 227 w 583"/>
                <a:gd name="T15" fmla="*/ 568 h 1231"/>
                <a:gd name="T16" fmla="*/ 75 w 583"/>
                <a:gd name="T17" fmla="*/ 290 h 1231"/>
                <a:gd name="T18" fmla="*/ 36 w 583"/>
                <a:gd name="T19" fmla="*/ 71 h 1231"/>
                <a:gd name="T20" fmla="*/ 303 w 583"/>
                <a:gd name="T21" fmla="*/ 0 h 1231"/>
                <a:gd name="T22" fmla="*/ 324 w 583"/>
                <a:gd name="T23" fmla="*/ 32 h 1231"/>
                <a:gd name="T24" fmla="*/ 368 w 583"/>
                <a:gd name="T25" fmla="*/ 234 h 1231"/>
                <a:gd name="T26" fmla="*/ 374 w 583"/>
                <a:gd name="T27" fmla="*/ 255 h 1231"/>
                <a:gd name="T28" fmla="*/ 474 w 583"/>
                <a:gd name="T29" fmla="*/ 617 h 1231"/>
                <a:gd name="T30" fmla="*/ 490 w 583"/>
                <a:gd name="T31" fmla="*/ 774 h 1231"/>
                <a:gd name="T32" fmla="*/ 493 w 583"/>
                <a:gd name="T33" fmla="*/ 831 h 1231"/>
                <a:gd name="T34" fmla="*/ 583 w 583"/>
                <a:gd name="T35" fmla="*/ 1231 h 1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3" h="1231">
                  <a:moveTo>
                    <a:pt x="583" y="1231"/>
                  </a:moveTo>
                  <a:cubicBezTo>
                    <a:pt x="534" y="1224"/>
                    <a:pt x="534" y="1224"/>
                    <a:pt x="534" y="1224"/>
                  </a:cubicBezTo>
                  <a:cubicBezTo>
                    <a:pt x="534" y="1224"/>
                    <a:pt x="370" y="1094"/>
                    <a:pt x="346" y="850"/>
                  </a:cubicBezTo>
                  <a:cubicBezTo>
                    <a:pt x="343" y="826"/>
                    <a:pt x="343" y="800"/>
                    <a:pt x="344" y="775"/>
                  </a:cubicBezTo>
                  <a:cubicBezTo>
                    <a:pt x="345" y="772"/>
                    <a:pt x="344" y="769"/>
                    <a:pt x="343" y="767"/>
                  </a:cubicBezTo>
                  <a:cubicBezTo>
                    <a:pt x="343" y="767"/>
                    <a:pt x="343" y="767"/>
                    <a:pt x="343" y="767"/>
                  </a:cubicBezTo>
                  <a:cubicBezTo>
                    <a:pt x="337" y="759"/>
                    <a:pt x="324" y="739"/>
                    <a:pt x="307" y="710"/>
                  </a:cubicBezTo>
                  <a:cubicBezTo>
                    <a:pt x="289" y="682"/>
                    <a:pt x="259" y="628"/>
                    <a:pt x="227" y="568"/>
                  </a:cubicBezTo>
                  <a:cubicBezTo>
                    <a:pt x="167" y="460"/>
                    <a:pt x="99" y="331"/>
                    <a:pt x="75" y="290"/>
                  </a:cubicBezTo>
                  <a:cubicBezTo>
                    <a:pt x="0" y="159"/>
                    <a:pt x="36" y="71"/>
                    <a:pt x="36" y="71"/>
                  </a:cubicBezTo>
                  <a:cubicBezTo>
                    <a:pt x="36" y="71"/>
                    <a:pt x="246" y="50"/>
                    <a:pt x="303" y="0"/>
                  </a:cubicBezTo>
                  <a:cubicBezTo>
                    <a:pt x="324" y="32"/>
                    <a:pt x="324" y="32"/>
                    <a:pt x="324" y="32"/>
                  </a:cubicBezTo>
                  <a:cubicBezTo>
                    <a:pt x="324" y="32"/>
                    <a:pt x="370" y="233"/>
                    <a:pt x="368" y="234"/>
                  </a:cubicBezTo>
                  <a:cubicBezTo>
                    <a:pt x="370" y="241"/>
                    <a:pt x="372" y="248"/>
                    <a:pt x="374" y="255"/>
                  </a:cubicBezTo>
                  <a:cubicBezTo>
                    <a:pt x="410" y="366"/>
                    <a:pt x="452" y="504"/>
                    <a:pt x="474" y="617"/>
                  </a:cubicBezTo>
                  <a:cubicBezTo>
                    <a:pt x="487" y="681"/>
                    <a:pt x="493" y="736"/>
                    <a:pt x="490" y="774"/>
                  </a:cubicBezTo>
                  <a:cubicBezTo>
                    <a:pt x="489" y="787"/>
                    <a:pt x="490" y="806"/>
                    <a:pt x="493" y="831"/>
                  </a:cubicBezTo>
                  <a:cubicBezTo>
                    <a:pt x="514" y="975"/>
                    <a:pt x="583" y="1231"/>
                    <a:pt x="583" y="1231"/>
                  </a:cubicBezTo>
                  <a:close/>
                </a:path>
              </a:pathLst>
            </a:custGeom>
            <a:solidFill>
              <a:srgbClr val="2B47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50">
              <a:extLst>
                <a:ext uri="{FF2B5EF4-FFF2-40B4-BE49-F238E27FC236}">
                  <a16:creationId xmlns:a16="http://schemas.microsoft.com/office/drawing/2014/main" id="{FE7C6977-0789-4754-A1E7-FCA086DD6E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9" y="4079"/>
              <a:ext cx="157" cy="86"/>
            </a:xfrm>
            <a:custGeom>
              <a:avLst/>
              <a:gdLst>
                <a:gd name="T0" fmla="*/ 208 w 208"/>
                <a:gd name="T1" fmla="*/ 114 h 114"/>
                <a:gd name="T2" fmla="*/ 5 w 208"/>
                <a:gd name="T3" fmla="*/ 114 h 114"/>
                <a:gd name="T4" fmla="*/ 10 w 208"/>
                <a:gd name="T5" fmla="*/ 59 h 114"/>
                <a:gd name="T6" fmla="*/ 12 w 208"/>
                <a:gd name="T7" fmla="*/ 0 h 114"/>
                <a:gd name="T8" fmla="*/ 96 w 208"/>
                <a:gd name="T9" fmla="*/ 15 h 114"/>
                <a:gd name="T10" fmla="*/ 131 w 208"/>
                <a:gd name="T11" fmla="*/ 69 h 114"/>
                <a:gd name="T12" fmla="*/ 208 w 208"/>
                <a:gd name="T1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14">
                  <a:moveTo>
                    <a:pt x="208" y="114"/>
                  </a:moveTo>
                  <a:cubicBezTo>
                    <a:pt x="5" y="114"/>
                    <a:pt x="5" y="114"/>
                    <a:pt x="5" y="114"/>
                  </a:cubicBezTo>
                  <a:cubicBezTo>
                    <a:pt x="5" y="114"/>
                    <a:pt x="0" y="83"/>
                    <a:pt x="10" y="59"/>
                  </a:cubicBezTo>
                  <a:cubicBezTo>
                    <a:pt x="21" y="37"/>
                    <a:pt x="35" y="36"/>
                    <a:pt x="12" y="0"/>
                  </a:cubicBezTo>
                  <a:cubicBezTo>
                    <a:pt x="25" y="14"/>
                    <a:pt x="67" y="19"/>
                    <a:pt x="96" y="15"/>
                  </a:cubicBezTo>
                  <a:cubicBezTo>
                    <a:pt x="100" y="21"/>
                    <a:pt x="119" y="60"/>
                    <a:pt x="131" y="69"/>
                  </a:cubicBezTo>
                  <a:cubicBezTo>
                    <a:pt x="145" y="79"/>
                    <a:pt x="204" y="75"/>
                    <a:pt x="208" y="114"/>
                  </a:cubicBezTo>
                  <a:close/>
                </a:path>
              </a:pathLst>
            </a:custGeom>
            <a:solidFill>
              <a:srgbClr val="233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51">
              <a:extLst>
                <a:ext uri="{FF2B5EF4-FFF2-40B4-BE49-F238E27FC236}">
                  <a16:creationId xmlns:a16="http://schemas.microsoft.com/office/drawing/2014/main" id="{7C826366-A888-4333-BDAD-DB398BAB0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0" y="3190"/>
              <a:ext cx="282" cy="428"/>
            </a:xfrm>
            <a:custGeom>
              <a:avLst/>
              <a:gdLst>
                <a:gd name="T0" fmla="*/ 374 w 374"/>
                <a:gd name="T1" fmla="*/ 255 h 568"/>
                <a:gd name="T2" fmla="*/ 227 w 374"/>
                <a:gd name="T3" fmla="*/ 568 h 568"/>
                <a:gd name="T4" fmla="*/ 75 w 374"/>
                <a:gd name="T5" fmla="*/ 290 h 568"/>
                <a:gd name="T6" fmla="*/ 36 w 374"/>
                <a:gd name="T7" fmla="*/ 71 h 568"/>
                <a:gd name="T8" fmla="*/ 303 w 374"/>
                <a:gd name="T9" fmla="*/ 0 h 568"/>
                <a:gd name="T10" fmla="*/ 324 w 374"/>
                <a:gd name="T11" fmla="*/ 32 h 568"/>
                <a:gd name="T12" fmla="*/ 368 w 374"/>
                <a:gd name="T13" fmla="*/ 234 h 568"/>
                <a:gd name="T14" fmla="*/ 374 w 374"/>
                <a:gd name="T15" fmla="*/ 255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4" h="568">
                  <a:moveTo>
                    <a:pt x="374" y="255"/>
                  </a:moveTo>
                  <a:cubicBezTo>
                    <a:pt x="357" y="353"/>
                    <a:pt x="315" y="516"/>
                    <a:pt x="227" y="568"/>
                  </a:cubicBezTo>
                  <a:cubicBezTo>
                    <a:pt x="167" y="460"/>
                    <a:pt x="99" y="331"/>
                    <a:pt x="75" y="290"/>
                  </a:cubicBezTo>
                  <a:cubicBezTo>
                    <a:pt x="0" y="159"/>
                    <a:pt x="36" y="71"/>
                    <a:pt x="36" y="71"/>
                  </a:cubicBezTo>
                  <a:cubicBezTo>
                    <a:pt x="36" y="71"/>
                    <a:pt x="246" y="50"/>
                    <a:pt x="303" y="0"/>
                  </a:cubicBezTo>
                  <a:cubicBezTo>
                    <a:pt x="324" y="32"/>
                    <a:pt x="324" y="32"/>
                    <a:pt x="324" y="32"/>
                  </a:cubicBezTo>
                  <a:cubicBezTo>
                    <a:pt x="324" y="32"/>
                    <a:pt x="370" y="233"/>
                    <a:pt x="368" y="234"/>
                  </a:cubicBezTo>
                  <a:cubicBezTo>
                    <a:pt x="370" y="241"/>
                    <a:pt x="372" y="248"/>
                    <a:pt x="374" y="255"/>
                  </a:cubicBezTo>
                  <a:close/>
                </a:path>
              </a:pathLst>
            </a:custGeom>
            <a:solidFill>
              <a:srgbClr val="233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52">
              <a:extLst>
                <a:ext uri="{FF2B5EF4-FFF2-40B4-BE49-F238E27FC236}">
                  <a16:creationId xmlns:a16="http://schemas.microsoft.com/office/drawing/2014/main" id="{37608938-71EB-449D-B0CD-B7CC41EE1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" y="3159"/>
              <a:ext cx="419" cy="1000"/>
            </a:xfrm>
            <a:custGeom>
              <a:avLst/>
              <a:gdLst>
                <a:gd name="T0" fmla="*/ 556 w 556"/>
                <a:gd name="T1" fmla="*/ 128 h 1327"/>
                <a:gd name="T2" fmla="*/ 556 w 556"/>
                <a:gd name="T3" fmla="*/ 90 h 1327"/>
                <a:gd name="T4" fmla="*/ 295 w 556"/>
                <a:gd name="T5" fmla="*/ 0 h 1327"/>
                <a:gd name="T6" fmla="*/ 205 w 556"/>
                <a:gd name="T7" fmla="*/ 203 h 1327"/>
                <a:gd name="T8" fmla="*/ 162 w 556"/>
                <a:gd name="T9" fmla="*/ 681 h 1327"/>
                <a:gd name="T10" fmla="*/ 160 w 556"/>
                <a:gd name="T11" fmla="*/ 748 h 1327"/>
                <a:gd name="T12" fmla="*/ 160 w 556"/>
                <a:gd name="T13" fmla="*/ 748 h 1327"/>
                <a:gd name="T14" fmla="*/ 157 w 556"/>
                <a:gd name="T15" fmla="*/ 756 h 1327"/>
                <a:gd name="T16" fmla="*/ 116 w 556"/>
                <a:gd name="T17" fmla="*/ 819 h 1327"/>
                <a:gd name="T18" fmla="*/ 61 w 556"/>
                <a:gd name="T19" fmla="*/ 1327 h 1327"/>
                <a:gd name="T20" fmla="*/ 88 w 556"/>
                <a:gd name="T21" fmla="*/ 1320 h 1327"/>
                <a:gd name="T22" fmla="*/ 249 w 556"/>
                <a:gd name="T23" fmla="*/ 885 h 1327"/>
                <a:gd name="T24" fmla="*/ 278 w 556"/>
                <a:gd name="T25" fmla="*/ 836 h 1327"/>
                <a:gd name="T26" fmla="*/ 353 w 556"/>
                <a:gd name="T27" fmla="*/ 697 h 1327"/>
                <a:gd name="T28" fmla="*/ 478 w 556"/>
                <a:gd name="T29" fmla="*/ 320 h 1327"/>
                <a:gd name="T30" fmla="*/ 556 w 556"/>
                <a:gd name="T31" fmla="*/ 128 h 1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6" h="1327">
                  <a:moveTo>
                    <a:pt x="556" y="128"/>
                  </a:moveTo>
                  <a:cubicBezTo>
                    <a:pt x="556" y="90"/>
                    <a:pt x="556" y="90"/>
                    <a:pt x="556" y="90"/>
                  </a:cubicBezTo>
                  <a:cubicBezTo>
                    <a:pt x="480" y="100"/>
                    <a:pt x="295" y="0"/>
                    <a:pt x="295" y="0"/>
                  </a:cubicBezTo>
                  <a:cubicBezTo>
                    <a:pt x="295" y="0"/>
                    <a:pt x="216" y="52"/>
                    <a:pt x="205" y="203"/>
                  </a:cubicBezTo>
                  <a:cubicBezTo>
                    <a:pt x="199" y="277"/>
                    <a:pt x="166" y="588"/>
                    <a:pt x="162" y="681"/>
                  </a:cubicBezTo>
                  <a:cubicBezTo>
                    <a:pt x="161" y="714"/>
                    <a:pt x="160" y="738"/>
                    <a:pt x="160" y="748"/>
                  </a:cubicBezTo>
                  <a:cubicBezTo>
                    <a:pt x="160" y="748"/>
                    <a:pt x="160" y="748"/>
                    <a:pt x="160" y="748"/>
                  </a:cubicBezTo>
                  <a:cubicBezTo>
                    <a:pt x="160" y="751"/>
                    <a:pt x="159" y="753"/>
                    <a:pt x="157" y="756"/>
                  </a:cubicBezTo>
                  <a:cubicBezTo>
                    <a:pt x="141" y="776"/>
                    <a:pt x="128" y="797"/>
                    <a:pt x="116" y="819"/>
                  </a:cubicBezTo>
                  <a:cubicBezTo>
                    <a:pt x="0" y="1034"/>
                    <a:pt x="61" y="1327"/>
                    <a:pt x="61" y="1327"/>
                  </a:cubicBezTo>
                  <a:cubicBezTo>
                    <a:pt x="88" y="1320"/>
                    <a:pt x="88" y="1320"/>
                    <a:pt x="88" y="1320"/>
                  </a:cubicBezTo>
                  <a:cubicBezTo>
                    <a:pt x="88" y="1320"/>
                    <a:pt x="185" y="1016"/>
                    <a:pt x="249" y="885"/>
                  </a:cubicBezTo>
                  <a:cubicBezTo>
                    <a:pt x="260" y="863"/>
                    <a:pt x="270" y="846"/>
                    <a:pt x="278" y="836"/>
                  </a:cubicBezTo>
                  <a:cubicBezTo>
                    <a:pt x="302" y="807"/>
                    <a:pt x="328" y="757"/>
                    <a:pt x="353" y="697"/>
                  </a:cubicBezTo>
                  <a:cubicBezTo>
                    <a:pt x="400" y="584"/>
                    <a:pt x="446" y="436"/>
                    <a:pt x="478" y="320"/>
                  </a:cubicBezTo>
                  <a:cubicBezTo>
                    <a:pt x="481" y="321"/>
                    <a:pt x="556" y="128"/>
                    <a:pt x="556" y="128"/>
                  </a:cubicBezTo>
                  <a:close/>
                </a:path>
              </a:pathLst>
            </a:custGeom>
            <a:solidFill>
              <a:srgbClr val="2B47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53">
              <a:extLst>
                <a:ext uri="{FF2B5EF4-FFF2-40B4-BE49-F238E27FC236}">
                  <a16:creationId xmlns:a16="http://schemas.microsoft.com/office/drawing/2014/main" id="{178EA7AB-03E7-42DD-95E7-F94BE08D5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5" y="2844"/>
              <a:ext cx="193" cy="226"/>
            </a:xfrm>
            <a:custGeom>
              <a:avLst/>
              <a:gdLst>
                <a:gd name="T0" fmla="*/ 124 w 256"/>
                <a:gd name="T1" fmla="*/ 292 h 300"/>
                <a:gd name="T2" fmla="*/ 87 w 256"/>
                <a:gd name="T3" fmla="*/ 93 h 300"/>
                <a:gd name="T4" fmla="*/ 175 w 256"/>
                <a:gd name="T5" fmla="*/ 0 h 300"/>
                <a:gd name="T6" fmla="*/ 180 w 256"/>
                <a:gd name="T7" fmla="*/ 4 h 300"/>
                <a:gd name="T8" fmla="*/ 256 w 256"/>
                <a:gd name="T9" fmla="*/ 71 h 300"/>
                <a:gd name="T10" fmla="*/ 224 w 256"/>
                <a:gd name="T11" fmla="*/ 122 h 300"/>
                <a:gd name="T12" fmla="*/ 204 w 256"/>
                <a:gd name="T13" fmla="*/ 169 h 300"/>
                <a:gd name="T14" fmla="*/ 124 w 256"/>
                <a:gd name="T15" fmla="*/ 29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300">
                  <a:moveTo>
                    <a:pt x="124" y="292"/>
                  </a:moveTo>
                  <a:cubicBezTo>
                    <a:pt x="0" y="264"/>
                    <a:pt x="80" y="90"/>
                    <a:pt x="87" y="93"/>
                  </a:cubicBezTo>
                  <a:cubicBezTo>
                    <a:pt x="104" y="89"/>
                    <a:pt x="142" y="59"/>
                    <a:pt x="175" y="0"/>
                  </a:cubicBezTo>
                  <a:cubicBezTo>
                    <a:pt x="180" y="4"/>
                    <a:pt x="180" y="4"/>
                    <a:pt x="180" y="4"/>
                  </a:cubicBezTo>
                  <a:cubicBezTo>
                    <a:pt x="256" y="71"/>
                    <a:pt x="256" y="71"/>
                    <a:pt x="256" y="71"/>
                  </a:cubicBezTo>
                  <a:cubicBezTo>
                    <a:pt x="256" y="71"/>
                    <a:pt x="238" y="97"/>
                    <a:pt x="224" y="122"/>
                  </a:cubicBezTo>
                  <a:cubicBezTo>
                    <a:pt x="212" y="142"/>
                    <a:pt x="202" y="162"/>
                    <a:pt x="204" y="169"/>
                  </a:cubicBezTo>
                  <a:cubicBezTo>
                    <a:pt x="210" y="173"/>
                    <a:pt x="157" y="300"/>
                    <a:pt x="124" y="292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54">
              <a:extLst>
                <a:ext uri="{FF2B5EF4-FFF2-40B4-BE49-F238E27FC236}">
                  <a16:creationId xmlns:a16="http://schemas.microsoft.com/office/drawing/2014/main" id="{EF226F10-D28F-445C-9BC2-802CDBC47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8" y="2847"/>
              <a:ext cx="60" cy="88"/>
            </a:xfrm>
            <a:custGeom>
              <a:avLst/>
              <a:gdLst>
                <a:gd name="T0" fmla="*/ 80 w 80"/>
                <a:gd name="T1" fmla="*/ 67 h 118"/>
                <a:gd name="T2" fmla="*/ 48 w 80"/>
                <a:gd name="T3" fmla="*/ 118 h 118"/>
                <a:gd name="T4" fmla="*/ 4 w 80"/>
                <a:gd name="T5" fmla="*/ 0 h 118"/>
                <a:gd name="T6" fmla="*/ 80 w 80"/>
                <a:gd name="T7" fmla="*/ 6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0" h="118">
                  <a:moveTo>
                    <a:pt x="80" y="67"/>
                  </a:moveTo>
                  <a:cubicBezTo>
                    <a:pt x="80" y="67"/>
                    <a:pt x="62" y="93"/>
                    <a:pt x="48" y="118"/>
                  </a:cubicBezTo>
                  <a:cubicBezTo>
                    <a:pt x="0" y="89"/>
                    <a:pt x="0" y="31"/>
                    <a:pt x="4" y="0"/>
                  </a:cubicBezTo>
                  <a:lnTo>
                    <a:pt x="80" y="67"/>
                  </a:lnTo>
                  <a:close/>
                </a:path>
              </a:pathLst>
            </a:custGeom>
            <a:solidFill>
              <a:srgbClr val="ED9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55">
              <a:extLst>
                <a:ext uri="{FF2B5EF4-FFF2-40B4-BE49-F238E27FC236}">
                  <a16:creationId xmlns:a16="http://schemas.microsoft.com/office/drawing/2014/main" id="{0AE397EA-24A8-4635-AF83-B297369FF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" y="2724"/>
              <a:ext cx="185" cy="209"/>
            </a:xfrm>
            <a:custGeom>
              <a:avLst/>
              <a:gdLst>
                <a:gd name="T0" fmla="*/ 115 w 245"/>
                <a:gd name="T1" fmla="*/ 262 h 277"/>
                <a:gd name="T2" fmla="*/ 41 w 245"/>
                <a:gd name="T3" fmla="*/ 127 h 277"/>
                <a:gd name="T4" fmla="*/ 170 w 245"/>
                <a:gd name="T5" fmla="*/ 38 h 277"/>
                <a:gd name="T6" fmla="*/ 236 w 245"/>
                <a:gd name="T7" fmla="*/ 138 h 277"/>
                <a:gd name="T8" fmla="*/ 115 w 245"/>
                <a:gd name="T9" fmla="*/ 26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277">
                  <a:moveTo>
                    <a:pt x="115" y="262"/>
                  </a:moveTo>
                  <a:cubicBezTo>
                    <a:pt x="115" y="262"/>
                    <a:pt x="0" y="198"/>
                    <a:pt x="41" y="127"/>
                  </a:cubicBezTo>
                  <a:cubicBezTo>
                    <a:pt x="82" y="57"/>
                    <a:pt x="95" y="0"/>
                    <a:pt x="170" y="38"/>
                  </a:cubicBezTo>
                  <a:cubicBezTo>
                    <a:pt x="245" y="76"/>
                    <a:pt x="244" y="111"/>
                    <a:pt x="236" y="138"/>
                  </a:cubicBezTo>
                  <a:cubicBezTo>
                    <a:pt x="228" y="165"/>
                    <a:pt x="146" y="277"/>
                    <a:pt x="115" y="262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156">
              <a:extLst>
                <a:ext uri="{FF2B5EF4-FFF2-40B4-BE49-F238E27FC236}">
                  <a16:creationId xmlns:a16="http://schemas.microsoft.com/office/drawing/2014/main" id="{BBA8BC8D-420A-4BDB-BEF4-1A6907F6C7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8" y="2720"/>
              <a:ext cx="183" cy="145"/>
            </a:xfrm>
            <a:custGeom>
              <a:avLst/>
              <a:gdLst>
                <a:gd name="T0" fmla="*/ 235 w 243"/>
                <a:gd name="T1" fmla="*/ 103 h 193"/>
                <a:gd name="T2" fmla="*/ 203 w 243"/>
                <a:gd name="T3" fmla="*/ 71 h 193"/>
                <a:gd name="T4" fmla="*/ 91 w 243"/>
                <a:gd name="T5" fmla="*/ 28 h 193"/>
                <a:gd name="T6" fmla="*/ 0 w 243"/>
                <a:gd name="T7" fmla="*/ 82 h 193"/>
                <a:gd name="T8" fmla="*/ 69 w 243"/>
                <a:gd name="T9" fmla="*/ 122 h 193"/>
                <a:gd name="T10" fmla="*/ 123 w 243"/>
                <a:gd name="T11" fmla="*/ 118 h 193"/>
                <a:gd name="T12" fmla="*/ 45 w 243"/>
                <a:gd name="T13" fmla="*/ 147 h 193"/>
                <a:gd name="T14" fmla="*/ 193 w 243"/>
                <a:gd name="T15" fmla="*/ 81 h 193"/>
                <a:gd name="T16" fmla="*/ 199 w 243"/>
                <a:gd name="T17" fmla="*/ 128 h 193"/>
                <a:gd name="T18" fmla="*/ 187 w 243"/>
                <a:gd name="T19" fmla="*/ 193 h 193"/>
                <a:gd name="T20" fmla="*/ 235 w 243"/>
                <a:gd name="T21" fmla="*/ 10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3" h="193">
                  <a:moveTo>
                    <a:pt x="235" y="103"/>
                  </a:moveTo>
                  <a:cubicBezTo>
                    <a:pt x="230" y="71"/>
                    <a:pt x="214" y="68"/>
                    <a:pt x="203" y="71"/>
                  </a:cubicBezTo>
                  <a:cubicBezTo>
                    <a:pt x="160" y="0"/>
                    <a:pt x="91" y="28"/>
                    <a:pt x="91" y="28"/>
                  </a:cubicBezTo>
                  <a:cubicBezTo>
                    <a:pt x="54" y="74"/>
                    <a:pt x="0" y="82"/>
                    <a:pt x="0" y="82"/>
                  </a:cubicBezTo>
                  <a:cubicBezTo>
                    <a:pt x="0" y="82"/>
                    <a:pt x="14" y="107"/>
                    <a:pt x="69" y="122"/>
                  </a:cubicBezTo>
                  <a:cubicBezTo>
                    <a:pt x="85" y="127"/>
                    <a:pt x="104" y="124"/>
                    <a:pt x="123" y="118"/>
                  </a:cubicBezTo>
                  <a:cubicBezTo>
                    <a:pt x="85" y="139"/>
                    <a:pt x="45" y="147"/>
                    <a:pt x="45" y="147"/>
                  </a:cubicBezTo>
                  <a:cubicBezTo>
                    <a:pt x="117" y="154"/>
                    <a:pt x="186" y="88"/>
                    <a:pt x="193" y="81"/>
                  </a:cubicBezTo>
                  <a:cubicBezTo>
                    <a:pt x="197" y="91"/>
                    <a:pt x="202" y="113"/>
                    <a:pt x="199" y="128"/>
                  </a:cubicBezTo>
                  <a:cubicBezTo>
                    <a:pt x="194" y="150"/>
                    <a:pt x="175" y="188"/>
                    <a:pt x="187" y="193"/>
                  </a:cubicBezTo>
                  <a:cubicBezTo>
                    <a:pt x="187" y="193"/>
                    <a:pt x="243" y="150"/>
                    <a:pt x="235" y="103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157">
              <a:extLst>
                <a:ext uri="{FF2B5EF4-FFF2-40B4-BE49-F238E27FC236}">
                  <a16:creationId xmlns:a16="http://schemas.microsoft.com/office/drawing/2014/main" id="{FFF732CB-32CE-400B-BF2B-91000BA62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4078"/>
              <a:ext cx="158" cy="87"/>
            </a:xfrm>
            <a:custGeom>
              <a:avLst/>
              <a:gdLst>
                <a:gd name="T0" fmla="*/ 209 w 209"/>
                <a:gd name="T1" fmla="*/ 115 h 115"/>
                <a:gd name="T2" fmla="*/ 5 w 209"/>
                <a:gd name="T3" fmla="*/ 115 h 115"/>
                <a:gd name="T4" fmla="*/ 11 w 209"/>
                <a:gd name="T5" fmla="*/ 60 h 115"/>
                <a:gd name="T6" fmla="*/ 33 w 209"/>
                <a:gd name="T7" fmla="*/ 0 h 115"/>
                <a:gd name="T8" fmla="*/ 97 w 209"/>
                <a:gd name="T9" fmla="*/ 24 h 115"/>
                <a:gd name="T10" fmla="*/ 132 w 209"/>
                <a:gd name="T11" fmla="*/ 70 h 115"/>
                <a:gd name="T12" fmla="*/ 209 w 209"/>
                <a:gd name="T13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115">
                  <a:moveTo>
                    <a:pt x="209" y="115"/>
                  </a:moveTo>
                  <a:cubicBezTo>
                    <a:pt x="5" y="115"/>
                    <a:pt x="5" y="115"/>
                    <a:pt x="5" y="115"/>
                  </a:cubicBezTo>
                  <a:cubicBezTo>
                    <a:pt x="5" y="115"/>
                    <a:pt x="0" y="84"/>
                    <a:pt x="11" y="60"/>
                  </a:cubicBezTo>
                  <a:cubicBezTo>
                    <a:pt x="21" y="38"/>
                    <a:pt x="37" y="27"/>
                    <a:pt x="33" y="0"/>
                  </a:cubicBezTo>
                  <a:cubicBezTo>
                    <a:pt x="46" y="13"/>
                    <a:pt x="67" y="28"/>
                    <a:pt x="97" y="24"/>
                  </a:cubicBezTo>
                  <a:cubicBezTo>
                    <a:pt x="100" y="30"/>
                    <a:pt x="120" y="61"/>
                    <a:pt x="132" y="70"/>
                  </a:cubicBezTo>
                  <a:cubicBezTo>
                    <a:pt x="145" y="80"/>
                    <a:pt x="204" y="76"/>
                    <a:pt x="209" y="115"/>
                  </a:cubicBezTo>
                  <a:close/>
                </a:path>
              </a:pathLst>
            </a:custGeom>
            <a:solidFill>
              <a:srgbClr val="2338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158">
              <a:extLst>
                <a:ext uri="{FF2B5EF4-FFF2-40B4-BE49-F238E27FC236}">
                  <a16:creationId xmlns:a16="http://schemas.microsoft.com/office/drawing/2014/main" id="{9F80ECCA-0335-4400-9940-6AB77758B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8" y="2880"/>
              <a:ext cx="600" cy="402"/>
            </a:xfrm>
            <a:custGeom>
              <a:avLst/>
              <a:gdLst>
                <a:gd name="T0" fmla="*/ 719 w 796"/>
                <a:gd name="T1" fmla="*/ 382 h 534"/>
                <a:gd name="T2" fmla="*/ 618 w 796"/>
                <a:gd name="T3" fmla="*/ 401 h 534"/>
                <a:gd name="T4" fmla="*/ 481 w 796"/>
                <a:gd name="T5" fmla="*/ 422 h 534"/>
                <a:gd name="T6" fmla="*/ 461 w 796"/>
                <a:gd name="T7" fmla="*/ 438 h 534"/>
                <a:gd name="T8" fmla="*/ 393 w 796"/>
                <a:gd name="T9" fmla="*/ 534 h 534"/>
                <a:gd name="T10" fmla="*/ 0 w 796"/>
                <a:gd name="T11" fmla="*/ 370 h 534"/>
                <a:gd name="T12" fmla="*/ 642 w 796"/>
                <a:gd name="T13" fmla="*/ 12 h 534"/>
                <a:gd name="T14" fmla="*/ 743 w 796"/>
                <a:gd name="T15" fmla="*/ 58 h 534"/>
                <a:gd name="T16" fmla="*/ 785 w 796"/>
                <a:gd name="T17" fmla="*/ 111 h 534"/>
                <a:gd name="T18" fmla="*/ 719 w 796"/>
                <a:gd name="T19" fmla="*/ 382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6" h="534">
                  <a:moveTo>
                    <a:pt x="719" y="382"/>
                  </a:moveTo>
                  <a:cubicBezTo>
                    <a:pt x="693" y="392"/>
                    <a:pt x="656" y="397"/>
                    <a:pt x="618" y="401"/>
                  </a:cubicBezTo>
                  <a:cubicBezTo>
                    <a:pt x="565" y="407"/>
                    <a:pt x="510" y="411"/>
                    <a:pt x="481" y="422"/>
                  </a:cubicBezTo>
                  <a:cubicBezTo>
                    <a:pt x="470" y="426"/>
                    <a:pt x="463" y="431"/>
                    <a:pt x="461" y="438"/>
                  </a:cubicBezTo>
                  <a:cubicBezTo>
                    <a:pt x="448" y="476"/>
                    <a:pt x="393" y="534"/>
                    <a:pt x="393" y="534"/>
                  </a:cubicBezTo>
                  <a:cubicBezTo>
                    <a:pt x="39" y="518"/>
                    <a:pt x="0" y="370"/>
                    <a:pt x="0" y="370"/>
                  </a:cubicBezTo>
                  <a:cubicBezTo>
                    <a:pt x="238" y="92"/>
                    <a:pt x="642" y="12"/>
                    <a:pt x="642" y="12"/>
                  </a:cubicBezTo>
                  <a:cubicBezTo>
                    <a:pt x="642" y="12"/>
                    <a:pt x="671" y="0"/>
                    <a:pt x="743" y="58"/>
                  </a:cubicBezTo>
                  <a:cubicBezTo>
                    <a:pt x="792" y="96"/>
                    <a:pt x="785" y="111"/>
                    <a:pt x="785" y="111"/>
                  </a:cubicBezTo>
                  <a:cubicBezTo>
                    <a:pt x="785" y="111"/>
                    <a:pt x="796" y="356"/>
                    <a:pt x="719" y="382"/>
                  </a:cubicBezTo>
                  <a:close/>
                </a:path>
              </a:pathLst>
            </a:custGeom>
            <a:solidFill>
              <a:srgbClr val="C654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159">
              <a:extLst>
                <a:ext uri="{FF2B5EF4-FFF2-40B4-BE49-F238E27FC236}">
                  <a16:creationId xmlns:a16="http://schemas.microsoft.com/office/drawing/2014/main" id="{07A35806-475E-4F74-B936-6378C3DC06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2" y="2964"/>
              <a:ext cx="112" cy="234"/>
            </a:xfrm>
            <a:custGeom>
              <a:avLst/>
              <a:gdLst>
                <a:gd name="T0" fmla="*/ 149 w 149"/>
                <a:gd name="T1" fmla="*/ 289 h 310"/>
                <a:gd name="T2" fmla="*/ 12 w 149"/>
                <a:gd name="T3" fmla="*/ 310 h 310"/>
                <a:gd name="T4" fmla="*/ 83 w 149"/>
                <a:gd name="T5" fmla="*/ 0 h 310"/>
                <a:gd name="T6" fmla="*/ 149 w 149"/>
                <a:gd name="T7" fmla="*/ 28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9" h="310">
                  <a:moveTo>
                    <a:pt x="149" y="289"/>
                  </a:moveTo>
                  <a:cubicBezTo>
                    <a:pt x="96" y="295"/>
                    <a:pt x="41" y="299"/>
                    <a:pt x="12" y="310"/>
                  </a:cubicBezTo>
                  <a:cubicBezTo>
                    <a:pt x="0" y="133"/>
                    <a:pt x="83" y="0"/>
                    <a:pt x="83" y="0"/>
                  </a:cubicBezTo>
                  <a:cubicBezTo>
                    <a:pt x="83" y="0"/>
                    <a:pt x="138" y="222"/>
                    <a:pt x="149" y="289"/>
                  </a:cubicBezTo>
                  <a:close/>
                </a:path>
              </a:pathLst>
            </a:custGeom>
            <a:solidFill>
              <a:srgbClr val="AA41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160">
              <a:extLst>
                <a:ext uri="{FF2B5EF4-FFF2-40B4-BE49-F238E27FC236}">
                  <a16:creationId xmlns:a16="http://schemas.microsoft.com/office/drawing/2014/main" id="{93851945-70AE-40DF-B3D6-C05031D17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7" y="3037"/>
              <a:ext cx="1123" cy="1123"/>
            </a:xfrm>
            <a:custGeom>
              <a:avLst/>
              <a:gdLst>
                <a:gd name="T0" fmla="*/ 1235 w 1490"/>
                <a:gd name="T1" fmla="*/ 1490 h 1490"/>
                <a:gd name="T2" fmla="*/ 255 w 1490"/>
                <a:gd name="T3" fmla="*/ 1490 h 1490"/>
                <a:gd name="T4" fmla="*/ 0 w 1490"/>
                <a:gd name="T5" fmla="*/ 1235 h 1490"/>
                <a:gd name="T6" fmla="*/ 0 w 1490"/>
                <a:gd name="T7" fmla="*/ 255 h 1490"/>
                <a:gd name="T8" fmla="*/ 255 w 1490"/>
                <a:gd name="T9" fmla="*/ 0 h 1490"/>
                <a:gd name="T10" fmla="*/ 1235 w 1490"/>
                <a:gd name="T11" fmla="*/ 0 h 1490"/>
                <a:gd name="T12" fmla="*/ 1490 w 1490"/>
                <a:gd name="T13" fmla="*/ 255 h 1490"/>
                <a:gd name="T14" fmla="*/ 1490 w 1490"/>
                <a:gd name="T15" fmla="*/ 1235 h 1490"/>
                <a:gd name="T16" fmla="*/ 1235 w 1490"/>
                <a:gd name="T17" fmla="*/ 1490 h 1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0" h="1490">
                  <a:moveTo>
                    <a:pt x="1235" y="1490"/>
                  </a:moveTo>
                  <a:cubicBezTo>
                    <a:pt x="255" y="1490"/>
                    <a:pt x="255" y="1490"/>
                    <a:pt x="255" y="1490"/>
                  </a:cubicBezTo>
                  <a:cubicBezTo>
                    <a:pt x="114" y="1490"/>
                    <a:pt x="0" y="1376"/>
                    <a:pt x="0" y="1235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0" y="114"/>
                    <a:pt x="114" y="0"/>
                    <a:pt x="255" y="0"/>
                  </a:cubicBezTo>
                  <a:cubicBezTo>
                    <a:pt x="1235" y="0"/>
                    <a:pt x="1235" y="0"/>
                    <a:pt x="1235" y="0"/>
                  </a:cubicBezTo>
                  <a:cubicBezTo>
                    <a:pt x="1376" y="0"/>
                    <a:pt x="1490" y="114"/>
                    <a:pt x="1490" y="255"/>
                  </a:cubicBezTo>
                  <a:cubicBezTo>
                    <a:pt x="1490" y="1235"/>
                    <a:pt x="1490" y="1235"/>
                    <a:pt x="1490" y="1235"/>
                  </a:cubicBezTo>
                  <a:cubicBezTo>
                    <a:pt x="1490" y="1376"/>
                    <a:pt x="1376" y="1490"/>
                    <a:pt x="1235" y="1490"/>
                  </a:cubicBezTo>
                  <a:close/>
                </a:path>
              </a:pathLst>
            </a:custGeom>
            <a:solidFill>
              <a:srgbClr val="E3F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161">
              <a:extLst>
                <a:ext uri="{FF2B5EF4-FFF2-40B4-BE49-F238E27FC236}">
                  <a16:creationId xmlns:a16="http://schemas.microsoft.com/office/drawing/2014/main" id="{522AFA1F-EC20-4BE7-9309-716BAB449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1" y="3171"/>
              <a:ext cx="833" cy="834"/>
            </a:xfrm>
            <a:custGeom>
              <a:avLst/>
              <a:gdLst>
                <a:gd name="T0" fmla="*/ 1106 w 1106"/>
                <a:gd name="T1" fmla="*/ 190 h 1107"/>
                <a:gd name="T2" fmla="*/ 1106 w 1106"/>
                <a:gd name="T3" fmla="*/ 917 h 1107"/>
                <a:gd name="T4" fmla="*/ 1055 w 1106"/>
                <a:gd name="T5" fmla="*/ 1046 h 1107"/>
                <a:gd name="T6" fmla="*/ 917 w 1106"/>
                <a:gd name="T7" fmla="*/ 1107 h 1107"/>
                <a:gd name="T8" fmla="*/ 189 w 1106"/>
                <a:gd name="T9" fmla="*/ 1107 h 1107"/>
                <a:gd name="T10" fmla="*/ 48 w 1106"/>
                <a:gd name="T11" fmla="*/ 1043 h 1107"/>
                <a:gd name="T12" fmla="*/ 0 w 1106"/>
                <a:gd name="T13" fmla="*/ 917 h 1107"/>
                <a:gd name="T14" fmla="*/ 0 w 1106"/>
                <a:gd name="T15" fmla="*/ 190 h 1107"/>
                <a:gd name="T16" fmla="*/ 189 w 1106"/>
                <a:gd name="T17" fmla="*/ 0 h 1107"/>
                <a:gd name="T18" fmla="*/ 917 w 1106"/>
                <a:gd name="T19" fmla="*/ 0 h 1107"/>
                <a:gd name="T20" fmla="*/ 1106 w 1106"/>
                <a:gd name="T21" fmla="*/ 190 h 1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6" h="1107">
                  <a:moveTo>
                    <a:pt x="1106" y="190"/>
                  </a:moveTo>
                  <a:cubicBezTo>
                    <a:pt x="1106" y="917"/>
                    <a:pt x="1106" y="917"/>
                    <a:pt x="1106" y="917"/>
                  </a:cubicBezTo>
                  <a:cubicBezTo>
                    <a:pt x="1106" y="967"/>
                    <a:pt x="1087" y="1013"/>
                    <a:pt x="1055" y="1046"/>
                  </a:cubicBezTo>
                  <a:cubicBezTo>
                    <a:pt x="1021" y="1083"/>
                    <a:pt x="972" y="1107"/>
                    <a:pt x="917" y="1107"/>
                  </a:cubicBezTo>
                  <a:cubicBezTo>
                    <a:pt x="189" y="1107"/>
                    <a:pt x="189" y="1107"/>
                    <a:pt x="189" y="1107"/>
                  </a:cubicBezTo>
                  <a:cubicBezTo>
                    <a:pt x="133" y="1107"/>
                    <a:pt x="83" y="1082"/>
                    <a:pt x="48" y="1043"/>
                  </a:cubicBezTo>
                  <a:cubicBezTo>
                    <a:pt x="18" y="1010"/>
                    <a:pt x="0" y="966"/>
                    <a:pt x="0" y="917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85"/>
                    <a:pt x="85" y="0"/>
                    <a:pt x="189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1022" y="0"/>
                    <a:pt x="1106" y="85"/>
                    <a:pt x="1106" y="190"/>
                  </a:cubicBezTo>
                  <a:close/>
                </a:path>
              </a:pathLst>
            </a:custGeom>
            <a:solidFill>
              <a:srgbClr val="D2E4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162">
              <a:extLst>
                <a:ext uri="{FF2B5EF4-FFF2-40B4-BE49-F238E27FC236}">
                  <a16:creationId xmlns:a16="http://schemas.microsoft.com/office/drawing/2014/main" id="{F267E47C-7DBF-448F-BC2E-A7F3D1110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1" y="3312"/>
              <a:ext cx="353" cy="272"/>
            </a:xfrm>
            <a:custGeom>
              <a:avLst/>
              <a:gdLst>
                <a:gd name="T0" fmla="*/ 106 w 469"/>
                <a:gd name="T1" fmla="*/ 360 h 360"/>
                <a:gd name="T2" fmla="*/ 97 w 469"/>
                <a:gd name="T3" fmla="*/ 84 h 360"/>
                <a:gd name="T4" fmla="*/ 396 w 469"/>
                <a:gd name="T5" fmla="*/ 84 h 360"/>
                <a:gd name="T6" fmla="*/ 382 w 469"/>
                <a:gd name="T7" fmla="*/ 353 h 360"/>
                <a:gd name="T8" fmla="*/ 106 w 469"/>
                <a:gd name="T9" fmla="*/ 36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" h="360">
                  <a:moveTo>
                    <a:pt x="106" y="360"/>
                  </a:moveTo>
                  <a:cubicBezTo>
                    <a:pt x="106" y="360"/>
                    <a:pt x="0" y="169"/>
                    <a:pt x="97" y="84"/>
                  </a:cubicBezTo>
                  <a:cubicBezTo>
                    <a:pt x="194" y="0"/>
                    <a:pt x="364" y="50"/>
                    <a:pt x="396" y="84"/>
                  </a:cubicBezTo>
                  <a:cubicBezTo>
                    <a:pt x="427" y="118"/>
                    <a:pt x="469" y="215"/>
                    <a:pt x="382" y="353"/>
                  </a:cubicBezTo>
                  <a:lnTo>
                    <a:pt x="106" y="360"/>
                  </a:ln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163">
              <a:extLst>
                <a:ext uri="{FF2B5EF4-FFF2-40B4-BE49-F238E27FC236}">
                  <a16:creationId xmlns:a16="http://schemas.microsoft.com/office/drawing/2014/main" id="{88A5715B-D839-4B04-ABA8-C1E166BBE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" y="3566"/>
              <a:ext cx="340" cy="321"/>
            </a:xfrm>
            <a:custGeom>
              <a:avLst/>
              <a:gdLst>
                <a:gd name="T0" fmla="*/ 138 w 451"/>
                <a:gd name="T1" fmla="*/ 102 h 425"/>
                <a:gd name="T2" fmla="*/ 119 w 451"/>
                <a:gd name="T3" fmla="*/ 273 h 425"/>
                <a:gd name="T4" fmla="*/ 0 w 451"/>
                <a:gd name="T5" fmla="*/ 357 h 425"/>
                <a:gd name="T6" fmla="*/ 451 w 451"/>
                <a:gd name="T7" fmla="*/ 425 h 425"/>
                <a:gd name="T8" fmla="*/ 343 w 451"/>
                <a:gd name="T9" fmla="*/ 276 h 425"/>
                <a:gd name="T10" fmla="*/ 328 w 451"/>
                <a:gd name="T11" fmla="*/ 59 h 425"/>
                <a:gd name="T12" fmla="*/ 138 w 451"/>
                <a:gd name="T13" fmla="*/ 102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1" h="425">
                  <a:moveTo>
                    <a:pt x="138" y="102"/>
                  </a:moveTo>
                  <a:cubicBezTo>
                    <a:pt x="138" y="102"/>
                    <a:pt x="135" y="220"/>
                    <a:pt x="119" y="273"/>
                  </a:cubicBezTo>
                  <a:cubicBezTo>
                    <a:pt x="0" y="357"/>
                    <a:pt x="0" y="357"/>
                    <a:pt x="0" y="357"/>
                  </a:cubicBezTo>
                  <a:cubicBezTo>
                    <a:pt x="451" y="425"/>
                    <a:pt x="451" y="425"/>
                    <a:pt x="451" y="425"/>
                  </a:cubicBezTo>
                  <a:cubicBezTo>
                    <a:pt x="343" y="276"/>
                    <a:pt x="343" y="276"/>
                    <a:pt x="343" y="276"/>
                  </a:cubicBezTo>
                  <a:cubicBezTo>
                    <a:pt x="343" y="276"/>
                    <a:pt x="311" y="117"/>
                    <a:pt x="328" y="59"/>
                  </a:cubicBezTo>
                  <a:cubicBezTo>
                    <a:pt x="345" y="0"/>
                    <a:pt x="138" y="102"/>
                    <a:pt x="138" y="102"/>
                  </a:cubicBezTo>
                  <a:close/>
                </a:path>
              </a:pathLst>
            </a:custGeom>
            <a:solidFill>
              <a:srgbClr val="B56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164">
              <a:extLst>
                <a:ext uri="{FF2B5EF4-FFF2-40B4-BE49-F238E27FC236}">
                  <a16:creationId xmlns:a16="http://schemas.microsoft.com/office/drawing/2014/main" id="{AF38F9F0-3647-4D68-9910-28730BFDF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3" y="3655"/>
              <a:ext cx="139" cy="65"/>
            </a:xfrm>
            <a:custGeom>
              <a:avLst/>
              <a:gdLst>
                <a:gd name="T0" fmla="*/ 0 w 185"/>
                <a:gd name="T1" fmla="*/ 1 h 86"/>
                <a:gd name="T2" fmla="*/ 103 w 185"/>
                <a:gd name="T3" fmla="*/ 84 h 86"/>
                <a:gd name="T4" fmla="*/ 185 w 185"/>
                <a:gd name="T5" fmla="*/ 7 h 86"/>
                <a:gd name="T6" fmla="*/ 0 w 185"/>
                <a:gd name="T7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5" h="86">
                  <a:moveTo>
                    <a:pt x="0" y="1"/>
                  </a:moveTo>
                  <a:cubicBezTo>
                    <a:pt x="0" y="0"/>
                    <a:pt x="35" y="86"/>
                    <a:pt x="103" y="84"/>
                  </a:cubicBezTo>
                  <a:cubicBezTo>
                    <a:pt x="170" y="83"/>
                    <a:pt x="185" y="7"/>
                    <a:pt x="185" y="7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9959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165">
              <a:extLst>
                <a:ext uri="{FF2B5EF4-FFF2-40B4-BE49-F238E27FC236}">
                  <a16:creationId xmlns:a16="http://schemas.microsoft.com/office/drawing/2014/main" id="{C84B8BAC-9227-4C9A-BCDB-696B29F11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1" y="3449"/>
              <a:ext cx="208" cy="245"/>
            </a:xfrm>
            <a:custGeom>
              <a:avLst/>
              <a:gdLst>
                <a:gd name="T0" fmla="*/ 138 w 276"/>
                <a:gd name="T1" fmla="*/ 324 h 325"/>
                <a:gd name="T2" fmla="*/ 0 w 276"/>
                <a:gd name="T3" fmla="*/ 178 h 325"/>
                <a:gd name="T4" fmla="*/ 0 w 276"/>
                <a:gd name="T5" fmla="*/ 53 h 325"/>
                <a:gd name="T6" fmla="*/ 45 w 276"/>
                <a:gd name="T7" fmla="*/ 0 h 325"/>
                <a:gd name="T8" fmla="*/ 231 w 276"/>
                <a:gd name="T9" fmla="*/ 0 h 325"/>
                <a:gd name="T10" fmla="*/ 276 w 276"/>
                <a:gd name="T11" fmla="*/ 53 h 325"/>
                <a:gd name="T12" fmla="*/ 276 w 276"/>
                <a:gd name="T13" fmla="*/ 171 h 325"/>
                <a:gd name="T14" fmla="*/ 138 w 276"/>
                <a:gd name="T15" fmla="*/ 324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6" h="325">
                  <a:moveTo>
                    <a:pt x="138" y="324"/>
                  </a:moveTo>
                  <a:cubicBezTo>
                    <a:pt x="89" y="323"/>
                    <a:pt x="0" y="259"/>
                    <a:pt x="0" y="17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24"/>
                    <a:pt x="20" y="0"/>
                    <a:pt x="45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256" y="0"/>
                    <a:pt x="276" y="24"/>
                    <a:pt x="276" y="53"/>
                  </a:cubicBezTo>
                  <a:cubicBezTo>
                    <a:pt x="276" y="171"/>
                    <a:pt x="276" y="171"/>
                    <a:pt x="276" y="171"/>
                  </a:cubicBezTo>
                  <a:cubicBezTo>
                    <a:pt x="276" y="255"/>
                    <a:pt x="194" y="325"/>
                    <a:pt x="138" y="324"/>
                  </a:cubicBezTo>
                  <a:close/>
                </a:path>
              </a:pathLst>
            </a:custGeom>
            <a:solidFill>
              <a:srgbClr val="B56F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166">
              <a:extLst>
                <a:ext uri="{FF2B5EF4-FFF2-40B4-BE49-F238E27FC236}">
                  <a16:creationId xmlns:a16="http://schemas.microsoft.com/office/drawing/2014/main" id="{EB118BBC-CE85-42F1-B215-958017B69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7" y="3771"/>
              <a:ext cx="759" cy="234"/>
            </a:xfrm>
            <a:custGeom>
              <a:avLst/>
              <a:gdLst>
                <a:gd name="T0" fmla="*/ 1007 w 1007"/>
                <a:gd name="T1" fmla="*/ 249 h 310"/>
                <a:gd name="T2" fmla="*/ 869 w 1007"/>
                <a:gd name="T3" fmla="*/ 310 h 310"/>
                <a:gd name="T4" fmla="*/ 141 w 1007"/>
                <a:gd name="T5" fmla="*/ 310 h 310"/>
                <a:gd name="T6" fmla="*/ 0 w 1007"/>
                <a:gd name="T7" fmla="*/ 246 h 310"/>
                <a:gd name="T8" fmla="*/ 258 w 1007"/>
                <a:gd name="T9" fmla="*/ 26 h 310"/>
                <a:gd name="T10" fmla="*/ 388 w 1007"/>
                <a:gd name="T11" fmla="*/ 0 h 310"/>
                <a:gd name="T12" fmla="*/ 502 w 1007"/>
                <a:gd name="T13" fmla="*/ 87 h 310"/>
                <a:gd name="T14" fmla="*/ 611 w 1007"/>
                <a:gd name="T15" fmla="*/ 1 h 310"/>
                <a:gd name="T16" fmla="*/ 765 w 1007"/>
                <a:gd name="T17" fmla="*/ 31 h 310"/>
                <a:gd name="T18" fmla="*/ 765 w 1007"/>
                <a:gd name="T19" fmla="*/ 31 h 310"/>
                <a:gd name="T20" fmla="*/ 1007 w 1007"/>
                <a:gd name="T21" fmla="*/ 24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7" h="310">
                  <a:moveTo>
                    <a:pt x="1007" y="249"/>
                  </a:moveTo>
                  <a:cubicBezTo>
                    <a:pt x="973" y="286"/>
                    <a:pt x="924" y="310"/>
                    <a:pt x="869" y="310"/>
                  </a:cubicBezTo>
                  <a:cubicBezTo>
                    <a:pt x="141" y="310"/>
                    <a:pt x="141" y="310"/>
                    <a:pt x="141" y="310"/>
                  </a:cubicBezTo>
                  <a:cubicBezTo>
                    <a:pt x="85" y="310"/>
                    <a:pt x="35" y="285"/>
                    <a:pt x="0" y="246"/>
                  </a:cubicBezTo>
                  <a:cubicBezTo>
                    <a:pt x="156" y="39"/>
                    <a:pt x="255" y="26"/>
                    <a:pt x="258" y="26"/>
                  </a:cubicBezTo>
                  <a:cubicBezTo>
                    <a:pt x="276" y="20"/>
                    <a:pt x="321" y="7"/>
                    <a:pt x="388" y="0"/>
                  </a:cubicBezTo>
                  <a:cubicBezTo>
                    <a:pt x="388" y="2"/>
                    <a:pt x="440" y="78"/>
                    <a:pt x="502" y="87"/>
                  </a:cubicBezTo>
                  <a:cubicBezTo>
                    <a:pt x="540" y="72"/>
                    <a:pt x="569" y="57"/>
                    <a:pt x="611" y="1"/>
                  </a:cubicBezTo>
                  <a:cubicBezTo>
                    <a:pt x="658" y="7"/>
                    <a:pt x="711" y="18"/>
                    <a:pt x="765" y="31"/>
                  </a:cubicBezTo>
                  <a:cubicBezTo>
                    <a:pt x="765" y="31"/>
                    <a:pt x="765" y="31"/>
                    <a:pt x="765" y="31"/>
                  </a:cubicBezTo>
                  <a:cubicBezTo>
                    <a:pt x="765" y="31"/>
                    <a:pt x="858" y="54"/>
                    <a:pt x="1007" y="249"/>
                  </a:cubicBezTo>
                  <a:close/>
                </a:path>
              </a:pathLst>
            </a:custGeom>
            <a:solidFill>
              <a:srgbClr val="74AC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167">
              <a:extLst>
                <a:ext uri="{FF2B5EF4-FFF2-40B4-BE49-F238E27FC236}">
                  <a16:creationId xmlns:a16="http://schemas.microsoft.com/office/drawing/2014/main" id="{763DAF2A-1617-4FAE-BB62-BFB369DE7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0" y="3408"/>
              <a:ext cx="235" cy="125"/>
            </a:xfrm>
            <a:custGeom>
              <a:avLst/>
              <a:gdLst>
                <a:gd name="T0" fmla="*/ 1 w 312"/>
                <a:gd name="T1" fmla="*/ 159 h 166"/>
                <a:gd name="T2" fmla="*/ 145 w 312"/>
                <a:gd name="T3" fmla="*/ 72 h 166"/>
                <a:gd name="T4" fmla="*/ 277 w 312"/>
                <a:gd name="T5" fmla="*/ 139 h 166"/>
                <a:gd name="T6" fmla="*/ 312 w 312"/>
                <a:gd name="T7" fmla="*/ 39 h 166"/>
                <a:gd name="T8" fmla="*/ 181 w 312"/>
                <a:gd name="T9" fmla="*/ 0 h 166"/>
                <a:gd name="T10" fmla="*/ 12 w 312"/>
                <a:gd name="T11" fmla="*/ 44 h 166"/>
                <a:gd name="T12" fmla="*/ 0 w 312"/>
                <a:gd name="T13" fmla="*/ 71 h 166"/>
                <a:gd name="T14" fmla="*/ 1 w 312"/>
                <a:gd name="T15" fmla="*/ 15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2" h="166">
                  <a:moveTo>
                    <a:pt x="1" y="159"/>
                  </a:moveTo>
                  <a:cubicBezTo>
                    <a:pt x="1" y="159"/>
                    <a:pt x="34" y="56"/>
                    <a:pt x="145" y="72"/>
                  </a:cubicBezTo>
                  <a:cubicBezTo>
                    <a:pt x="256" y="88"/>
                    <a:pt x="266" y="112"/>
                    <a:pt x="277" y="139"/>
                  </a:cubicBezTo>
                  <a:cubicBezTo>
                    <a:pt x="289" y="166"/>
                    <a:pt x="312" y="39"/>
                    <a:pt x="312" y="39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81" y="0"/>
                    <a:pt x="23" y="18"/>
                    <a:pt x="12" y="44"/>
                  </a:cubicBezTo>
                  <a:cubicBezTo>
                    <a:pt x="0" y="71"/>
                    <a:pt x="0" y="71"/>
                    <a:pt x="0" y="71"/>
                  </a:cubicBezTo>
                  <a:lnTo>
                    <a:pt x="1" y="159"/>
                  </a:ln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168">
              <a:extLst>
                <a:ext uri="{FF2B5EF4-FFF2-40B4-BE49-F238E27FC236}">
                  <a16:creationId xmlns:a16="http://schemas.microsoft.com/office/drawing/2014/main" id="{DF865DF0-7F26-470A-85F2-4E0718AEF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0" y="3263"/>
              <a:ext cx="88" cy="114"/>
            </a:xfrm>
            <a:custGeom>
              <a:avLst/>
              <a:gdLst>
                <a:gd name="T0" fmla="*/ 117 w 117"/>
                <a:gd name="T1" fmla="*/ 151 h 151"/>
                <a:gd name="T2" fmla="*/ 50 w 117"/>
                <a:gd name="T3" fmla="*/ 22 h 151"/>
                <a:gd name="T4" fmla="*/ 117 w 117"/>
                <a:gd name="T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7" h="151">
                  <a:moveTo>
                    <a:pt x="117" y="151"/>
                  </a:moveTo>
                  <a:cubicBezTo>
                    <a:pt x="117" y="151"/>
                    <a:pt x="0" y="45"/>
                    <a:pt x="50" y="22"/>
                  </a:cubicBezTo>
                  <a:cubicBezTo>
                    <a:pt x="100" y="0"/>
                    <a:pt x="117" y="151"/>
                    <a:pt x="117" y="151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169">
              <a:extLst>
                <a:ext uri="{FF2B5EF4-FFF2-40B4-BE49-F238E27FC236}">
                  <a16:creationId xmlns:a16="http://schemas.microsoft.com/office/drawing/2014/main" id="{996E56A8-9BEB-4FB3-8001-3CA29720F2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2" y="3278"/>
              <a:ext cx="112" cy="101"/>
            </a:xfrm>
            <a:custGeom>
              <a:avLst/>
              <a:gdLst>
                <a:gd name="T0" fmla="*/ 148 w 148"/>
                <a:gd name="T1" fmla="*/ 135 h 135"/>
                <a:gd name="T2" fmla="*/ 39 w 148"/>
                <a:gd name="T3" fmla="*/ 40 h 135"/>
                <a:gd name="T4" fmla="*/ 148 w 148"/>
                <a:gd name="T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8" h="135">
                  <a:moveTo>
                    <a:pt x="148" y="135"/>
                  </a:moveTo>
                  <a:cubicBezTo>
                    <a:pt x="148" y="135"/>
                    <a:pt x="0" y="79"/>
                    <a:pt x="39" y="40"/>
                  </a:cubicBezTo>
                  <a:cubicBezTo>
                    <a:pt x="77" y="0"/>
                    <a:pt x="148" y="135"/>
                    <a:pt x="148" y="135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170">
              <a:extLst>
                <a:ext uri="{FF2B5EF4-FFF2-40B4-BE49-F238E27FC236}">
                  <a16:creationId xmlns:a16="http://schemas.microsoft.com/office/drawing/2014/main" id="{A6F19AF5-7856-4429-9BA2-F239DA113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3" y="3278"/>
              <a:ext cx="89" cy="104"/>
            </a:xfrm>
            <a:custGeom>
              <a:avLst/>
              <a:gdLst>
                <a:gd name="T0" fmla="*/ 24 w 117"/>
                <a:gd name="T1" fmla="*/ 137 h 137"/>
                <a:gd name="T2" fmla="*/ 58 w 117"/>
                <a:gd name="T3" fmla="*/ 1 h 137"/>
                <a:gd name="T4" fmla="*/ 24 w 117"/>
                <a:gd name="T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7" h="137">
                  <a:moveTo>
                    <a:pt x="24" y="137"/>
                  </a:moveTo>
                  <a:cubicBezTo>
                    <a:pt x="24" y="137"/>
                    <a:pt x="0" y="0"/>
                    <a:pt x="58" y="1"/>
                  </a:cubicBezTo>
                  <a:cubicBezTo>
                    <a:pt x="117" y="2"/>
                    <a:pt x="24" y="137"/>
                    <a:pt x="24" y="137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171">
              <a:extLst>
                <a:ext uri="{FF2B5EF4-FFF2-40B4-BE49-F238E27FC236}">
                  <a16:creationId xmlns:a16="http://schemas.microsoft.com/office/drawing/2014/main" id="{CC232F08-C41D-4698-9FFB-16B0805AD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" y="3264"/>
              <a:ext cx="136" cy="111"/>
            </a:xfrm>
            <a:custGeom>
              <a:avLst/>
              <a:gdLst>
                <a:gd name="T0" fmla="*/ 0 w 181"/>
                <a:gd name="T1" fmla="*/ 147 h 147"/>
                <a:gd name="T2" fmla="*/ 122 w 181"/>
                <a:gd name="T3" fmla="*/ 13 h 147"/>
                <a:gd name="T4" fmla="*/ 0 w 181"/>
                <a:gd name="T5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1" h="147">
                  <a:moveTo>
                    <a:pt x="0" y="147"/>
                  </a:moveTo>
                  <a:cubicBezTo>
                    <a:pt x="0" y="147"/>
                    <a:pt x="63" y="0"/>
                    <a:pt x="122" y="13"/>
                  </a:cubicBezTo>
                  <a:cubicBezTo>
                    <a:pt x="181" y="27"/>
                    <a:pt x="0" y="147"/>
                    <a:pt x="0" y="147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172">
              <a:extLst>
                <a:ext uri="{FF2B5EF4-FFF2-40B4-BE49-F238E27FC236}">
                  <a16:creationId xmlns:a16="http://schemas.microsoft.com/office/drawing/2014/main" id="{D47CD2F9-3EB4-440B-9871-D43C37831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5" y="3287"/>
              <a:ext cx="156" cy="95"/>
            </a:xfrm>
            <a:custGeom>
              <a:avLst/>
              <a:gdLst>
                <a:gd name="T0" fmla="*/ 0 w 207"/>
                <a:gd name="T1" fmla="*/ 125 h 125"/>
                <a:gd name="T2" fmla="*/ 154 w 207"/>
                <a:gd name="T3" fmla="*/ 29 h 125"/>
                <a:gd name="T4" fmla="*/ 0 w 207"/>
                <a:gd name="T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7" h="125">
                  <a:moveTo>
                    <a:pt x="0" y="125"/>
                  </a:moveTo>
                  <a:cubicBezTo>
                    <a:pt x="0" y="125"/>
                    <a:pt x="101" y="0"/>
                    <a:pt x="154" y="29"/>
                  </a:cubicBezTo>
                  <a:cubicBezTo>
                    <a:pt x="207" y="59"/>
                    <a:pt x="0" y="125"/>
                    <a:pt x="0" y="125"/>
                  </a:cubicBezTo>
                  <a:close/>
                </a:path>
              </a:pathLst>
            </a:custGeom>
            <a:solidFill>
              <a:srgbClr val="2C3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173">
              <a:extLst>
                <a:ext uri="{FF2B5EF4-FFF2-40B4-BE49-F238E27FC236}">
                  <a16:creationId xmlns:a16="http://schemas.microsoft.com/office/drawing/2014/main" id="{D7C47EAC-67DC-462C-9483-8B8253F05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8" y="2939"/>
              <a:ext cx="339" cy="628"/>
            </a:xfrm>
            <a:custGeom>
              <a:avLst/>
              <a:gdLst>
                <a:gd name="T0" fmla="*/ 155 w 449"/>
                <a:gd name="T1" fmla="*/ 0 h 834"/>
                <a:gd name="T2" fmla="*/ 11 w 449"/>
                <a:gd name="T3" fmla="*/ 101 h 834"/>
                <a:gd name="T4" fmla="*/ 159 w 449"/>
                <a:gd name="T5" fmla="*/ 575 h 834"/>
                <a:gd name="T6" fmla="*/ 409 w 449"/>
                <a:gd name="T7" fmla="*/ 834 h 834"/>
                <a:gd name="T8" fmla="*/ 449 w 449"/>
                <a:gd name="T9" fmla="*/ 810 h 834"/>
                <a:gd name="T10" fmla="*/ 274 w 449"/>
                <a:gd name="T11" fmla="*/ 529 h 834"/>
                <a:gd name="T12" fmla="*/ 155 w 449"/>
                <a:gd name="T13" fmla="*/ 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9" h="834">
                  <a:moveTo>
                    <a:pt x="155" y="0"/>
                  </a:moveTo>
                  <a:cubicBezTo>
                    <a:pt x="155" y="0"/>
                    <a:pt x="21" y="13"/>
                    <a:pt x="11" y="101"/>
                  </a:cubicBezTo>
                  <a:cubicBezTo>
                    <a:pt x="0" y="188"/>
                    <a:pt x="139" y="543"/>
                    <a:pt x="159" y="575"/>
                  </a:cubicBezTo>
                  <a:cubicBezTo>
                    <a:pt x="195" y="633"/>
                    <a:pt x="409" y="834"/>
                    <a:pt x="409" y="834"/>
                  </a:cubicBezTo>
                  <a:cubicBezTo>
                    <a:pt x="449" y="810"/>
                    <a:pt x="449" y="810"/>
                    <a:pt x="449" y="810"/>
                  </a:cubicBezTo>
                  <a:cubicBezTo>
                    <a:pt x="449" y="810"/>
                    <a:pt x="297" y="553"/>
                    <a:pt x="274" y="529"/>
                  </a:cubicBezTo>
                  <a:cubicBezTo>
                    <a:pt x="237" y="491"/>
                    <a:pt x="201" y="30"/>
                    <a:pt x="155" y="0"/>
                  </a:cubicBez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174">
              <a:extLst>
                <a:ext uri="{FF2B5EF4-FFF2-40B4-BE49-F238E27FC236}">
                  <a16:creationId xmlns:a16="http://schemas.microsoft.com/office/drawing/2014/main" id="{0227357A-6CDD-4BDF-8150-4FA85A5C5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6" y="2916"/>
              <a:ext cx="190" cy="168"/>
            </a:xfrm>
            <a:custGeom>
              <a:avLst/>
              <a:gdLst>
                <a:gd name="T0" fmla="*/ 31 w 251"/>
                <a:gd name="T1" fmla="*/ 183 h 223"/>
                <a:gd name="T2" fmla="*/ 234 w 251"/>
                <a:gd name="T3" fmla="*/ 183 h 223"/>
                <a:gd name="T4" fmla="*/ 156 w 251"/>
                <a:gd name="T5" fmla="*/ 10 h 223"/>
                <a:gd name="T6" fmla="*/ 3 w 251"/>
                <a:gd name="T7" fmla="*/ 95 h 223"/>
                <a:gd name="T8" fmla="*/ 31 w 251"/>
                <a:gd name="T9" fmla="*/ 18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223">
                  <a:moveTo>
                    <a:pt x="31" y="183"/>
                  </a:moveTo>
                  <a:cubicBezTo>
                    <a:pt x="31" y="185"/>
                    <a:pt x="154" y="223"/>
                    <a:pt x="234" y="183"/>
                  </a:cubicBezTo>
                  <a:cubicBezTo>
                    <a:pt x="234" y="183"/>
                    <a:pt x="251" y="0"/>
                    <a:pt x="156" y="10"/>
                  </a:cubicBezTo>
                  <a:cubicBezTo>
                    <a:pt x="61" y="20"/>
                    <a:pt x="5" y="50"/>
                    <a:pt x="3" y="95"/>
                  </a:cubicBezTo>
                  <a:cubicBezTo>
                    <a:pt x="0" y="140"/>
                    <a:pt x="31" y="183"/>
                    <a:pt x="31" y="183"/>
                  </a:cubicBezTo>
                  <a:close/>
                </a:path>
              </a:pathLst>
            </a:custGeom>
            <a:solidFill>
              <a:srgbClr val="C654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175">
              <a:extLst>
                <a:ext uri="{FF2B5EF4-FFF2-40B4-BE49-F238E27FC236}">
                  <a16:creationId xmlns:a16="http://schemas.microsoft.com/office/drawing/2014/main" id="{1ECC5847-9123-40DE-AF90-4BBA74745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5" y="3549"/>
              <a:ext cx="42" cy="125"/>
            </a:xfrm>
            <a:custGeom>
              <a:avLst/>
              <a:gdLst>
                <a:gd name="T0" fmla="*/ 16 w 56"/>
                <a:gd name="T1" fmla="*/ 24 h 166"/>
                <a:gd name="T2" fmla="*/ 16 w 56"/>
                <a:gd name="T3" fmla="*/ 115 h 166"/>
                <a:gd name="T4" fmla="*/ 56 w 56"/>
                <a:gd name="T5" fmla="*/ 166 h 166"/>
                <a:gd name="T6" fmla="*/ 56 w 56"/>
                <a:gd name="T7" fmla="*/ 0 h 166"/>
                <a:gd name="T8" fmla="*/ 16 w 56"/>
                <a:gd name="T9" fmla="*/ 2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166">
                  <a:moveTo>
                    <a:pt x="16" y="24"/>
                  </a:moveTo>
                  <a:cubicBezTo>
                    <a:pt x="16" y="24"/>
                    <a:pt x="0" y="87"/>
                    <a:pt x="16" y="115"/>
                  </a:cubicBezTo>
                  <a:cubicBezTo>
                    <a:pt x="33" y="144"/>
                    <a:pt x="56" y="166"/>
                    <a:pt x="56" y="166"/>
                  </a:cubicBezTo>
                  <a:cubicBezTo>
                    <a:pt x="56" y="0"/>
                    <a:pt x="56" y="0"/>
                    <a:pt x="56" y="0"/>
                  </a:cubicBezTo>
                  <a:lnTo>
                    <a:pt x="16" y="24"/>
                  </a:lnTo>
                  <a:close/>
                </a:path>
              </a:pathLst>
            </a:custGeom>
            <a:solidFill>
              <a:srgbClr val="FFB2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176">
              <a:extLst>
                <a:ext uri="{FF2B5EF4-FFF2-40B4-BE49-F238E27FC236}">
                  <a16:creationId xmlns:a16="http://schemas.microsoft.com/office/drawing/2014/main" id="{49D9E7F6-CCFF-402C-88F2-EA8A06F2A5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0" y="3037"/>
              <a:ext cx="1045" cy="1123"/>
            </a:xfrm>
            <a:custGeom>
              <a:avLst/>
              <a:gdLst>
                <a:gd name="T0" fmla="*/ 789 w 1045"/>
                <a:gd name="T1" fmla="*/ 1123 h 1123"/>
                <a:gd name="T2" fmla="*/ 0 w 1045"/>
                <a:gd name="T3" fmla="*/ 1123 h 1123"/>
                <a:gd name="T4" fmla="*/ 259 w 1045"/>
                <a:gd name="T5" fmla="*/ 0 h 1123"/>
                <a:gd name="T6" fmla="*/ 1010 w 1045"/>
                <a:gd name="T7" fmla="*/ 0 h 1123"/>
                <a:gd name="T8" fmla="*/ 1045 w 1045"/>
                <a:gd name="T9" fmla="*/ 15 h 1123"/>
                <a:gd name="T10" fmla="*/ 789 w 1045"/>
                <a:gd name="T11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5" h="1123">
                  <a:moveTo>
                    <a:pt x="789" y="1123"/>
                  </a:moveTo>
                  <a:lnTo>
                    <a:pt x="0" y="1123"/>
                  </a:lnTo>
                  <a:lnTo>
                    <a:pt x="259" y="0"/>
                  </a:lnTo>
                  <a:lnTo>
                    <a:pt x="1010" y="0"/>
                  </a:lnTo>
                  <a:lnTo>
                    <a:pt x="1045" y="15"/>
                  </a:lnTo>
                  <a:lnTo>
                    <a:pt x="789" y="1123"/>
                  </a:lnTo>
                  <a:close/>
                </a:path>
              </a:pathLst>
            </a:custGeom>
            <a:solidFill>
              <a:srgbClr val="CCA0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177">
              <a:extLst>
                <a:ext uri="{FF2B5EF4-FFF2-40B4-BE49-F238E27FC236}">
                  <a16:creationId xmlns:a16="http://schemas.microsoft.com/office/drawing/2014/main" id="{77DE81B4-ED40-4F82-89A0-D27D87828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2" y="3037"/>
              <a:ext cx="1048" cy="1123"/>
            </a:xfrm>
            <a:custGeom>
              <a:avLst/>
              <a:gdLst>
                <a:gd name="T0" fmla="*/ 789 w 1048"/>
                <a:gd name="T1" fmla="*/ 1123 h 1123"/>
                <a:gd name="T2" fmla="*/ 0 w 1048"/>
                <a:gd name="T3" fmla="*/ 1123 h 1123"/>
                <a:gd name="T4" fmla="*/ 259 w 1048"/>
                <a:gd name="T5" fmla="*/ 0 h 1123"/>
                <a:gd name="T6" fmla="*/ 1048 w 1048"/>
                <a:gd name="T7" fmla="*/ 0 h 1123"/>
                <a:gd name="T8" fmla="*/ 789 w 1048"/>
                <a:gd name="T9" fmla="*/ 1123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8" h="1123">
                  <a:moveTo>
                    <a:pt x="789" y="1123"/>
                  </a:moveTo>
                  <a:lnTo>
                    <a:pt x="0" y="1123"/>
                  </a:lnTo>
                  <a:lnTo>
                    <a:pt x="259" y="0"/>
                  </a:lnTo>
                  <a:lnTo>
                    <a:pt x="1048" y="0"/>
                  </a:lnTo>
                  <a:lnTo>
                    <a:pt x="789" y="1123"/>
                  </a:lnTo>
                  <a:close/>
                </a:path>
              </a:pathLst>
            </a:custGeom>
            <a:solidFill>
              <a:srgbClr val="E3F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178">
              <a:extLst>
                <a:ext uri="{FF2B5EF4-FFF2-40B4-BE49-F238E27FC236}">
                  <a16:creationId xmlns:a16="http://schemas.microsoft.com/office/drawing/2014/main" id="{B2F4934D-31E6-40CB-B83B-FDA9181B5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5" y="3195"/>
              <a:ext cx="397" cy="29"/>
            </a:xfrm>
            <a:custGeom>
              <a:avLst/>
              <a:gdLst>
                <a:gd name="T0" fmla="*/ 509 w 527"/>
                <a:gd name="T1" fmla="*/ 0 h 39"/>
                <a:gd name="T2" fmla="*/ 26 w 527"/>
                <a:gd name="T3" fmla="*/ 0 h 39"/>
                <a:gd name="T4" fmla="*/ 2 w 527"/>
                <a:gd name="T5" fmla="*/ 20 h 39"/>
                <a:gd name="T6" fmla="*/ 17 w 527"/>
                <a:gd name="T7" fmla="*/ 39 h 39"/>
                <a:gd name="T8" fmla="*/ 500 w 527"/>
                <a:gd name="T9" fmla="*/ 39 h 39"/>
                <a:gd name="T10" fmla="*/ 524 w 527"/>
                <a:gd name="T11" fmla="*/ 20 h 39"/>
                <a:gd name="T12" fmla="*/ 509 w 52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7" h="39">
                  <a:moveTo>
                    <a:pt x="50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5" y="0"/>
                    <a:pt x="5" y="9"/>
                    <a:pt x="2" y="20"/>
                  </a:cubicBezTo>
                  <a:cubicBezTo>
                    <a:pt x="0" y="30"/>
                    <a:pt x="6" y="39"/>
                    <a:pt x="17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11" y="39"/>
                    <a:pt x="522" y="30"/>
                    <a:pt x="524" y="20"/>
                  </a:cubicBezTo>
                  <a:cubicBezTo>
                    <a:pt x="527" y="9"/>
                    <a:pt x="520" y="0"/>
                    <a:pt x="509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179">
              <a:extLst>
                <a:ext uri="{FF2B5EF4-FFF2-40B4-BE49-F238E27FC236}">
                  <a16:creationId xmlns:a16="http://schemas.microsoft.com/office/drawing/2014/main" id="{3173627D-6FF3-4796-AF23-584B91E8E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0" y="3273"/>
              <a:ext cx="395" cy="9"/>
            </a:xfrm>
            <a:custGeom>
              <a:avLst/>
              <a:gdLst>
                <a:gd name="T0" fmla="*/ 518 w 523"/>
                <a:gd name="T1" fmla="*/ 0 h 12"/>
                <a:gd name="T2" fmla="*/ 8 w 523"/>
                <a:gd name="T3" fmla="*/ 0 h 12"/>
                <a:gd name="T4" fmla="*/ 0 w 523"/>
                <a:gd name="T5" fmla="*/ 6 h 12"/>
                <a:gd name="T6" fmla="*/ 5 w 523"/>
                <a:gd name="T7" fmla="*/ 12 h 12"/>
                <a:gd name="T8" fmla="*/ 515 w 523"/>
                <a:gd name="T9" fmla="*/ 12 h 12"/>
                <a:gd name="T10" fmla="*/ 522 w 523"/>
                <a:gd name="T11" fmla="*/ 6 h 12"/>
                <a:gd name="T12" fmla="*/ 518 w 52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3" h="12">
                  <a:moveTo>
                    <a:pt x="51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1" y="2"/>
                    <a:pt x="0" y="6"/>
                  </a:cubicBezTo>
                  <a:cubicBezTo>
                    <a:pt x="0" y="9"/>
                    <a:pt x="2" y="12"/>
                    <a:pt x="5" y="12"/>
                  </a:cubicBezTo>
                  <a:cubicBezTo>
                    <a:pt x="515" y="12"/>
                    <a:pt x="515" y="12"/>
                    <a:pt x="515" y="12"/>
                  </a:cubicBezTo>
                  <a:cubicBezTo>
                    <a:pt x="518" y="12"/>
                    <a:pt x="522" y="9"/>
                    <a:pt x="522" y="6"/>
                  </a:cubicBezTo>
                  <a:cubicBezTo>
                    <a:pt x="523" y="2"/>
                    <a:pt x="521" y="0"/>
                    <a:pt x="518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180">
              <a:extLst>
                <a:ext uri="{FF2B5EF4-FFF2-40B4-BE49-F238E27FC236}">
                  <a16:creationId xmlns:a16="http://schemas.microsoft.com/office/drawing/2014/main" id="{A6D5B359-D73B-4CF4-A3AF-25791B607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5" y="3293"/>
              <a:ext cx="395" cy="10"/>
            </a:xfrm>
            <a:custGeom>
              <a:avLst/>
              <a:gdLst>
                <a:gd name="T0" fmla="*/ 518 w 524"/>
                <a:gd name="T1" fmla="*/ 0 h 12"/>
                <a:gd name="T2" fmla="*/ 8 w 524"/>
                <a:gd name="T3" fmla="*/ 0 h 12"/>
                <a:gd name="T4" fmla="*/ 1 w 524"/>
                <a:gd name="T5" fmla="*/ 6 h 12"/>
                <a:gd name="T6" fmla="*/ 6 w 524"/>
                <a:gd name="T7" fmla="*/ 12 h 12"/>
                <a:gd name="T8" fmla="*/ 516 w 524"/>
                <a:gd name="T9" fmla="*/ 12 h 12"/>
                <a:gd name="T10" fmla="*/ 523 w 524"/>
                <a:gd name="T11" fmla="*/ 6 h 12"/>
                <a:gd name="T12" fmla="*/ 518 w 5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4" h="12">
                  <a:moveTo>
                    <a:pt x="51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2" y="3"/>
                    <a:pt x="1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516" y="12"/>
                    <a:pt x="516" y="12"/>
                    <a:pt x="516" y="12"/>
                  </a:cubicBezTo>
                  <a:cubicBezTo>
                    <a:pt x="519" y="12"/>
                    <a:pt x="522" y="9"/>
                    <a:pt x="523" y="6"/>
                  </a:cubicBezTo>
                  <a:cubicBezTo>
                    <a:pt x="524" y="3"/>
                    <a:pt x="522" y="0"/>
                    <a:pt x="518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181">
              <a:extLst>
                <a:ext uri="{FF2B5EF4-FFF2-40B4-BE49-F238E27FC236}">
                  <a16:creationId xmlns:a16="http://schemas.microsoft.com/office/drawing/2014/main" id="{6EDD6198-1271-4806-9E0D-784C549B5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4" y="3195"/>
              <a:ext cx="131" cy="29"/>
            </a:xfrm>
            <a:custGeom>
              <a:avLst/>
              <a:gdLst>
                <a:gd name="T0" fmla="*/ 17 w 174"/>
                <a:gd name="T1" fmla="*/ 39 h 39"/>
                <a:gd name="T2" fmla="*/ 148 w 174"/>
                <a:gd name="T3" fmla="*/ 39 h 39"/>
                <a:gd name="T4" fmla="*/ 172 w 174"/>
                <a:gd name="T5" fmla="*/ 20 h 39"/>
                <a:gd name="T6" fmla="*/ 157 w 174"/>
                <a:gd name="T7" fmla="*/ 0 h 39"/>
                <a:gd name="T8" fmla="*/ 26 w 174"/>
                <a:gd name="T9" fmla="*/ 0 h 39"/>
                <a:gd name="T10" fmla="*/ 2 w 174"/>
                <a:gd name="T11" fmla="*/ 20 h 39"/>
                <a:gd name="T12" fmla="*/ 17 w 17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4" h="39">
                  <a:moveTo>
                    <a:pt x="17" y="39"/>
                  </a:moveTo>
                  <a:cubicBezTo>
                    <a:pt x="148" y="39"/>
                    <a:pt x="148" y="39"/>
                    <a:pt x="148" y="39"/>
                  </a:cubicBezTo>
                  <a:cubicBezTo>
                    <a:pt x="158" y="39"/>
                    <a:pt x="169" y="30"/>
                    <a:pt x="172" y="20"/>
                  </a:cubicBezTo>
                  <a:cubicBezTo>
                    <a:pt x="174" y="9"/>
                    <a:pt x="167" y="0"/>
                    <a:pt x="15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5" y="0"/>
                    <a:pt x="5" y="9"/>
                    <a:pt x="2" y="20"/>
                  </a:cubicBezTo>
                  <a:cubicBezTo>
                    <a:pt x="0" y="30"/>
                    <a:pt x="6" y="39"/>
                    <a:pt x="17" y="39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182">
              <a:extLst>
                <a:ext uri="{FF2B5EF4-FFF2-40B4-BE49-F238E27FC236}">
                  <a16:creationId xmlns:a16="http://schemas.microsoft.com/office/drawing/2014/main" id="{4649B7F6-7EC2-4056-BE8E-2BA1FCCFA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4" y="3422"/>
              <a:ext cx="398" cy="29"/>
            </a:xfrm>
            <a:custGeom>
              <a:avLst/>
              <a:gdLst>
                <a:gd name="T0" fmla="*/ 510 w 527"/>
                <a:gd name="T1" fmla="*/ 0 h 39"/>
                <a:gd name="T2" fmla="*/ 26 w 527"/>
                <a:gd name="T3" fmla="*/ 0 h 39"/>
                <a:gd name="T4" fmla="*/ 2 w 527"/>
                <a:gd name="T5" fmla="*/ 20 h 39"/>
                <a:gd name="T6" fmla="*/ 17 w 527"/>
                <a:gd name="T7" fmla="*/ 39 h 39"/>
                <a:gd name="T8" fmla="*/ 501 w 527"/>
                <a:gd name="T9" fmla="*/ 39 h 39"/>
                <a:gd name="T10" fmla="*/ 524 w 527"/>
                <a:gd name="T11" fmla="*/ 20 h 39"/>
                <a:gd name="T12" fmla="*/ 510 w 52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7" h="39">
                  <a:moveTo>
                    <a:pt x="510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6" y="0"/>
                    <a:pt x="5" y="9"/>
                    <a:pt x="2" y="20"/>
                  </a:cubicBezTo>
                  <a:cubicBezTo>
                    <a:pt x="0" y="30"/>
                    <a:pt x="7" y="39"/>
                    <a:pt x="17" y="39"/>
                  </a:cubicBezTo>
                  <a:cubicBezTo>
                    <a:pt x="501" y="39"/>
                    <a:pt x="501" y="39"/>
                    <a:pt x="501" y="39"/>
                  </a:cubicBezTo>
                  <a:cubicBezTo>
                    <a:pt x="511" y="39"/>
                    <a:pt x="522" y="30"/>
                    <a:pt x="524" y="20"/>
                  </a:cubicBezTo>
                  <a:cubicBezTo>
                    <a:pt x="527" y="9"/>
                    <a:pt x="520" y="0"/>
                    <a:pt x="510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183">
              <a:extLst>
                <a:ext uri="{FF2B5EF4-FFF2-40B4-BE49-F238E27FC236}">
                  <a16:creationId xmlns:a16="http://schemas.microsoft.com/office/drawing/2014/main" id="{2024A62E-87D1-44AE-A338-2AEE41E10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" y="3500"/>
              <a:ext cx="394" cy="8"/>
            </a:xfrm>
            <a:custGeom>
              <a:avLst/>
              <a:gdLst>
                <a:gd name="T0" fmla="*/ 518 w 523"/>
                <a:gd name="T1" fmla="*/ 0 h 11"/>
                <a:gd name="T2" fmla="*/ 8 w 523"/>
                <a:gd name="T3" fmla="*/ 0 h 11"/>
                <a:gd name="T4" fmla="*/ 1 w 523"/>
                <a:gd name="T5" fmla="*/ 5 h 11"/>
                <a:gd name="T6" fmla="*/ 5 w 523"/>
                <a:gd name="T7" fmla="*/ 11 h 11"/>
                <a:gd name="T8" fmla="*/ 515 w 523"/>
                <a:gd name="T9" fmla="*/ 11 h 11"/>
                <a:gd name="T10" fmla="*/ 523 w 523"/>
                <a:gd name="T11" fmla="*/ 5 h 11"/>
                <a:gd name="T12" fmla="*/ 518 w 52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3" h="11">
                  <a:moveTo>
                    <a:pt x="51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1" y="2"/>
                    <a:pt x="1" y="5"/>
                  </a:cubicBezTo>
                  <a:cubicBezTo>
                    <a:pt x="0" y="9"/>
                    <a:pt x="2" y="11"/>
                    <a:pt x="5" y="11"/>
                  </a:cubicBezTo>
                  <a:cubicBezTo>
                    <a:pt x="515" y="11"/>
                    <a:pt x="515" y="11"/>
                    <a:pt x="515" y="11"/>
                  </a:cubicBezTo>
                  <a:cubicBezTo>
                    <a:pt x="519" y="11"/>
                    <a:pt x="522" y="9"/>
                    <a:pt x="523" y="5"/>
                  </a:cubicBezTo>
                  <a:cubicBezTo>
                    <a:pt x="523" y="2"/>
                    <a:pt x="521" y="0"/>
                    <a:pt x="518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184">
              <a:extLst>
                <a:ext uri="{FF2B5EF4-FFF2-40B4-BE49-F238E27FC236}">
                  <a16:creationId xmlns:a16="http://schemas.microsoft.com/office/drawing/2014/main" id="{66172ED8-0217-4E3E-8083-07681ACB8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6" y="3520"/>
              <a:ext cx="394" cy="9"/>
            </a:xfrm>
            <a:custGeom>
              <a:avLst/>
              <a:gdLst>
                <a:gd name="T0" fmla="*/ 518 w 523"/>
                <a:gd name="T1" fmla="*/ 0 h 12"/>
                <a:gd name="T2" fmla="*/ 8 w 523"/>
                <a:gd name="T3" fmla="*/ 0 h 12"/>
                <a:gd name="T4" fmla="*/ 0 w 523"/>
                <a:gd name="T5" fmla="*/ 6 h 12"/>
                <a:gd name="T6" fmla="*/ 5 w 523"/>
                <a:gd name="T7" fmla="*/ 12 h 12"/>
                <a:gd name="T8" fmla="*/ 515 w 523"/>
                <a:gd name="T9" fmla="*/ 12 h 12"/>
                <a:gd name="T10" fmla="*/ 522 w 523"/>
                <a:gd name="T11" fmla="*/ 6 h 12"/>
                <a:gd name="T12" fmla="*/ 518 w 52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3" h="12">
                  <a:moveTo>
                    <a:pt x="51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1" y="3"/>
                    <a:pt x="0" y="6"/>
                  </a:cubicBezTo>
                  <a:cubicBezTo>
                    <a:pt x="0" y="9"/>
                    <a:pt x="2" y="12"/>
                    <a:pt x="5" y="12"/>
                  </a:cubicBezTo>
                  <a:cubicBezTo>
                    <a:pt x="515" y="12"/>
                    <a:pt x="515" y="12"/>
                    <a:pt x="515" y="12"/>
                  </a:cubicBezTo>
                  <a:cubicBezTo>
                    <a:pt x="518" y="12"/>
                    <a:pt x="522" y="9"/>
                    <a:pt x="522" y="6"/>
                  </a:cubicBezTo>
                  <a:cubicBezTo>
                    <a:pt x="523" y="3"/>
                    <a:pt x="521" y="0"/>
                    <a:pt x="518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185">
              <a:extLst>
                <a:ext uri="{FF2B5EF4-FFF2-40B4-BE49-F238E27FC236}">
                  <a16:creationId xmlns:a16="http://schemas.microsoft.com/office/drawing/2014/main" id="{5BA87B11-E6E8-42D7-A2DD-E56AE4D68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4" y="3422"/>
              <a:ext cx="131" cy="29"/>
            </a:xfrm>
            <a:custGeom>
              <a:avLst/>
              <a:gdLst>
                <a:gd name="T0" fmla="*/ 18 w 174"/>
                <a:gd name="T1" fmla="*/ 39 h 39"/>
                <a:gd name="T2" fmla="*/ 148 w 174"/>
                <a:gd name="T3" fmla="*/ 39 h 39"/>
                <a:gd name="T4" fmla="*/ 172 w 174"/>
                <a:gd name="T5" fmla="*/ 20 h 39"/>
                <a:gd name="T6" fmla="*/ 157 w 174"/>
                <a:gd name="T7" fmla="*/ 0 h 39"/>
                <a:gd name="T8" fmla="*/ 26 w 174"/>
                <a:gd name="T9" fmla="*/ 0 h 39"/>
                <a:gd name="T10" fmla="*/ 3 w 174"/>
                <a:gd name="T11" fmla="*/ 20 h 39"/>
                <a:gd name="T12" fmla="*/ 18 w 17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4" h="39">
                  <a:moveTo>
                    <a:pt x="18" y="39"/>
                  </a:moveTo>
                  <a:cubicBezTo>
                    <a:pt x="148" y="39"/>
                    <a:pt x="148" y="39"/>
                    <a:pt x="148" y="39"/>
                  </a:cubicBezTo>
                  <a:cubicBezTo>
                    <a:pt x="159" y="39"/>
                    <a:pt x="169" y="30"/>
                    <a:pt x="172" y="20"/>
                  </a:cubicBezTo>
                  <a:cubicBezTo>
                    <a:pt x="174" y="9"/>
                    <a:pt x="168" y="0"/>
                    <a:pt x="15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6" y="0"/>
                    <a:pt x="5" y="9"/>
                    <a:pt x="3" y="20"/>
                  </a:cubicBezTo>
                  <a:cubicBezTo>
                    <a:pt x="0" y="30"/>
                    <a:pt x="7" y="39"/>
                    <a:pt x="18" y="39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186">
              <a:extLst>
                <a:ext uri="{FF2B5EF4-FFF2-40B4-BE49-F238E27FC236}">
                  <a16:creationId xmlns:a16="http://schemas.microsoft.com/office/drawing/2014/main" id="{990B7CD2-7403-46FB-A0E2-48E047C94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7" y="3648"/>
              <a:ext cx="397" cy="30"/>
            </a:xfrm>
            <a:custGeom>
              <a:avLst/>
              <a:gdLst>
                <a:gd name="T0" fmla="*/ 509 w 527"/>
                <a:gd name="T1" fmla="*/ 0 h 39"/>
                <a:gd name="T2" fmla="*/ 26 w 527"/>
                <a:gd name="T3" fmla="*/ 0 h 39"/>
                <a:gd name="T4" fmla="*/ 2 w 527"/>
                <a:gd name="T5" fmla="*/ 19 h 39"/>
                <a:gd name="T6" fmla="*/ 17 w 527"/>
                <a:gd name="T7" fmla="*/ 39 h 39"/>
                <a:gd name="T8" fmla="*/ 500 w 527"/>
                <a:gd name="T9" fmla="*/ 39 h 39"/>
                <a:gd name="T10" fmla="*/ 524 w 527"/>
                <a:gd name="T11" fmla="*/ 19 h 39"/>
                <a:gd name="T12" fmla="*/ 509 w 52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7" h="39">
                  <a:moveTo>
                    <a:pt x="50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5" y="0"/>
                    <a:pt x="5" y="9"/>
                    <a:pt x="2" y="19"/>
                  </a:cubicBezTo>
                  <a:cubicBezTo>
                    <a:pt x="0" y="30"/>
                    <a:pt x="6" y="39"/>
                    <a:pt x="17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11" y="39"/>
                    <a:pt x="522" y="30"/>
                    <a:pt x="524" y="19"/>
                  </a:cubicBezTo>
                  <a:cubicBezTo>
                    <a:pt x="527" y="9"/>
                    <a:pt x="520" y="0"/>
                    <a:pt x="509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187">
              <a:extLst>
                <a:ext uri="{FF2B5EF4-FFF2-40B4-BE49-F238E27FC236}">
                  <a16:creationId xmlns:a16="http://schemas.microsoft.com/office/drawing/2014/main" id="{133FD590-CA0C-4808-8F3E-39F5157CB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" y="3726"/>
              <a:ext cx="394" cy="9"/>
            </a:xfrm>
            <a:custGeom>
              <a:avLst/>
              <a:gdLst>
                <a:gd name="T0" fmla="*/ 518 w 523"/>
                <a:gd name="T1" fmla="*/ 0 h 12"/>
                <a:gd name="T2" fmla="*/ 8 w 523"/>
                <a:gd name="T3" fmla="*/ 0 h 12"/>
                <a:gd name="T4" fmla="*/ 0 w 523"/>
                <a:gd name="T5" fmla="*/ 6 h 12"/>
                <a:gd name="T6" fmla="*/ 5 w 523"/>
                <a:gd name="T7" fmla="*/ 12 h 12"/>
                <a:gd name="T8" fmla="*/ 515 w 523"/>
                <a:gd name="T9" fmla="*/ 12 h 12"/>
                <a:gd name="T10" fmla="*/ 522 w 523"/>
                <a:gd name="T11" fmla="*/ 6 h 12"/>
                <a:gd name="T12" fmla="*/ 518 w 52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3" h="12">
                  <a:moveTo>
                    <a:pt x="51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1" y="3"/>
                    <a:pt x="0" y="6"/>
                  </a:cubicBezTo>
                  <a:cubicBezTo>
                    <a:pt x="0" y="10"/>
                    <a:pt x="2" y="12"/>
                    <a:pt x="5" y="12"/>
                  </a:cubicBezTo>
                  <a:cubicBezTo>
                    <a:pt x="515" y="12"/>
                    <a:pt x="515" y="12"/>
                    <a:pt x="515" y="12"/>
                  </a:cubicBezTo>
                  <a:cubicBezTo>
                    <a:pt x="518" y="12"/>
                    <a:pt x="522" y="10"/>
                    <a:pt x="522" y="6"/>
                  </a:cubicBezTo>
                  <a:cubicBezTo>
                    <a:pt x="523" y="3"/>
                    <a:pt x="521" y="0"/>
                    <a:pt x="518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188">
              <a:extLst>
                <a:ext uri="{FF2B5EF4-FFF2-40B4-BE49-F238E27FC236}">
                  <a16:creationId xmlns:a16="http://schemas.microsoft.com/office/drawing/2014/main" id="{EAF2F448-921F-4330-AE5A-07C135DDD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" y="3747"/>
              <a:ext cx="395" cy="9"/>
            </a:xfrm>
            <a:custGeom>
              <a:avLst/>
              <a:gdLst>
                <a:gd name="T0" fmla="*/ 518 w 524"/>
                <a:gd name="T1" fmla="*/ 0 h 12"/>
                <a:gd name="T2" fmla="*/ 8 w 524"/>
                <a:gd name="T3" fmla="*/ 0 h 12"/>
                <a:gd name="T4" fmla="*/ 1 w 524"/>
                <a:gd name="T5" fmla="*/ 6 h 12"/>
                <a:gd name="T6" fmla="*/ 6 w 524"/>
                <a:gd name="T7" fmla="*/ 12 h 12"/>
                <a:gd name="T8" fmla="*/ 516 w 524"/>
                <a:gd name="T9" fmla="*/ 12 h 12"/>
                <a:gd name="T10" fmla="*/ 523 w 524"/>
                <a:gd name="T11" fmla="*/ 6 h 12"/>
                <a:gd name="T12" fmla="*/ 518 w 5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4" h="12">
                  <a:moveTo>
                    <a:pt x="51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2" y="2"/>
                    <a:pt x="1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516" y="12"/>
                    <a:pt x="516" y="12"/>
                    <a:pt x="516" y="12"/>
                  </a:cubicBezTo>
                  <a:cubicBezTo>
                    <a:pt x="519" y="12"/>
                    <a:pt x="522" y="9"/>
                    <a:pt x="523" y="6"/>
                  </a:cubicBezTo>
                  <a:cubicBezTo>
                    <a:pt x="524" y="2"/>
                    <a:pt x="522" y="0"/>
                    <a:pt x="518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189">
              <a:extLst>
                <a:ext uri="{FF2B5EF4-FFF2-40B4-BE49-F238E27FC236}">
                  <a16:creationId xmlns:a16="http://schemas.microsoft.com/office/drawing/2014/main" id="{F87F6C42-6642-4F90-96B3-F6435B64F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6" y="3648"/>
              <a:ext cx="132" cy="30"/>
            </a:xfrm>
            <a:custGeom>
              <a:avLst/>
              <a:gdLst>
                <a:gd name="T0" fmla="*/ 17 w 174"/>
                <a:gd name="T1" fmla="*/ 39 h 39"/>
                <a:gd name="T2" fmla="*/ 148 w 174"/>
                <a:gd name="T3" fmla="*/ 39 h 39"/>
                <a:gd name="T4" fmla="*/ 172 w 174"/>
                <a:gd name="T5" fmla="*/ 19 h 39"/>
                <a:gd name="T6" fmla="*/ 157 w 174"/>
                <a:gd name="T7" fmla="*/ 0 h 39"/>
                <a:gd name="T8" fmla="*/ 26 w 174"/>
                <a:gd name="T9" fmla="*/ 0 h 39"/>
                <a:gd name="T10" fmla="*/ 2 w 174"/>
                <a:gd name="T11" fmla="*/ 19 h 39"/>
                <a:gd name="T12" fmla="*/ 17 w 174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4" h="39">
                  <a:moveTo>
                    <a:pt x="17" y="39"/>
                  </a:moveTo>
                  <a:cubicBezTo>
                    <a:pt x="148" y="39"/>
                    <a:pt x="148" y="39"/>
                    <a:pt x="148" y="39"/>
                  </a:cubicBezTo>
                  <a:cubicBezTo>
                    <a:pt x="158" y="39"/>
                    <a:pt x="169" y="30"/>
                    <a:pt x="172" y="19"/>
                  </a:cubicBezTo>
                  <a:cubicBezTo>
                    <a:pt x="174" y="9"/>
                    <a:pt x="167" y="0"/>
                    <a:pt x="15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5" y="0"/>
                    <a:pt x="5" y="9"/>
                    <a:pt x="2" y="19"/>
                  </a:cubicBezTo>
                  <a:cubicBezTo>
                    <a:pt x="0" y="30"/>
                    <a:pt x="6" y="39"/>
                    <a:pt x="17" y="39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190">
              <a:extLst>
                <a:ext uri="{FF2B5EF4-FFF2-40B4-BE49-F238E27FC236}">
                  <a16:creationId xmlns:a16="http://schemas.microsoft.com/office/drawing/2014/main" id="{A67F0419-D05E-4EEE-A45A-FD2E56A30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1" y="3884"/>
              <a:ext cx="397" cy="30"/>
            </a:xfrm>
            <a:custGeom>
              <a:avLst/>
              <a:gdLst>
                <a:gd name="T0" fmla="*/ 509 w 527"/>
                <a:gd name="T1" fmla="*/ 0 h 39"/>
                <a:gd name="T2" fmla="*/ 26 w 527"/>
                <a:gd name="T3" fmla="*/ 0 h 39"/>
                <a:gd name="T4" fmla="*/ 2 w 527"/>
                <a:gd name="T5" fmla="*/ 20 h 39"/>
                <a:gd name="T6" fmla="*/ 17 w 527"/>
                <a:gd name="T7" fmla="*/ 39 h 39"/>
                <a:gd name="T8" fmla="*/ 500 w 527"/>
                <a:gd name="T9" fmla="*/ 39 h 39"/>
                <a:gd name="T10" fmla="*/ 524 w 527"/>
                <a:gd name="T11" fmla="*/ 20 h 39"/>
                <a:gd name="T12" fmla="*/ 509 w 52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7" h="39">
                  <a:moveTo>
                    <a:pt x="509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5" y="0"/>
                    <a:pt x="5" y="9"/>
                    <a:pt x="2" y="20"/>
                  </a:cubicBezTo>
                  <a:cubicBezTo>
                    <a:pt x="0" y="30"/>
                    <a:pt x="6" y="39"/>
                    <a:pt x="17" y="39"/>
                  </a:cubicBezTo>
                  <a:cubicBezTo>
                    <a:pt x="500" y="39"/>
                    <a:pt x="500" y="39"/>
                    <a:pt x="500" y="39"/>
                  </a:cubicBezTo>
                  <a:cubicBezTo>
                    <a:pt x="511" y="39"/>
                    <a:pt x="522" y="30"/>
                    <a:pt x="524" y="20"/>
                  </a:cubicBezTo>
                  <a:cubicBezTo>
                    <a:pt x="527" y="9"/>
                    <a:pt x="520" y="0"/>
                    <a:pt x="509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191">
              <a:extLst>
                <a:ext uri="{FF2B5EF4-FFF2-40B4-BE49-F238E27FC236}">
                  <a16:creationId xmlns:a16="http://schemas.microsoft.com/office/drawing/2014/main" id="{28E8C48C-DAB1-4EE1-821A-4E6FE0CA5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7" y="3963"/>
              <a:ext cx="394" cy="8"/>
            </a:xfrm>
            <a:custGeom>
              <a:avLst/>
              <a:gdLst>
                <a:gd name="T0" fmla="*/ 518 w 523"/>
                <a:gd name="T1" fmla="*/ 0 h 11"/>
                <a:gd name="T2" fmla="*/ 8 w 523"/>
                <a:gd name="T3" fmla="*/ 0 h 11"/>
                <a:gd name="T4" fmla="*/ 0 w 523"/>
                <a:gd name="T5" fmla="*/ 5 h 11"/>
                <a:gd name="T6" fmla="*/ 5 w 523"/>
                <a:gd name="T7" fmla="*/ 11 h 11"/>
                <a:gd name="T8" fmla="*/ 515 w 523"/>
                <a:gd name="T9" fmla="*/ 11 h 11"/>
                <a:gd name="T10" fmla="*/ 522 w 523"/>
                <a:gd name="T11" fmla="*/ 5 h 11"/>
                <a:gd name="T12" fmla="*/ 518 w 52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3" h="11">
                  <a:moveTo>
                    <a:pt x="51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1" y="2"/>
                    <a:pt x="0" y="5"/>
                  </a:cubicBezTo>
                  <a:cubicBezTo>
                    <a:pt x="0" y="9"/>
                    <a:pt x="2" y="11"/>
                    <a:pt x="5" y="11"/>
                  </a:cubicBezTo>
                  <a:cubicBezTo>
                    <a:pt x="515" y="11"/>
                    <a:pt x="515" y="11"/>
                    <a:pt x="515" y="11"/>
                  </a:cubicBezTo>
                  <a:cubicBezTo>
                    <a:pt x="518" y="11"/>
                    <a:pt x="522" y="9"/>
                    <a:pt x="522" y="5"/>
                  </a:cubicBezTo>
                  <a:cubicBezTo>
                    <a:pt x="523" y="2"/>
                    <a:pt x="521" y="0"/>
                    <a:pt x="518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192">
              <a:extLst>
                <a:ext uri="{FF2B5EF4-FFF2-40B4-BE49-F238E27FC236}">
                  <a16:creationId xmlns:a16="http://schemas.microsoft.com/office/drawing/2014/main" id="{C1857D9F-67C9-4A74-B7C8-3EE171D16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2" y="3983"/>
              <a:ext cx="394" cy="9"/>
            </a:xfrm>
            <a:custGeom>
              <a:avLst/>
              <a:gdLst>
                <a:gd name="T0" fmla="*/ 518 w 524"/>
                <a:gd name="T1" fmla="*/ 0 h 12"/>
                <a:gd name="T2" fmla="*/ 8 w 524"/>
                <a:gd name="T3" fmla="*/ 0 h 12"/>
                <a:gd name="T4" fmla="*/ 1 w 524"/>
                <a:gd name="T5" fmla="*/ 6 h 12"/>
                <a:gd name="T6" fmla="*/ 6 w 524"/>
                <a:gd name="T7" fmla="*/ 12 h 12"/>
                <a:gd name="T8" fmla="*/ 516 w 524"/>
                <a:gd name="T9" fmla="*/ 12 h 12"/>
                <a:gd name="T10" fmla="*/ 523 w 524"/>
                <a:gd name="T11" fmla="*/ 6 h 12"/>
                <a:gd name="T12" fmla="*/ 518 w 5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4" h="12">
                  <a:moveTo>
                    <a:pt x="51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2" y="3"/>
                    <a:pt x="1" y="6"/>
                  </a:cubicBezTo>
                  <a:cubicBezTo>
                    <a:pt x="0" y="9"/>
                    <a:pt x="2" y="12"/>
                    <a:pt x="6" y="12"/>
                  </a:cubicBezTo>
                  <a:cubicBezTo>
                    <a:pt x="516" y="12"/>
                    <a:pt x="516" y="12"/>
                    <a:pt x="516" y="12"/>
                  </a:cubicBezTo>
                  <a:cubicBezTo>
                    <a:pt x="519" y="12"/>
                    <a:pt x="522" y="9"/>
                    <a:pt x="523" y="6"/>
                  </a:cubicBezTo>
                  <a:cubicBezTo>
                    <a:pt x="524" y="3"/>
                    <a:pt x="522" y="0"/>
                    <a:pt x="518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193">
              <a:extLst>
                <a:ext uri="{FF2B5EF4-FFF2-40B4-BE49-F238E27FC236}">
                  <a16:creationId xmlns:a16="http://schemas.microsoft.com/office/drawing/2014/main" id="{80E116C6-EC21-4B30-9EDC-782F0DC7D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1" y="3884"/>
              <a:ext cx="131" cy="30"/>
            </a:xfrm>
            <a:custGeom>
              <a:avLst/>
              <a:gdLst>
                <a:gd name="T0" fmla="*/ 157 w 174"/>
                <a:gd name="T1" fmla="*/ 0 h 39"/>
                <a:gd name="T2" fmla="*/ 26 w 174"/>
                <a:gd name="T3" fmla="*/ 0 h 39"/>
                <a:gd name="T4" fmla="*/ 2 w 174"/>
                <a:gd name="T5" fmla="*/ 20 h 39"/>
                <a:gd name="T6" fmla="*/ 17 w 174"/>
                <a:gd name="T7" fmla="*/ 39 h 39"/>
                <a:gd name="T8" fmla="*/ 148 w 174"/>
                <a:gd name="T9" fmla="*/ 39 h 39"/>
                <a:gd name="T10" fmla="*/ 172 w 174"/>
                <a:gd name="T11" fmla="*/ 20 h 39"/>
                <a:gd name="T12" fmla="*/ 157 w 174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4" h="39">
                  <a:moveTo>
                    <a:pt x="157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5" y="0"/>
                    <a:pt x="5" y="9"/>
                    <a:pt x="2" y="20"/>
                  </a:cubicBezTo>
                  <a:cubicBezTo>
                    <a:pt x="0" y="30"/>
                    <a:pt x="6" y="39"/>
                    <a:pt x="17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58" y="39"/>
                    <a:pt x="169" y="30"/>
                    <a:pt x="172" y="20"/>
                  </a:cubicBezTo>
                  <a:cubicBezTo>
                    <a:pt x="174" y="9"/>
                    <a:pt x="167" y="0"/>
                    <a:pt x="157" y="0"/>
                  </a:cubicBezTo>
                  <a:close/>
                </a:path>
              </a:pathLst>
            </a:custGeom>
            <a:solidFill>
              <a:srgbClr val="CBE2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194">
              <a:extLst>
                <a:ext uri="{FF2B5EF4-FFF2-40B4-BE49-F238E27FC236}">
                  <a16:creationId xmlns:a16="http://schemas.microsoft.com/office/drawing/2014/main" id="{06C8B3AE-3E21-45B8-B6FB-4EBB6F1F7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6" y="3030"/>
              <a:ext cx="392" cy="90"/>
            </a:xfrm>
            <a:custGeom>
              <a:avLst/>
              <a:gdLst>
                <a:gd name="T0" fmla="*/ 454 w 521"/>
                <a:gd name="T1" fmla="*/ 119 h 119"/>
                <a:gd name="T2" fmla="*/ 48 w 521"/>
                <a:gd name="T3" fmla="*/ 119 h 119"/>
                <a:gd name="T4" fmla="*/ 6 w 521"/>
                <a:gd name="T5" fmla="*/ 66 h 119"/>
                <a:gd name="T6" fmla="*/ 22 w 521"/>
                <a:gd name="T7" fmla="*/ 0 h 119"/>
                <a:gd name="T8" fmla="*/ 521 w 521"/>
                <a:gd name="T9" fmla="*/ 0 h 119"/>
                <a:gd name="T10" fmla="*/ 502 w 521"/>
                <a:gd name="T11" fmla="*/ 80 h 119"/>
                <a:gd name="T12" fmla="*/ 454 w 521"/>
                <a:gd name="T13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1" h="119">
                  <a:moveTo>
                    <a:pt x="454" y="119"/>
                  </a:moveTo>
                  <a:cubicBezTo>
                    <a:pt x="48" y="119"/>
                    <a:pt x="48" y="119"/>
                    <a:pt x="48" y="119"/>
                  </a:cubicBezTo>
                  <a:cubicBezTo>
                    <a:pt x="21" y="119"/>
                    <a:pt x="0" y="93"/>
                    <a:pt x="6" y="66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21" y="0"/>
                    <a:pt x="521" y="0"/>
                    <a:pt x="521" y="0"/>
                  </a:cubicBezTo>
                  <a:cubicBezTo>
                    <a:pt x="502" y="80"/>
                    <a:pt x="502" y="80"/>
                    <a:pt x="502" y="80"/>
                  </a:cubicBezTo>
                  <a:cubicBezTo>
                    <a:pt x="497" y="103"/>
                    <a:pt x="477" y="119"/>
                    <a:pt x="454" y="119"/>
                  </a:cubicBezTo>
                  <a:close/>
                </a:path>
              </a:pathLst>
            </a:custGeom>
            <a:solidFill>
              <a:srgbClr val="EE9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195">
              <a:extLst>
                <a:ext uri="{FF2B5EF4-FFF2-40B4-BE49-F238E27FC236}">
                  <a16:creationId xmlns:a16="http://schemas.microsoft.com/office/drawing/2014/main" id="{523BAE4A-FF08-4866-9541-4977DBBEC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" y="3030"/>
              <a:ext cx="27" cy="7"/>
            </a:xfrm>
            <a:custGeom>
              <a:avLst/>
              <a:gdLst>
                <a:gd name="T0" fmla="*/ 1 w 27"/>
                <a:gd name="T1" fmla="*/ 0 h 7"/>
                <a:gd name="T2" fmla="*/ 27 w 27"/>
                <a:gd name="T3" fmla="*/ 7 h 7"/>
                <a:gd name="T4" fmla="*/ 0 w 27"/>
                <a:gd name="T5" fmla="*/ 7 h 7"/>
                <a:gd name="T6" fmla="*/ 1 w 2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7">
                  <a:moveTo>
                    <a:pt x="1" y="0"/>
                  </a:moveTo>
                  <a:lnTo>
                    <a:pt x="27" y="7"/>
                  </a:lnTo>
                  <a:lnTo>
                    <a:pt x="0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D7D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196">
              <a:extLst>
                <a:ext uri="{FF2B5EF4-FFF2-40B4-BE49-F238E27FC236}">
                  <a16:creationId xmlns:a16="http://schemas.microsoft.com/office/drawing/2014/main" id="{9195230A-035A-4F3A-938D-1311EA039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1" y="4108"/>
              <a:ext cx="788" cy="52"/>
            </a:xfrm>
            <a:custGeom>
              <a:avLst/>
              <a:gdLst>
                <a:gd name="T0" fmla="*/ 1046 w 1046"/>
                <a:gd name="T1" fmla="*/ 35 h 69"/>
                <a:gd name="T2" fmla="*/ 1035 w 1046"/>
                <a:gd name="T3" fmla="*/ 59 h 69"/>
                <a:gd name="T4" fmla="*/ 1019 w 1046"/>
                <a:gd name="T5" fmla="*/ 68 h 69"/>
                <a:gd name="T6" fmla="*/ 1011 w 1046"/>
                <a:gd name="T7" fmla="*/ 69 h 69"/>
                <a:gd name="T8" fmla="*/ 35 w 1046"/>
                <a:gd name="T9" fmla="*/ 69 h 69"/>
                <a:gd name="T10" fmla="*/ 0 w 1046"/>
                <a:gd name="T11" fmla="*/ 35 h 69"/>
                <a:gd name="T12" fmla="*/ 10 w 1046"/>
                <a:gd name="T13" fmla="*/ 10 h 69"/>
                <a:gd name="T14" fmla="*/ 35 w 1046"/>
                <a:gd name="T15" fmla="*/ 0 h 69"/>
                <a:gd name="T16" fmla="*/ 1011 w 1046"/>
                <a:gd name="T17" fmla="*/ 0 h 69"/>
                <a:gd name="T18" fmla="*/ 1019 w 1046"/>
                <a:gd name="T19" fmla="*/ 1 h 69"/>
                <a:gd name="T20" fmla="*/ 1046 w 1046"/>
                <a:gd name="T21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6" h="69">
                  <a:moveTo>
                    <a:pt x="1046" y="35"/>
                  </a:moveTo>
                  <a:cubicBezTo>
                    <a:pt x="1046" y="44"/>
                    <a:pt x="1042" y="53"/>
                    <a:pt x="1035" y="59"/>
                  </a:cubicBezTo>
                  <a:cubicBezTo>
                    <a:pt x="1031" y="64"/>
                    <a:pt x="1025" y="67"/>
                    <a:pt x="1019" y="68"/>
                  </a:cubicBezTo>
                  <a:cubicBezTo>
                    <a:pt x="1016" y="69"/>
                    <a:pt x="1013" y="69"/>
                    <a:pt x="1011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16" y="69"/>
                    <a:pt x="0" y="54"/>
                    <a:pt x="0" y="35"/>
                  </a:cubicBezTo>
                  <a:cubicBezTo>
                    <a:pt x="0" y="25"/>
                    <a:pt x="4" y="16"/>
                    <a:pt x="10" y="10"/>
                  </a:cubicBezTo>
                  <a:cubicBezTo>
                    <a:pt x="17" y="4"/>
                    <a:pt x="25" y="0"/>
                    <a:pt x="35" y="0"/>
                  </a:cubicBezTo>
                  <a:cubicBezTo>
                    <a:pt x="1011" y="0"/>
                    <a:pt x="1011" y="0"/>
                    <a:pt x="1011" y="0"/>
                  </a:cubicBezTo>
                  <a:cubicBezTo>
                    <a:pt x="1013" y="0"/>
                    <a:pt x="1016" y="0"/>
                    <a:pt x="1019" y="1"/>
                  </a:cubicBezTo>
                  <a:cubicBezTo>
                    <a:pt x="1034" y="4"/>
                    <a:pt x="1046" y="18"/>
                    <a:pt x="1046" y="35"/>
                  </a:cubicBezTo>
                  <a:close/>
                </a:path>
              </a:pathLst>
            </a:custGeom>
            <a:solidFill>
              <a:srgbClr val="EE98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197">
              <a:extLst>
                <a:ext uri="{FF2B5EF4-FFF2-40B4-BE49-F238E27FC236}">
                  <a16:creationId xmlns:a16="http://schemas.microsoft.com/office/drawing/2014/main" id="{683DA6E6-203B-4C06-8CC7-0C947EBCE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8" y="4108"/>
              <a:ext cx="97" cy="52"/>
            </a:xfrm>
            <a:custGeom>
              <a:avLst/>
              <a:gdLst>
                <a:gd name="T0" fmla="*/ 0 w 97"/>
                <a:gd name="T1" fmla="*/ 0 h 52"/>
                <a:gd name="T2" fmla="*/ 97 w 97"/>
                <a:gd name="T3" fmla="*/ 21 h 52"/>
                <a:gd name="T4" fmla="*/ 0 w 97"/>
                <a:gd name="T5" fmla="*/ 52 h 52"/>
                <a:gd name="T6" fmla="*/ 0 w 97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52">
                  <a:moveTo>
                    <a:pt x="0" y="0"/>
                  </a:moveTo>
                  <a:lnTo>
                    <a:pt x="97" y="21"/>
                  </a:ln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9A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198">
              <a:extLst>
                <a:ext uri="{FF2B5EF4-FFF2-40B4-BE49-F238E27FC236}">
                  <a16:creationId xmlns:a16="http://schemas.microsoft.com/office/drawing/2014/main" id="{EA7A61AB-27A0-41A9-9DCB-F29FF39D1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1" y="4108"/>
              <a:ext cx="188" cy="52"/>
            </a:xfrm>
            <a:custGeom>
              <a:avLst/>
              <a:gdLst>
                <a:gd name="T0" fmla="*/ 250 w 250"/>
                <a:gd name="T1" fmla="*/ 0 h 69"/>
                <a:gd name="T2" fmla="*/ 250 w 250"/>
                <a:gd name="T3" fmla="*/ 69 h 69"/>
                <a:gd name="T4" fmla="*/ 35 w 250"/>
                <a:gd name="T5" fmla="*/ 69 h 69"/>
                <a:gd name="T6" fmla="*/ 0 w 250"/>
                <a:gd name="T7" fmla="*/ 35 h 69"/>
                <a:gd name="T8" fmla="*/ 10 w 250"/>
                <a:gd name="T9" fmla="*/ 10 h 69"/>
                <a:gd name="T10" fmla="*/ 35 w 250"/>
                <a:gd name="T11" fmla="*/ 0 h 69"/>
                <a:gd name="T12" fmla="*/ 250 w 250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69">
                  <a:moveTo>
                    <a:pt x="250" y="0"/>
                  </a:moveTo>
                  <a:cubicBezTo>
                    <a:pt x="250" y="69"/>
                    <a:pt x="250" y="69"/>
                    <a:pt x="250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16" y="69"/>
                    <a:pt x="0" y="54"/>
                    <a:pt x="0" y="35"/>
                  </a:cubicBezTo>
                  <a:cubicBezTo>
                    <a:pt x="0" y="25"/>
                    <a:pt x="4" y="16"/>
                    <a:pt x="10" y="10"/>
                  </a:cubicBezTo>
                  <a:cubicBezTo>
                    <a:pt x="17" y="4"/>
                    <a:pt x="25" y="0"/>
                    <a:pt x="35" y="0"/>
                  </a:cubicBezTo>
                  <a:lnTo>
                    <a:pt x="250" y="0"/>
                  </a:lnTo>
                  <a:close/>
                </a:path>
              </a:pathLst>
            </a:custGeom>
            <a:solidFill>
              <a:srgbClr val="739A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199">
              <a:extLst>
                <a:ext uri="{FF2B5EF4-FFF2-40B4-BE49-F238E27FC236}">
                  <a16:creationId xmlns:a16="http://schemas.microsoft.com/office/drawing/2014/main" id="{12AD4DD9-6472-4A38-ACE8-A73250987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4159"/>
              <a:ext cx="7678" cy="21"/>
            </a:xfrm>
            <a:custGeom>
              <a:avLst/>
              <a:gdLst>
                <a:gd name="T0" fmla="*/ 10177 w 10189"/>
                <a:gd name="T1" fmla="*/ 27 h 27"/>
                <a:gd name="T2" fmla="*/ 11 w 10189"/>
                <a:gd name="T3" fmla="*/ 27 h 27"/>
                <a:gd name="T4" fmla="*/ 0 w 10189"/>
                <a:gd name="T5" fmla="*/ 16 h 27"/>
                <a:gd name="T6" fmla="*/ 0 w 10189"/>
                <a:gd name="T7" fmla="*/ 12 h 27"/>
                <a:gd name="T8" fmla="*/ 11 w 10189"/>
                <a:gd name="T9" fmla="*/ 0 h 27"/>
                <a:gd name="T10" fmla="*/ 10177 w 10189"/>
                <a:gd name="T11" fmla="*/ 0 h 27"/>
                <a:gd name="T12" fmla="*/ 10189 w 10189"/>
                <a:gd name="T13" fmla="*/ 12 h 27"/>
                <a:gd name="T14" fmla="*/ 10189 w 10189"/>
                <a:gd name="T15" fmla="*/ 16 h 27"/>
                <a:gd name="T16" fmla="*/ 10177 w 10189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89" h="27">
                  <a:moveTo>
                    <a:pt x="10177" y="27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5" y="27"/>
                    <a:pt x="0" y="22"/>
                    <a:pt x="0" y="16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0177" y="0"/>
                    <a:pt x="10177" y="0"/>
                    <a:pt x="10177" y="0"/>
                  </a:cubicBezTo>
                  <a:cubicBezTo>
                    <a:pt x="10183" y="0"/>
                    <a:pt x="10189" y="5"/>
                    <a:pt x="10189" y="12"/>
                  </a:cubicBezTo>
                  <a:cubicBezTo>
                    <a:pt x="10189" y="16"/>
                    <a:pt x="10189" y="16"/>
                    <a:pt x="10189" y="16"/>
                  </a:cubicBezTo>
                  <a:cubicBezTo>
                    <a:pt x="10189" y="22"/>
                    <a:pt x="10183" y="27"/>
                    <a:pt x="10177" y="27"/>
                  </a:cubicBezTo>
                  <a:close/>
                </a:path>
              </a:pathLst>
            </a:custGeom>
            <a:solidFill>
              <a:srgbClr val="2E35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6" name="Rectangle 205">
            <a:extLst>
              <a:ext uri="{FF2B5EF4-FFF2-40B4-BE49-F238E27FC236}">
                <a16:creationId xmlns:a16="http://schemas.microsoft.com/office/drawing/2014/main" id="{26133DA1-4B30-451D-B176-4CA2893EDCB4}"/>
              </a:ext>
            </a:extLst>
          </p:cNvPr>
          <p:cNvSpPr/>
          <p:nvPr/>
        </p:nvSpPr>
        <p:spPr>
          <a:xfrm>
            <a:off x="698736" y="1695235"/>
            <a:ext cx="2420305" cy="4924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Облачное хранилище 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Google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Диск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F49F6E3A-E7E8-4DBD-9891-96283A222BD3}"/>
              </a:ext>
            </a:extLst>
          </p:cNvPr>
          <p:cNvCxnSpPr>
            <a:cxnSpLocks/>
          </p:cNvCxnSpPr>
          <p:nvPr/>
        </p:nvCxnSpPr>
        <p:spPr>
          <a:xfrm>
            <a:off x="600891" y="2507612"/>
            <a:ext cx="1105008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4152743F-290E-460A-8DA6-0FA2AF26A0E0}"/>
              </a:ext>
            </a:extLst>
          </p:cNvPr>
          <p:cNvSpPr txBox="1"/>
          <p:nvPr/>
        </p:nvSpPr>
        <p:spPr>
          <a:xfrm>
            <a:off x="3188514" y="1653628"/>
            <a:ext cx="86302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</a:t>
            </a:r>
            <a:r>
              <a:rPr lang="ru-RU" sz="16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ogle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Диске были сформированы папки по классам.</a:t>
            </a:r>
            <a:endParaRPr lang="en-US" sz="1600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/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них выкладывался учебный материал и инструкции к заданиям. </a:t>
            </a:r>
          </a:p>
        </p:txBody>
      </p:sp>
    </p:spTree>
    <p:extLst>
      <p:ext uri="{BB962C8B-B14F-4D97-AF65-F5344CB8AC3E}">
        <p14:creationId xmlns:p14="http://schemas.microsoft.com/office/powerpoint/2010/main" val="1932607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.ugfhll.RmHJYdEhK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.ugfhll.RmHJYdEhK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BELmLp5mNsl_gMciiZ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o83DG8pVHlHdWQvIXZk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Instagram Col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E5BD5"/>
      </a:accent1>
      <a:accent2>
        <a:srgbClr val="962FBE"/>
      </a:accent2>
      <a:accent3>
        <a:srgbClr val="D62875"/>
      </a:accent3>
      <a:accent4>
        <a:srgbClr val="FA7E1D"/>
      </a:accent4>
      <a:accent5>
        <a:srgbClr val="FEDA74"/>
      </a:accent5>
      <a:accent6>
        <a:srgbClr val="F9FFFF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Instagram Col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E5BD5"/>
      </a:accent1>
      <a:accent2>
        <a:srgbClr val="962FBE"/>
      </a:accent2>
      <a:accent3>
        <a:srgbClr val="D62875"/>
      </a:accent3>
      <a:accent4>
        <a:srgbClr val="FA7E1D"/>
      </a:accent4>
      <a:accent5>
        <a:srgbClr val="FEDA74"/>
      </a:accent5>
      <a:accent6>
        <a:srgbClr val="F9FFFF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Custom 225">
      <a:dk1>
        <a:sysClr val="windowText" lastClr="000000"/>
      </a:dk1>
      <a:lt1>
        <a:sysClr val="window" lastClr="FFFFFF"/>
      </a:lt1>
      <a:dk2>
        <a:srgbClr val="F9A09B"/>
      </a:dk2>
      <a:lt2>
        <a:srgbClr val="F574AB"/>
      </a:lt2>
      <a:accent1>
        <a:srgbClr val="3B40A3"/>
      </a:accent1>
      <a:accent2>
        <a:srgbClr val="531B96"/>
      </a:accent2>
      <a:accent3>
        <a:srgbClr val="7423AB"/>
      </a:accent3>
      <a:accent4>
        <a:srgbClr val="63A6FF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7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Custom 100">
      <a:dk1>
        <a:srgbClr val="000000"/>
      </a:dk1>
      <a:lt1>
        <a:srgbClr val="FFFFFF"/>
      </a:lt1>
      <a:dk2>
        <a:srgbClr val="28336D"/>
      </a:dk2>
      <a:lt2>
        <a:srgbClr val="E7E6E6"/>
      </a:lt2>
      <a:accent1>
        <a:srgbClr val="F2A1A5"/>
      </a:accent1>
      <a:accent2>
        <a:srgbClr val="18A1AD"/>
      </a:accent2>
      <a:accent3>
        <a:srgbClr val="9F90D4"/>
      </a:accent3>
      <a:accent4>
        <a:srgbClr val="FEC536"/>
      </a:accent4>
      <a:accent5>
        <a:srgbClr val="C7E9F6"/>
      </a:accent5>
      <a:accent6>
        <a:srgbClr val="28336D"/>
      </a:accent6>
      <a:hlink>
        <a:srgbClr val="18A1AD"/>
      </a:hlink>
      <a:folHlink>
        <a:srgbClr val="9F90D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3</TotalTime>
  <Words>1242</Words>
  <Application>Microsoft Office PowerPoint</Application>
  <PresentationFormat>Широкоэкранный</PresentationFormat>
  <Paragraphs>172</Paragraphs>
  <Slides>22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5" baseType="lpstr">
      <vt:lpstr>Arial</vt:lpstr>
      <vt:lpstr>Calibri</vt:lpstr>
      <vt:lpstr>Calibri Light</vt:lpstr>
      <vt:lpstr>Franklin Gothic Demi</vt:lpstr>
      <vt:lpstr>Georgia</vt:lpstr>
      <vt:lpstr>Segoe UI</vt:lpstr>
      <vt:lpstr>Wingdings</vt:lpstr>
      <vt:lpstr>Тема Office</vt:lpstr>
      <vt:lpstr>Office Theme</vt:lpstr>
      <vt:lpstr>1_Office Theme</vt:lpstr>
      <vt:lpstr>2_Office Theme</vt:lpstr>
      <vt:lpstr>3_Office Theme</vt:lpstr>
      <vt:lpstr>think-cell Slide</vt:lpstr>
      <vt:lpstr>Презентация PowerPoint</vt:lpstr>
      <vt:lpstr>Полезные сервисы для преподавателя</vt:lpstr>
      <vt:lpstr>Цифровая образовательная среда</vt:lpstr>
      <vt:lpstr>Среда Google</vt:lpstr>
      <vt:lpstr>Google Таблицы</vt:lpstr>
      <vt:lpstr>Google Таблицы</vt:lpstr>
      <vt:lpstr>Презентация PowerPoint</vt:lpstr>
      <vt:lpstr>Google Диск</vt:lpstr>
      <vt:lpstr>Апробированные формы работы с Google Диск</vt:lpstr>
      <vt:lpstr>Рабочее пространство для учеников</vt:lpstr>
      <vt:lpstr>Презентация PowerPoint</vt:lpstr>
      <vt:lpstr>Платформа «ЯКласс»</vt:lpstr>
      <vt:lpstr>ЯКласс</vt:lpstr>
      <vt:lpstr>Kahoot! </vt:lpstr>
      <vt:lpstr>Инструкция к работе с Kahoot!  </vt:lpstr>
      <vt:lpstr>Презентация PowerPoint</vt:lpstr>
      <vt:lpstr>ЯКласс</vt:lpstr>
      <vt:lpstr>Презентация PowerPoint</vt:lpstr>
      <vt:lpstr>VIDEOUROKI.NET</vt:lpstr>
      <vt:lpstr>VIDEOUROKI.NE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 </dc:title>
  <dc:creator>vera.ochakovskaya@outlook.com</dc:creator>
  <cp:lastModifiedBy>vera.ochakovskaya@outlook.com</cp:lastModifiedBy>
  <cp:revision>29</cp:revision>
  <dcterms:created xsi:type="dcterms:W3CDTF">2020-08-19T14:59:31Z</dcterms:created>
  <dcterms:modified xsi:type="dcterms:W3CDTF">2020-08-19T18:34:56Z</dcterms:modified>
</cp:coreProperties>
</file>